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charts/chart1.xml" ContentType="application/vnd.openxmlformats-officedocument.drawingml.chart+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75"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1678C"/>
    <a:srgbClr val="018A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74" autoAdjust="0"/>
    <p:restoredTop sz="94660"/>
  </p:normalViewPr>
  <p:slideViewPr>
    <p:cSldViewPr snapToGrid="0" showGuides="1">
      <p:cViewPr varScale="1">
        <p:scale>
          <a:sx n="110" d="100"/>
          <a:sy n="110" d="100"/>
        </p:scale>
        <p:origin x="144" y="10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01678C"/>
            </a:solidFill>
          </c:spPr>
          <c:dPt>
            <c:idx val="0"/>
            <c:bubble3D val="0"/>
            <c:extLst>
              <c:ext xmlns:c16="http://schemas.microsoft.com/office/drawing/2014/chart" uri="{C3380CC4-5D6E-409C-BE32-E72D297353CC}">
                <c16:uniqueId val="{00000001-AC02-4BB3-A841-D7632D1B6394}"/>
              </c:ext>
            </c:extLst>
          </c:dPt>
          <c:dPt>
            <c:idx val="1"/>
            <c:bubble3D val="0"/>
            <c:spPr>
              <a:solidFill>
                <a:schemeClr val="bg1">
                  <a:lumMod val="85000"/>
                </a:schemeClr>
              </a:solidFill>
            </c:spPr>
            <c:extLst>
              <c:ext xmlns:c16="http://schemas.microsoft.com/office/drawing/2014/chart" uri="{C3380CC4-5D6E-409C-BE32-E72D297353CC}">
                <c16:uniqueId val="{00000003-AC02-4BB3-A841-D7632D1B6394}"/>
              </c:ext>
            </c:extLst>
          </c:dPt>
          <c:cat>
            <c:strRef>
              <c:f>Sheet1!$A$2:$A$3</c:f>
              <c:strCache>
                <c:ptCount val="2"/>
                <c:pt idx="0">
                  <c:v>1st Qtr</c:v>
                </c:pt>
                <c:pt idx="1">
                  <c:v>2nd Qtr</c:v>
                </c:pt>
              </c:strCache>
            </c:strRef>
          </c:cat>
          <c:val>
            <c:numRef>
              <c:f>Sheet1!$B$2:$B$3</c:f>
              <c:numCache>
                <c:formatCode>General</c:formatCode>
                <c:ptCount val="2"/>
                <c:pt idx="0">
                  <c:v>75</c:v>
                </c:pt>
                <c:pt idx="1">
                  <c:v>15</c:v>
                </c:pt>
              </c:numCache>
            </c:numRef>
          </c:val>
          <c:extLst>
            <c:ext xmlns:c16="http://schemas.microsoft.com/office/drawing/2014/chart" uri="{C3380CC4-5D6E-409C-BE32-E72D297353CC}">
              <c16:uniqueId val="{00000004-AC02-4BB3-A841-D7632D1B6394}"/>
            </c:ext>
          </c:extLst>
        </c:ser>
        <c:dLbls>
          <c:showLegendKey val="0"/>
          <c:showVal val="0"/>
          <c:showCatName val="0"/>
          <c:showSerName val="0"/>
          <c:showPercent val="0"/>
          <c:showBubbleSize val="0"/>
          <c:showLeaderLines val="1"/>
        </c:dLbls>
        <c:firstSliceAng val="0"/>
        <c:holeSize val="70"/>
      </c:doughnutChart>
    </c:plotArea>
    <c:plotVisOnly val="1"/>
    <c:dispBlanksAs val="zero"/>
    <c:showDLblsOverMax val="0"/>
  </c:chart>
  <c:spPr>
    <a:ln>
      <a:noFill/>
    </a:ln>
  </c:spPr>
  <c:txPr>
    <a:bodyPr/>
    <a:lstStyle/>
    <a:p>
      <a:pPr rtl="0">
        <a:defRPr sz="1800" baseline="-25000"/>
      </a:pPr>
      <a:endParaRPr lang="en-US"/>
    </a:p>
  </c:txPr>
  <c:externalData r:id="rId1">
    <c:autoUpdate val="0"/>
  </c:externalData>
</c:chartSpace>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Picture Placeholder 7"/>
          <p:cNvSpPr>
            <a:spLocks noGrp="1"/>
          </p:cNvSpPr>
          <p:nvPr>
            <p:ph type="pic" sz="quarter" idx="13"/>
          </p:nvPr>
        </p:nvSpPr>
        <p:spPr>
          <a:xfrm>
            <a:off x="0" y="1643165"/>
            <a:ext cx="12192000" cy="4264108"/>
          </a:xfrm>
          <a:prstGeom prst="rect">
            <a:avLst/>
          </a:prstGeom>
        </p:spPr>
        <p:txBody>
          <a:bodyPr>
            <a:normAutofit/>
          </a:bodyPr>
          <a:lstStyle>
            <a:lvl1pPr marL="0" indent="0">
              <a:buNone/>
              <a:defRPr sz="1600">
                <a:solidFill>
                  <a:schemeClr val="bg1"/>
                </a:solidFill>
              </a:defRPr>
            </a:lvl1pPr>
          </a:lstStyle>
          <a:p>
            <a:endParaRPr lang="en-US"/>
          </a:p>
        </p:txBody>
      </p:sp>
    </p:spTree>
    <p:extLst>
      <p:ext uri="{BB962C8B-B14F-4D97-AF65-F5344CB8AC3E}">
        <p14:creationId xmlns:p14="http://schemas.microsoft.com/office/powerpoint/2010/main" val="30614480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2192000" cy="6858000"/>
          </a:xfrm>
          <a:prstGeom prst="rect">
            <a:avLst/>
          </a:prstGeom>
        </p:spPr>
        <p:txBody>
          <a:bodyPr/>
          <a:lstStyle/>
          <a:p>
            <a:endParaRPr lang="en-US"/>
          </a:p>
        </p:txBody>
      </p:sp>
    </p:spTree>
    <p:extLst>
      <p:ext uri="{BB962C8B-B14F-4D97-AF65-F5344CB8AC3E}">
        <p14:creationId xmlns:p14="http://schemas.microsoft.com/office/powerpoint/2010/main" val="1451723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8D5F286B-3732-48D3-8378-4356D28896EA}" type="datetimeFigureOut">
              <a:rPr lang="en-US" smtClean="0"/>
              <a:t>6/13/2019</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6E52CAB-FAC6-457A-AC60-5D623FD3D49E}" type="slidenum">
              <a:rPr lang="en-US" smtClean="0"/>
              <a:t>‹#›</a:t>
            </a:fld>
            <a:endParaRPr lang="en-US"/>
          </a:p>
        </p:txBody>
      </p:sp>
    </p:spTree>
    <p:extLst>
      <p:ext uri="{BB962C8B-B14F-4D97-AF65-F5344CB8AC3E}">
        <p14:creationId xmlns:p14="http://schemas.microsoft.com/office/powerpoint/2010/main" val="4732895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Picture Placeholder 13"/>
          <p:cNvSpPr>
            <a:spLocks noGrp="1"/>
          </p:cNvSpPr>
          <p:nvPr>
            <p:ph type="pic" sz="quarter" idx="14"/>
          </p:nvPr>
        </p:nvSpPr>
        <p:spPr>
          <a:xfrm>
            <a:off x="-9001" y="759566"/>
            <a:ext cx="3177244" cy="5961908"/>
          </a:xfrm>
          <a:custGeom>
            <a:avLst/>
            <a:gdLst>
              <a:gd name="connsiteX0" fmla="*/ 193573 w 3177244"/>
              <a:gd name="connsiteY0" fmla="*/ 0 h 5961908"/>
              <a:gd name="connsiteX1" fmla="*/ 3177244 w 3177244"/>
              <a:gd name="connsiteY1" fmla="*/ 2983670 h 5961908"/>
              <a:gd name="connsiteX2" fmla="*/ 498636 w 3177244"/>
              <a:gd name="connsiteY2" fmla="*/ 5951936 h 5961908"/>
              <a:gd name="connsiteX3" fmla="*/ 301148 w 3177244"/>
              <a:gd name="connsiteY3" fmla="*/ 5961908 h 5961908"/>
              <a:gd name="connsiteX4" fmla="*/ 19652 w 3177244"/>
              <a:gd name="connsiteY4" fmla="*/ 5961908 h 5961908"/>
              <a:gd name="connsiteX5" fmla="*/ 0 w 3177244"/>
              <a:gd name="connsiteY5" fmla="*/ 5960414 h 5961908"/>
              <a:gd name="connsiteX6" fmla="*/ 0 w 3177244"/>
              <a:gd name="connsiteY6" fmla="*/ 6927 h 5961908"/>
              <a:gd name="connsiteX7" fmla="*/ 40035 w 3177244"/>
              <a:gd name="connsiteY7" fmla="*/ 3882 h 5961908"/>
              <a:gd name="connsiteX8" fmla="*/ 193573 w 3177244"/>
              <a:gd name="connsiteY8" fmla="*/ 0 h 5961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7244" h="5961908">
                <a:moveTo>
                  <a:pt x="193573" y="0"/>
                </a:moveTo>
                <a:cubicBezTo>
                  <a:pt x="1841409" y="0"/>
                  <a:pt x="3177244" y="1335835"/>
                  <a:pt x="3177244" y="2983670"/>
                </a:cubicBezTo>
                <a:cubicBezTo>
                  <a:pt x="3177244" y="4528516"/>
                  <a:pt x="2003171" y="5799142"/>
                  <a:pt x="498636" y="5951936"/>
                </a:cubicBezTo>
                <a:lnTo>
                  <a:pt x="301148" y="5961908"/>
                </a:lnTo>
                <a:lnTo>
                  <a:pt x="19652" y="5961908"/>
                </a:lnTo>
                <a:lnTo>
                  <a:pt x="0" y="5960414"/>
                </a:lnTo>
                <a:lnTo>
                  <a:pt x="0" y="6927"/>
                </a:lnTo>
                <a:lnTo>
                  <a:pt x="40035" y="3882"/>
                </a:lnTo>
                <a:cubicBezTo>
                  <a:pt x="90889" y="1305"/>
                  <a:pt x="142079" y="0"/>
                  <a:pt x="193573" y="0"/>
                </a:cubicBezTo>
                <a:close/>
              </a:path>
            </a:pathLst>
          </a:custGeom>
          <a:noFill/>
        </p:spPr>
        <p:txBody>
          <a:bodyPr wrap="square">
            <a:noAutofit/>
          </a:bodyPr>
          <a:lstStyle>
            <a:lvl1pPr marL="0" indent="0">
              <a:buNone/>
              <a:defRPr sz="1600">
                <a:solidFill>
                  <a:schemeClr val="bg1"/>
                </a:solidFill>
              </a:defRPr>
            </a:lvl1pPr>
          </a:lstStyle>
          <a:p>
            <a:endParaRPr lang="en-US"/>
          </a:p>
        </p:txBody>
      </p:sp>
      <p:sp>
        <p:nvSpPr>
          <p:cNvPr id="8" name="Picture Placeholder 7"/>
          <p:cNvSpPr>
            <a:spLocks noGrp="1"/>
          </p:cNvSpPr>
          <p:nvPr>
            <p:ph type="pic" sz="quarter" idx="13"/>
          </p:nvPr>
        </p:nvSpPr>
        <p:spPr>
          <a:xfrm>
            <a:off x="6586930" y="2035631"/>
            <a:ext cx="4957369" cy="1821748"/>
          </a:xfrm>
          <a:prstGeom prst="rect">
            <a:avLst/>
          </a:prstGeom>
        </p:spPr>
        <p:txBody>
          <a:bodyPr>
            <a:normAutofit/>
          </a:bodyPr>
          <a:lstStyle>
            <a:lvl1pPr marL="0" indent="0">
              <a:buNone/>
              <a:defRPr sz="1600">
                <a:solidFill>
                  <a:schemeClr val="bg1"/>
                </a:solidFill>
              </a:defRPr>
            </a:lvl1pPr>
          </a:lstStyle>
          <a:p>
            <a:endParaRPr lang="en-US"/>
          </a:p>
        </p:txBody>
      </p:sp>
    </p:spTree>
    <p:extLst>
      <p:ext uri="{BB962C8B-B14F-4D97-AF65-F5344CB8AC3E}">
        <p14:creationId xmlns:p14="http://schemas.microsoft.com/office/powerpoint/2010/main" val="39115048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Picture Placeholder 7"/>
          <p:cNvSpPr>
            <a:spLocks noGrp="1"/>
          </p:cNvSpPr>
          <p:nvPr>
            <p:ph type="pic" sz="quarter" idx="13"/>
          </p:nvPr>
        </p:nvSpPr>
        <p:spPr>
          <a:xfrm>
            <a:off x="5943600" y="7905"/>
            <a:ext cx="6019800" cy="6660699"/>
          </a:xfrm>
          <a:custGeom>
            <a:avLst/>
            <a:gdLst>
              <a:gd name="connsiteX0" fmla="*/ 0 w 6019800"/>
              <a:gd name="connsiteY0" fmla="*/ 0 h 6660699"/>
              <a:gd name="connsiteX1" fmla="*/ 3758101 w 6019800"/>
              <a:gd name="connsiteY1" fmla="*/ 0 h 6660699"/>
              <a:gd name="connsiteX2" fmla="*/ 6019800 w 6019800"/>
              <a:gd name="connsiteY2" fmla="*/ 6660699 h 6660699"/>
              <a:gd name="connsiteX3" fmla="*/ 2261699 w 6019800"/>
              <a:gd name="connsiteY3" fmla="*/ 6660699 h 6660699"/>
            </a:gdLst>
            <a:ahLst/>
            <a:cxnLst>
              <a:cxn ang="0">
                <a:pos x="connsiteX0" y="connsiteY0"/>
              </a:cxn>
              <a:cxn ang="0">
                <a:pos x="connsiteX1" y="connsiteY1"/>
              </a:cxn>
              <a:cxn ang="0">
                <a:pos x="connsiteX2" y="connsiteY2"/>
              </a:cxn>
              <a:cxn ang="0">
                <a:pos x="connsiteX3" y="connsiteY3"/>
              </a:cxn>
            </a:cxnLst>
            <a:rect l="l" t="t" r="r" b="b"/>
            <a:pathLst>
              <a:path w="6019800" h="6660699">
                <a:moveTo>
                  <a:pt x="0" y="0"/>
                </a:moveTo>
                <a:lnTo>
                  <a:pt x="3758101" y="0"/>
                </a:lnTo>
                <a:lnTo>
                  <a:pt x="6019800" y="6660699"/>
                </a:lnTo>
                <a:lnTo>
                  <a:pt x="2261699" y="6660699"/>
                </a:lnTo>
                <a:close/>
              </a:path>
            </a:pathLst>
          </a:custGeom>
          <a:noFill/>
        </p:spPr>
        <p:txBody>
          <a:bodyPr wrap="square">
            <a:noAutofit/>
          </a:bodyPr>
          <a:lstStyle>
            <a:lvl1pPr marL="0" indent="0">
              <a:buNone/>
              <a:defRPr sz="1600">
                <a:solidFill>
                  <a:schemeClr val="bg1"/>
                </a:solidFill>
              </a:defRPr>
            </a:lvl1pPr>
          </a:lstStyle>
          <a:p>
            <a:endParaRPr lang="en-US"/>
          </a:p>
        </p:txBody>
      </p:sp>
    </p:spTree>
    <p:extLst>
      <p:ext uri="{BB962C8B-B14F-4D97-AF65-F5344CB8AC3E}">
        <p14:creationId xmlns:p14="http://schemas.microsoft.com/office/powerpoint/2010/main" val="2101295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2" name="Freeform 11"/>
          <p:cNvSpPr>
            <a:spLocks noGrp="1"/>
          </p:cNvSpPr>
          <p:nvPr>
            <p:ph type="pic" sz="quarter" idx="10"/>
          </p:nvPr>
        </p:nvSpPr>
        <p:spPr>
          <a:xfrm>
            <a:off x="0" y="0"/>
            <a:ext cx="12192000" cy="4851400"/>
          </a:xfrm>
          <a:custGeom>
            <a:avLst/>
            <a:gdLst>
              <a:gd name="connsiteX0" fmla="*/ 0 w 12192000"/>
              <a:gd name="connsiteY0" fmla="*/ 0 h 4851400"/>
              <a:gd name="connsiteX1" fmla="*/ 12192000 w 12192000"/>
              <a:gd name="connsiteY1" fmla="*/ 0 h 4851400"/>
              <a:gd name="connsiteX2" fmla="*/ 12192000 w 12192000"/>
              <a:gd name="connsiteY2" fmla="*/ 4851400 h 4851400"/>
              <a:gd name="connsiteX3" fmla="*/ 0 w 12192000"/>
              <a:gd name="connsiteY3" fmla="*/ 4851400 h 4851400"/>
            </a:gdLst>
            <a:ahLst/>
            <a:cxnLst>
              <a:cxn ang="0">
                <a:pos x="connsiteX0" y="connsiteY0"/>
              </a:cxn>
              <a:cxn ang="0">
                <a:pos x="connsiteX1" y="connsiteY1"/>
              </a:cxn>
              <a:cxn ang="0">
                <a:pos x="connsiteX2" y="connsiteY2"/>
              </a:cxn>
              <a:cxn ang="0">
                <a:pos x="connsiteX3" y="connsiteY3"/>
              </a:cxn>
            </a:cxnLst>
            <a:rect l="l" t="t" r="r" b="b"/>
            <a:pathLst>
              <a:path w="12192000" h="4851400">
                <a:moveTo>
                  <a:pt x="0" y="0"/>
                </a:moveTo>
                <a:lnTo>
                  <a:pt x="12192000" y="0"/>
                </a:lnTo>
                <a:lnTo>
                  <a:pt x="12192000" y="4851400"/>
                </a:lnTo>
                <a:lnTo>
                  <a:pt x="0" y="4851400"/>
                </a:lnTo>
                <a:close/>
              </a:path>
            </a:pathLst>
          </a:custGeom>
        </p:spPr>
        <p:txBody>
          <a:bodyPr wrap="square">
            <a:noAutofit/>
          </a:bodyPr>
          <a:lstStyle/>
          <a:p>
            <a:endParaRPr lang="en-US"/>
          </a:p>
        </p:txBody>
      </p:sp>
    </p:spTree>
    <p:extLst>
      <p:ext uri="{BB962C8B-B14F-4D97-AF65-F5344CB8AC3E}">
        <p14:creationId xmlns:p14="http://schemas.microsoft.com/office/powerpoint/2010/main" val="35635442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0" name="Picture Placeholder 7"/>
          <p:cNvSpPr>
            <a:spLocks noGrp="1"/>
          </p:cNvSpPr>
          <p:nvPr>
            <p:ph type="pic" sz="quarter" idx="13"/>
          </p:nvPr>
        </p:nvSpPr>
        <p:spPr>
          <a:xfrm>
            <a:off x="396283" y="619109"/>
            <a:ext cx="11428413" cy="5616190"/>
          </a:xfrm>
          <a:prstGeom prst="rect">
            <a:avLst/>
          </a:prstGeom>
          <a:noFill/>
        </p:spPr>
        <p:txBody>
          <a:bodyPr>
            <a:normAutofit/>
          </a:bodyPr>
          <a:lstStyle>
            <a:lvl1pPr marL="0" indent="0">
              <a:buNone/>
              <a:defRPr sz="1600">
                <a:solidFill>
                  <a:schemeClr val="bg1"/>
                </a:solidFill>
              </a:defRPr>
            </a:lvl1pPr>
          </a:lstStyle>
          <a:p>
            <a:endParaRPr lang="en-US"/>
          </a:p>
        </p:txBody>
      </p:sp>
    </p:spTree>
    <p:extLst>
      <p:ext uri="{BB962C8B-B14F-4D97-AF65-F5344CB8AC3E}">
        <p14:creationId xmlns:p14="http://schemas.microsoft.com/office/powerpoint/2010/main" val="1239719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8D5F286B-3732-48D3-8378-4356D28896EA}" type="datetimeFigureOut">
              <a:rPr lang="en-US" smtClean="0"/>
              <a:t>6/13/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56E52CAB-FAC6-457A-AC60-5D623FD3D49E}" type="slidenum">
              <a:rPr lang="en-US" smtClean="0"/>
              <a:t>‹#›</a:t>
            </a:fld>
            <a:endParaRPr lang="en-US"/>
          </a:p>
        </p:txBody>
      </p:sp>
    </p:spTree>
    <p:extLst>
      <p:ext uri="{BB962C8B-B14F-4D97-AF65-F5344CB8AC3E}">
        <p14:creationId xmlns:p14="http://schemas.microsoft.com/office/powerpoint/2010/main" val="17638094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8D5F286B-3732-48D3-8378-4356D28896EA}" type="datetimeFigureOut">
              <a:rPr lang="en-US" smtClean="0"/>
              <a:t>6/13/2019</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56E52CAB-FAC6-457A-AC60-5D623FD3D49E}" type="slidenum">
              <a:rPr lang="en-US" smtClean="0"/>
              <a:t>‹#›</a:t>
            </a:fld>
            <a:endParaRPr lang="en-US"/>
          </a:p>
        </p:txBody>
      </p:sp>
    </p:spTree>
    <p:extLst>
      <p:ext uri="{BB962C8B-B14F-4D97-AF65-F5344CB8AC3E}">
        <p14:creationId xmlns:p14="http://schemas.microsoft.com/office/powerpoint/2010/main" val="4023170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612247" y="2771236"/>
            <a:ext cx="6689506" cy="3121564"/>
          </a:xfrm>
          <a:prstGeom prst="rect">
            <a:avLst/>
          </a:prstGeom>
          <a:noFill/>
        </p:spPr>
        <p:txBody>
          <a:bodyPr>
            <a:normAutofit/>
          </a:bodyPr>
          <a:lstStyle>
            <a:lvl1pPr marL="0" indent="0">
              <a:buNone/>
              <a:defRPr sz="1600">
                <a:solidFill>
                  <a:schemeClr val="bg1"/>
                </a:solidFill>
              </a:defRPr>
            </a:lvl1pPr>
          </a:lstStyle>
          <a:p>
            <a:endParaRPr lang="en-US"/>
          </a:p>
        </p:txBody>
      </p:sp>
    </p:spTree>
    <p:extLst>
      <p:ext uri="{BB962C8B-B14F-4D97-AF65-F5344CB8AC3E}">
        <p14:creationId xmlns:p14="http://schemas.microsoft.com/office/powerpoint/2010/main" val="25569368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8" name="Picture Placeholder 9"/>
          <p:cNvSpPr>
            <a:spLocks noGrp="1"/>
          </p:cNvSpPr>
          <p:nvPr>
            <p:ph type="pic" sz="quarter" idx="15"/>
          </p:nvPr>
        </p:nvSpPr>
        <p:spPr>
          <a:xfrm>
            <a:off x="1190172" y="1901370"/>
            <a:ext cx="4688114" cy="2525486"/>
          </a:xfrm>
          <a:custGeom>
            <a:avLst/>
            <a:gdLst>
              <a:gd name="connsiteX0" fmla="*/ 2714172 w 4688114"/>
              <a:gd name="connsiteY0" fmla="*/ 0 h 2525486"/>
              <a:gd name="connsiteX1" fmla="*/ 4688114 w 4688114"/>
              <a:gd name="connsiteY1" fmla="*/ 972457 h 2525486"/>
              <a:gd name="connsiteX2" fmla="*/ 2002971 w 4688114"/>
              <a:gd name="connsiteY2" fmla="*/ 2525486 h 2525486"/>
              <a:gd name="connsiteX3" fmla="*/ 0 w 4688114"/>
              <a:gd name="connsiteY3" fmla="*/ 1349829 h 2525486"/>
            </a:gdLst>
            <a:ahLst/>
            <a:cxnLst>
              <a:cxn ang="0">
                <a:pos x="connsiteX0" y="connsiteY0"/>
              </a:cxn>
              <a:cxn ang="0">
                <a:pos x="connsiteX1" y="connsiteY1"/>
              </a:cxn>
              <a:cxn ang="0">
                <a:pos x="connsiteX2" y="connsiteY2"/>
              </a:cxn>
              <a:cxn ang="0">
                <a:pos x="connsiteX3" y="connsiteY3"/>
              </a:cxn>
            </a:cxnLst>
            <a:rect l="l" t="t" r="r" b="b"/>
            <a:pathLst>
              <a:path w="4688114" h="2525486">
                <a:moveTo>
                  <a:pt x="2714172" y="0"/>
                </a:moveTo>
                <a:lnTo>
                  <a:pt x="4688114" y="972457"/>
                </a:lnTo>
                <a:lnTo>
                  <a:pt x="2002971" y="2525486"/>
                </a:lnTo>
                <a:lnTo>
                  <a:pt x="0" y="1349829"/>
                </a:lnTo>
                <a:close/>
              </a:path>
            </a:pathLst>
          </a:custGeom>
          <a:noFill/>
        </p:spPr>
        <p:txBody>
          <a:bodyPr wrap="square">
            <a:noAutofit/>
          </a:bodyPr>
          <a:lstStyle>
            <a:lvl1pPr marL="0" indent="0">
              <a:buNone/>
              <a:defRPr sz="1600">
                <a:solidFill>
                  <a:schemeClr val="bg1"/>
                </a:solidFill>
              </a:defRPr>
            </a:lvl1pPr>
          </a:lstStyle>
          <a:p>
            <a:endParaRPr lang="en-US" dirty="0"/>
          </a:p>
        </p:txBody>
      </p:sp>
    </p:spTree>
    <p:extLst>
      <p:ext uri="{BB962C8B-B14F-4D97-AF65-F5344CB8AC3E}">
        <p14:creationId xmlns:p14="http://schemas.microsoft.com/office/powerpoint/2010/main" val="10467772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77321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7296" userDrawn="1">
          <p15:clr>
            <a:srgbClr val="F26B43"/>
          </p15:clr>
        </p15:guide>
        <p15:guide id="4" pos="384" userDrawn="1">
          <p15:clr>
            <a:srgbClr val="F26B43"/>
          </p15:clr>
        </p15:guide>
        <p15:guide id="5" orient="horz" pos="3984" userDrawn="1">
          <p15:clr>
            <a:srgbClr val="F26B43"/>
          </p15:clr>
        </p15:guide>
        <p15:guide id="6" orient="horz" pos="33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9.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9.xml"/><Relationship Id="rId1" Type="http://schemas.openxmlformats.org/officeDocument/2006/relationships/tags" Target="../tags/tag10.xml"/><Relationship Id="rId4" Type="http://schemas.openxmlformats.org/officeDocument/2006/relationships/image" Target="../media/image9.jpe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1.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2.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3.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4.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5.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6.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7.xml"/></Relationships>
</file>

<file path=ppt/slides/_rels/slide1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7.xml"/><Relationship Id="rId1" Type="http://schemas.openxmlformats.org/officeDocument/2006/relationships/tags" Target="../tags/tag18.xml"/></Relationships>
</file>

<file path=ppt/slides/_rels/slide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Layout" Target="../slideLayouts/slideLayout10.xml"/><Relationship Id="rId1" Type="http://schemas.openxmlformats.org/officeDocument/2006/relationships/tags" Target="../tags/tag19.xml"/></Relationships>
</file>

<file path=ppt/slides/_rels/slide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3.jpe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6.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Layout" Target="../slideLayouts/slideLayout4.xml"/><Relationship Id="rId1" Type="http://schemas.openxmlformats.org/officeDocument/2006/relationships/tags" Target="../tags/tag5.xml"/></Relationships>
</file>

<file path=ppt/slides/_rels/slide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Layout" Target="../slideLayouts/slideLayout5.xml"/><Relationship Id="rId1" Type="http://schemas.openxmlformats.org/officeDocument/2006/relationships/tags" Target="../tags/tag6.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7.xml"/></Relationships>
</file>

<file path=ppt/slides/_rels/slide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8.xml"/><Relationship Id="rId1"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2" name="Group 151"/>
          <p:cNvGrpSpPr/>
          <p:nvPr/>
        </p:nvGrpSpPr>
        <p:grpSpPr>
          <a:xfrm>
            <a:off x="2153214" y="551514"/>
            <a:ext cx="7892772" cy="5773086"/>
            <a:chOff x="2153214" y="551514"/>
            <a:chExt cx="7892772" cy="5773086"/>
          </a:xfrm>
        </p:grpSpPr>
        <p:sp>
          <p:nvSpPr>
            <p:cNvPr id="11" name="วงรี 265"/>
            <p:cNvSpPr/>
            <p:nvPr/>
          </p:nvSpPr>
          <p:spPr>
            <a:xfrm>
              <a:off x="3217069" y="861805"/>
              <a:ext cx="5350407" cy="5350407"/>
            </a:xfrm>
            <a:prstGeom prst="ellipse">
              <a:avLst/>
            </a:prstGeom>
            <a:solidFill>
              <a:schemeClr val="bg2"/>
            </a:solidFill>
            <a:ln w="279400">
              <a:solidFill>
                <a:srgbClr val="01678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3" tIns="45712" rIns="91423" bIns="45712" spcCol="0" rtlCol="0" anchor="ctr"/>
            <a:lstStyle/>
            <a:p>
              <a:pPr algn="ctr"/>
              <a:endParaRPr lang="th-TH" dirty="0">
                <a:solidFill>
                  <a:srgbClr val="01678C"/>
                </a:solidFill>
              </a:endParaRPr>
            </a:p>
          </p:txBody>
        </p:sp>
        <p:grpSp>
          <p:nvGrpSpPr>
            <p:cNvPr id="24" name="กลุ่ม 160"/>
            <p:cNvGrpSpPr/>
            <p:nvPr/>
          </p:nvGrpSpPr>
          <p:grpSpPr>
            <a:xfrm>
              <a:off x="2153214" y="1248500"/>
              <a:ext cx="1864668" cy="3624395"/>
              <a:chOff x="5381626" y="10779125"/>
              <a:chExt cx="733426" cy="1425576"/>
            </a:xfrm>
          </p:grpSpPr>
          <p:sp>
            <p:nvSpPr>
              <p:cNvPr id="25" name="Freeform 1316"/>
              <p:cNvSpPr>
                <a:spLocks/>
              </p:cNvSpPr>
              <p:nvPr/>
            </p:nvSpPr>
            <p:spPr bwMode="auto">
              <a:xfrm>
                <a:off x="5472114" y="11409363"/>
                <a:ext cx="550863" cy="795338"/>
              </a:xfrm>
              <a:custGeom>
                <a:avLst/>
                <a:gdLst>
                  <a:gd name="T0" fmla="*/ 216 w 264"/>
                  <a:gd name="T1" fmla="*/ 0 h 380"/>
                  <a:gd name="T2" fmla="*/ 264 w 264"/>
                  <a:gd name="T3" fmla="*/ 27 h 380"/>
                  <a:gd name="T4" fmla="*/ 233 w 264"/>
                  <a:gd name="T5" fmla="*/ 166 h 380"/>
                  <a:gd name="T6" fmla="*/ 226 w 264"/>
                  <a:gd name="T7" fmla="*/ 359 h 380"/>
                  <a:gd name="T8" fmla="*/ 132 w 264"/>
                  <a:gd name="T9" fmla="*/ 380 h 380"/>
                  <a:gd name="T10" fmla="*/ 39 w 264"/>
                  <a:gd name="T11" fmla="*/ 359 h 380"/>
                  <a:gd name="T12" fmla="*/ 32 w 264"/>
                  <a:gd name="T13" fmla="*/ 166 h 380"/>
                  <a:gd name="T14" fmla="*/ 0 w 264"/>
                  <a:gd name="T15" fmla="*/ 27 h 380"/>
                  <a:gd name="T16" fmla="*/ 49 w 264"/>
                  <a:gd name="T17" fmla="*/ 0 h 380"/>
                  <a:gd name="T18" fmla="*/ 216 w 264"/>
                  <a:gd name="T19"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4" h="380">
                    <a:moveTo>
                      <a:pt x="216" y="0"/>
                    </a:moveTo>
                    <a:cubicBezTo>
                      <a:pt x="216" y="0"/>
                      <a:pt x="239" y="10"/>
                      <a:pt x="264" y="27"/>
                    </a:cubicBezTo>
                    <a:cubicBezTo>
                      <a:pt x="264" y="27"/>
                      <a:pt x="244" y="57"/>
                      <a:pt x="233" y="166"/>
                    </a:cubicBezTo>
                    <a:cubicBezTo>
                      <a:pt x="227" y="213"/>
                      <a:pt x="228" y="280"/>
                      <a:pt x="226" y="359"/>
                    </a:cubicBezTo>
                    <a:cubicBezTo>
                      <a:pt x="226" y="359"/>
                      <a:pt x="213" y="380"/>
                      <a:pt x="132" y="380"/>
                    </a:cubicBezTo>
                    <a:cubicBezTo>
                      <a:pt x="51" y="380"/>
                      <a:pt x="39" y="359"/>
                      <a:pt x="39" y="359"/>
                    </a:cubicBezTo>
                    <a:cubicBezTo>
                      <a:pt x="37" y="278"/>
                      <a:pt x="37" y="215"/>
                      <a:pt x="32" y="166"/>
                    </a:cubicBezTo>
                    <a:cubicBezTo>
                      <a:pt x="20" y="61"/>
                      <a:pt x="0" y="27"/>
                      <a:pt x="0" y="27"/>
                    </a:cubicBezTo>
                    <a:cubicBezTo>
                      <a:pt x="25" y="10"/>
                      <a:pt x="49" y="0"/>
                      <a:pt x="49" y="0"/>
                    </a:cubicBezTo>
                    <a:lnTo>
                      <a:pt x="216" y="0"/>
                    </a:lnTo>
                    <a:close/>
                  </a:path>
                </a:pathLst>
              </a:custGeom>
              <a:solidFill>
                <a:srgbClr val="DCD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6" name="Freeform 1317"/>
              <p:cNvSpPr>
                <a:spLocks/>
              </p:cNvSpPr>
              <p:nvPr/>
            </p:nvSpPr>
            <p:spPr bwMode="auto">
              <a:xfrm>
                <a:off x="5586414" y="11520488"/>
                <a:ext cx="131763" cy="244475"/>
              </a:xfrm>
              <a:custGeom>
                <a:avLst/>
                <a:gdLst>
                  <a:gd name="T0" fmla="*/ 37 w 83"/>
                  <a:gd name="T1" fmla="*/ 0 h 154"/>
                  <a:gd name="T2" fmla="*/ 0 w 83"/>
                  <a:gd name="T3" fmla="*/ 69 h 154"/>
                  <a:gd name="T4" fmla="*/ 83 w 83"/>
                  <a:gd name="T5" fmla="*/ 154 h 154"/>
                  <a:gd name="T6" fmla="*/ 37 w 83"/>
                  <a:gd name="T7" fmla="*/ 0 h 154"/>
                </a:gdLst>
                <a:ahLst/>
                <a:cxnLst>
                  <a:cxn ang="0">
                    <a:pos x="T0" y="T1"/>
                  </a:cxn>
                  <a:cxn ang="0">
                    <a:pos x="T2" y="T3"/>
                  </a:cxn>
                  <a:cxn ang="0">
                    <a:pos x="T4" y="T5"/>
                  </a:cxn>
                  <a:cxn ang="0">
                    <a:pos x="T6" y="T7"/>
                  </a:cxn>
                </a:cxnLst>
                <a:rect l="0" t="0" r="r" b="b"/>
                <a:pathLst>
                  <a:path w="83" h="154">
                    <a:moveTo>
                      <a:pt x="37" y="0"/>
                    </a:moveTo>
                    <a:lnTo>
                      <a:pt x="0" y="69"/>
                    </a:lnTo>
                    <a:lnTo>
                      <a:pt x="83" y="154"/>
                    </a:lnTo>
                    <a:lnTo>
                      <a:pt x="3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7" name="Freeform 1318"/>
              <p:cNvSpPr>
                <a:spLocks/>
              </p:cNvSpPr>
              <p:nvPr/>
            </p:nvSpPr>
            <p:spPr bwMode="auto">
              <a:xfrm>
                <a:off x="5548314" y="11409363"/>
                <a:ext cx="111125" cy="190500"/>
              </a:xfrm>
              <a:custGeom>
                <a:avLst/>
                <a:gdLst>
                  <a:gd name="T0" fmla="*/ 28 w 70"/>
                  <a:gd name="T1" fmla="*/ 0 h 120"/>
                  <a:gd name="T2" fmla="*/ 0 w 70"/>
                  <a:gd name="T3" fmla="*/ 100 h 120"/>
                  <a:gd name="T4" fmla="*/ 70 w 70"/>
                  <a:gd name="T5" fmla="*/ 120 h 120"/>
                  <a:gd name="T6" fmla="*/ 28 w 70"/>
                  <a:gd name="T7" fmla="*/ 0 h 120"/>
                </a:gdLst>
                <a:ahLst/>
                <a:cxnLst>
                  <a:cxn ang="0">
                    <a:pos x="T0" y="T1"/>
                  </a:cxn>
                  <a:cxn ang="0">
                    <a:pos x="T2" y="T3"/>
                  </a:cxn>
                  <a:cxn ang="0">
                    <a:pos x="T4" y="T5"/>
                  </a:cxn>
                  <a:cxn ang="0">
                    <a:pos x="T6" y="T7"/>
                  </a:cxn>
                </a:cxnLst>
                <a:rect l="0" t="0" r="r" b="b"/>
                <a:pathLst>
                  <a:path w="70" h="120">
                    <a:moveTo>
                      <a:pt x="28" y="0"/>
                    </a:moveTo>
                    <a:lnTo>
                      <a:pt x="0" y="100"/>
                    </a:lnTo>
                    <a:lnTo>
                      <a:pt x="70" y="120"/>
                    </a:ln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8" name="Freeform 1319"/>
              <p:cNvSpPr>
                <a:spLocks/>
              </p:cNvSpPr>
              <p:nvPr/>
            </p:nvSpPr>
            <p:spPr bwMode="auto">
              <a:xfrm>
                <a:off x="5746751" y="11409363"/>
                <a:ext cx="276225" cy="795338"/>
              </a:xfrm>
              <a:custGeom>
                <a:avLst/>
                <a:gdLst>
                  <a:gd name="T0" fmla="*/ 94 w 132"/>
                  <a:gd name="T1" fmla="*/ 359 h 380"/>
                  <a:gd name="T2" fmla="*/ 101 w 132"/>
                  <a:gd name="T3" fmla="*/ 166 h 380"/>
                  <a:gd name="T4" fmla="*/ 132 w 132"/>
                  <a:gd name="T5" fmla="*/ 27 h 380"/>
                  <a:gd name="T6" fmla="*/ 84 w 132"/>
                  <a:gd name="T7" fmla="*/ 0 h 380"/>
                  <a:gd name="T8" fmla="*/ 0 w 132"/>
                  <a:gd name="T9" fmla="*/ 0 h 380"/>
                  <a:gd name="T10" fmla="*/ 0 w 132"/>
                  <a:gd name="T11" fmla="*/ 380 h 380"/>
                  <a:gd name="T12" fmla="*/ 94 w 132"/>
                  <a:gd name="T13" fmla="*/ 359 h 380"/>
                </a:gdLst>
                <a:ahLst/>
                <a:cxnLst>
                  <a:cxn ang="0">
                    <a:pos x="T0" y="T1"/>
                  </a:cxn>
                  <a:cxn ang="0">
                    <a:pos x="T2" y="T3"/>
                  </a:cxn>
                  <a:cxn ang="0">
                    <a:pos x="T4" y="T5"/>
                  </a:cxn>
                  <a:cxn ang="0">
                    <a:pos x="T6" y="T7"/>
                  </a:cxn>
                  <a:cxn ang="0">
                    <a:pos x="T8" y="T9"/>
                  </a:cxn>
                  <a:cxn ang="0">
                    <a:pos x="T10" y="T11"/>
                  </a:cxn>
                  <a:cxn ang="0">
                    <a:pos x="T12" y="T13"/>
                  </a:cxn>
                </a:cxnLst>
                <a:rect l="0" t="0" r="r" b="b"/>
                <a:pathLst>
                  <a:path w="132" h="380">
                    <a:moveTo>
                      <a:pt x="94" y="359"/>
                    </a:moveTo>
                    <a:cubicBezTo>
                      <a:pt x="96" y="278"/>
                      <a:pt x="95" y="214"/>
                      <a:pt x="101" y="166"/>
                    </a:cubicBezTo>
                    <a:cubicBezTo>
                      <a:pt x="112" y="60"/>
                      <a:pt x="132" y="27"/>
                      <a:pt x="132" y="27"/>
                    </a:cubicBezTo>
                    <a:cubicBezTo>
                      <a:pt x="107" y="10"/>
                      <a:pt x="84" y="0"/>
                      <a:pt x="84" y="0"/>
                    </a:cubicBezTo>
                    <a:cubicBezTo>
                      <a:pt x="0" y="0"/>
                      <a:pt x="0" y="0"/>
                      <a:pt x="0" y="0"/>
                    </a:cubicBezTo>
                    <a:cubicBezTo>
                      <a:pt x="0" y="380"/>
                      <a:pt x="0" y="380"/>
                      <a:pt x="0" y="380"/>
                    </a:cubicBezTo>
                    <a:cubicBezTo>
                      <a:pt x="81" y="380"/>
                      <a:pt x="94" y="359"/>
                      <a:pt x="94" y="359"/>
                    </a:cubicBezTo>
                    <a:close/>
                  </a:path>
                </a:pathLst>
              </a:custGeom>
              <a:solidFill>
                <a:srgbClr val="DCD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9" name="Freeform 1320"/>
              <p:cNvSpPr>
                <a:spLocks/>
              </p:cNvSpPr>
              <p:nvPr/>
            </p:nvSpPr>
            <p:spPr bwMode="auto">
              <a:xfrm>
                <a:off x="5776914" y="11520488"/>
                <a:ext cx="131763" cy="244475"/>
              </a:xfrm>
              <a:custGeom>
                <a:avLst/>
                <a:gdLst>
                  <a:gd name="T0" fmla="*/ 45 w 83"/>
                  <a:gd name="T1" fmla="*/ 0 h 154"/>
                  <a:gd name="T2" fmla="*/ 83 w 83"/>
                  <a:gd name="T3" fmla="*/ 69 h 154"/>
                  <a:gd name="T4" fmla="*/ 0 w 83"/>
                  <a:gd name="T5" fmla="*/ 154 h 154"/>
                  <a:gd name="T6" fmla="*/ 45 w 83"/>
                  <a:gd name="T7" fmla="*/ 0 h 154"/>
                </a:gdLst>
                <a:ahLst/>
                <a:cxnLst>
                  <a:cxn ang="0">
                    <a:pos x="T0" y="T1"/>
                  </a:cxn>
                  <a:cxn ang="0">
                    <a:pos x="T2" y="T3"/>
                  </a:cxn>
                  <a:cxn ang="0">
                    <a:pos x="T4" y="T5"/>
                  </a:cxn>
                  <a:cxn ang="0">
                    <a:pos x="T6" y="T7"/>
                  </a:cxn>
                </a:cxnLst>
                <a:rect l="0" t="0" r="r" b="b"/>
                <a:pathLst>
                  <a:path w="83" h="154">
                    <a:moveTo>
                      <a:pt x="45" y="0"/>
                    </a:moveTo>
                    <a:lnTo>
                      <a:pt x="83" y="69"/>
                    </a:lnTo>
                    <a:lnTo>
                      <a:pt x="0" y="154"/>
                    </a:lnTo>
                    <a:lnTo>
                      <a:pt x="4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0" name="Freeform 1321"/>
              <p:cNvSpPr>
                <a:spLocks/>
              </p:cNvSpPr>
              <p:nvPr/>
            </p:nvSpPr>
            <p:spPr bwMode="auto">
              <a:xfrm>
                <a:off x="5832476" y="11409363"/>
                <a:ext cx="112713" cy="190500"/>
              </a:xfrm>
              <a:custGeom>
                <a:avLst/>
                <a:gdLst>
                  <a:gd name="T0" fmla="*/ 42 w 71"/>
                  <a:gd name="T1" fmla="*/ 0 h 120"/>
                  <a:gd name="T2" fmla="*/ 71 w 71"/>
                  <a:gd name="T3" fmla="*/ 100 h 120"/>
                  <a:gd name="T4" fmla="*/ 0 w 71"/>
                  <a:gd name="T5" fmla="*/ 120 h 120"/>
                  <a:gd name="T6" fmla="*/ 42 w 71"/>
                  <a:gd name="T7" fmla="*/ 0 h 120"/>
                </a:gdLst>
                <a:ahLst/>
                <a:cxnLst>
                  <a:cxn ang="0">
                    <a:pos x="T0" y="T1"/>
                  </a:cxn>
                  <a:cxn ang="0">
                    <a:pos x="T2" y="T3"/>
                  </a:cxn>
                  <a:cxn ang="0">
                    <a:pos x="T4" y="T5"/>
                  </a:cxn>
                  <a:cxn ang="0">
                    <a:pos x="T6" y="T7"/>
                  </a:cxn>
                </a:cxnLst>
                <a:rect l="0" t="0" r="r" b="b"/>
                <a:pathLst>
                  <a:path w="71" h="120">
                    <a:moveTo>
                      <a:pt x="42" y="0"/>
                    </a:moveTo>
                    <a:lnTo>
                      <a:pt x="71" y="100"/>
                    </a:lnTo>
                    <a:lnTo>
                      <a:pt x="0" y="120"/>
                    </a:lnTo>
                    <a:lnTo>
                      <a:pt x="4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1" name="Freeform 1322"/>
              <p:cNvSpPr>
                <a:spLocks/>
              </p:cNvSpPr>
              <p:nvPr/>
            </p:nvSpPr>
            <p:spPr bwMode="auto">
              <a:xfrm>
                <a:off x="5608639" y="11393488"/>
                <a:ext cx="279400" cy="455613"/>
              </a:xfrm>
              <a:custGeom>
                <a:avLst/>
                <a:gdLst>
                  <a:gd name="T0" fmla="*/ 176 w 176"/>
                  <a:gd name="T1" fmla="*/ 35 h 287"/>
                  <a:gd name="T2" fmla="*/ 86 w 176"/>
                  <a:gd name="T3" fmla="*/ 287 h 287"/>
                  <a:gd name="T4" fmla="*/ 0 w 176"/>
                  <a:gd name="T5" fmla="*/ 35 h 287"/>
                  <a:gd name="T6" fmla="*/ 86 w 176"/>
                  <a:gd name="T7" fmla="*/ 0 h 287"/>
                  <a:gd name="T8" fmla="*/ 176 w 176"/>
                  <a:gd name="T9" fmla="*/ 35 h 287"/>
                </a:gdLst>
                <a:ahLst/>
                <a:cxnLst>
                  <a:cxn ang="0">
                    <a:pos x="T0" y="T1"/>
                  </a:cxn>
                  <a:cxn ang="0">
                    <a:pos x="T2" y="T3"/>
                  </a:cxn>
                  <a:cxn ang="0">
                    <a:pos x="T4" y="T5"/>
                  </a:cxn>
                  <a:cxn ang="0">
                    <a:pos x="T6" y="T7"/>
                  </a:cxn>
                  <a:cxn ang="0">
                    <a:pos x="T8" y="T9"/>
                  </a:cxn>
                </a:cxnLst>
                <a:rect l="0" t="0" r="r" b="b"/>
                <a:pathLst>
                  <a:path w="176" h="287">
                    <a:moveTo>
                      <a:pt x="176" y="35"/>
                    </a:moveTo>
                    <a:lnTo>
                      <a:pt x="86" y="287"/>
                    </a:lnTo>
                    <a:lnTo>
                      <a:pt x="0" y="35"/>
                    </a:lnTo>
                    <a:lnTo>
                      <a:pt x="86" y="0"/>
                    </a:lnTo>
                    <a:lnTo>
                      <a:pt x="176" y="35"/>
                    </a:lnTo>
                    <a:close/>
                  </a:path>
                </a:pathLst>
              </a:custGeom>
              <a:solidFill>
                <a:srgbClr val="DAE8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2" name="Freeform 1323"/>
              <p:cNvSpPr>
                <a:spLocks/>
              </p:cNvSpPr>
              <p:nvPr/>
            </p:nvSpPr>
            <p:spPr bwMode="auto">
              <a:xfrm>
                <a:off x="5608639" y="11414125"/>
                <a:ext cx="279400" cy="134938"/>
              </a:xfrm>
              <a:custGeom>
                <a:avLst/>
                <a:gdLst>
                  <a:gd name="T0" fmla="*/ 90 w 133"/>
                  <a:gd name="T1" fmla="*/ 0 h 65"/>
                  <a:gd name="T2" fmla="*/ 66 w 133"/>
                  <a:gd name="T3" fmla="*/ 25 h 65"/>
                  <a:gd name="T4" fmla="*/ 42 w 133"/>
                  <a:gd name="T5" fmla="*/ 0 h 65"/>
                  <a:gd name="T6" fmla="*/ 0 w 133"/>
                  <a:gd name="T7" fmla="*/ 17 h 65"/>
                  <a:gd name="T8" fmla="*/ 7 w 133"/>
                  <a:gd name="T9" fmla="*/ 38 h 65"/>
                  <a:gd name="T10" fmla="*/ 28 w 133"/>
                  <a:gd name="T11" fmla="*/ 65 h 65"/>
                  <a:gd name="T12" fmla="*/ 50 w 133"/>
                  <a:gd name="T13" fmla="*/ 42 h 65"/>
                  <a:gd name="T14" fmla="*/ 66 w 133"/>
                  <a:gd name="T15" fmla="*/ 58 h 65"/>
                  <a:gd name="T16" fmla="*/ 82 w 133"/>
                  <a:gd name="T17" fmla="*/ 43 h 65"/>
                  <a:gd name="T18" fmla="*/ 104 w 133"/>
                  <a:gd name="T19" fmla="*/ 65 h 65"/>
                  <a:gd name="T20" fmla="*/ 126 w 133"/>
                  <a:gd name="T21" fmla="*/ 37 h 65"/>
                  <a:gd name="T22" fmla="*/ 133 w 133"/>
                  <a:gd name="T23" fmla="*/ 17 h 65"/>
                  <a:gd name="T24" fmla="*/ 90 w 133"/>
                  <a:gd name="T2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 h="65">
                    <a:moveTo>
                      <a:pt x="90" y="0"/>
                    </a:moveTo>
                    <a:cubicBezTo>
                      <a:pt x="66" y="25"/>
                      <a:pt x="66" y="25"/>
                      <a:pt x="66" y="25"/>
                    </a:cubicBezTo>
                    <a:cubicBezTo>
                      <a:pt x="42" y="0"/>
                      <a:pt x="42" y="0"/>
                      <a:pt x="42" y="0"/>
                    </a:cubicBezTo>
                    <a:cubicBezTo>
                      <a:pt x="0" y="17"/>
                      <a:pt x="0" y="17"/>
                      <a:pt x="0" y="17"/>
                    </a:cubicBezTo>
                    <a:cubicBezTo>
                      <a:pt x="7" y="38"/>
                      <a:pt x="7" y="38"/>
                      <a:pt x="7" y="38"/>
                    </a:cubicBezTo>
                    <a:cubicBezTo>
                      <a:pt x="28" y="65"/>
                      <a:pt x="28" y="65"/>
                      <a:pt x="28" y="65"/>
                    </a:cubicBezTo>
                    <a:cubicBezTo>
                      <a:pt x="50" y="42"/>
                      <a:pt x="50" y="42"/>
                      <a:pt x="50" y="42"/>
                    </a:cubicBezTo>
                    <a:cubicBezTo>
                      <a:pt x="51" y="51"/>
                      <a:pt x="58" y="58"/>
                      <a:pt x="66" y="58"/>
                    </a:cubicBezTo>
                    <a:cubicBezTo>
                      <a:pt x="75" y="58"/>
                      <a:pt x="81" y="51"/>
                      <a:pt x="82" y="43"/>
                    </a:cubicBezTo>
                    <a:cubicBezTo>
                      <a:pt x="104" y="65"/>
                      <a:pt x="104" y="65"/>
                      <a:pt x="104" y="65"/>
                    </a:cubicBezTo>
                    <a:cubicBezTo>
                      <a:pt x="126" y="37"/>
                      <a:pt x="126" y="37"/>
                      <a:pt x="126" y="37"/>
                    </a:cubicBezTo>
                    <a:cubicBezTo>
                      <a:pt x="133" y="17"/>
                      <a:pt x="133" y="17"/>
                      <a:pt x="133" y="17"/>
                    </a:cubicBezTo>
                    <a:lnTo>
                      <a:pt x="90" y="0"/>
                    </a:lnTo>
                    <a:close/>
                  </a:path>
                </a:pathLst>
              </a:custGeom>
              <a:solidFill>
                <a:srgbClr val="C8DB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3" name="Freeform 1324"/>
              <p:cNvSpPr>
                <a:spLocks/>
              </p:cNvSpPr>
              <p:nvPr/>
            </p:nvSpPr>
            <p:spPr bwMode="auto">
              <a:xfrm>
                <a:off x="5716589" y="11488738"/>
                <a:ext cx="63500" cy="360363"/>
              </a:xfrm>
              <a:custGeom>
                <a:avLst/>
                <a:gdLst>
                  <a:gd name="T0" fmla="*/ 0 w 40"/>
                  <a:gd name="T1" fmla="*/ 170 h 227"/>
                  <a:gd name="T2" fmla="*/ 18 w 40"/>
                  <a:gd name="T3" fmla="*/ 227 h 227"/>
                  <a:gd name="T4" fmla="*/ 40 w 40"/>
                  <a:gd name="T5" fmla="*/ 165 h 227"/>
                  <a:gd name="T6" fmla="*/ 27 w 40"/>
                  <a:gd name="T7" fmla="*/ 0 h 227"/>
                  <a:gd name="T8" fmla="*/ 11 w 40"/>
                  <a:gd name="T9" fmla="*/ 0 h 227"/>
                  <a:gd name="T10" fmla="*/ 0 w 40"/>
                  <a:gd name="T11" fmla="*/ 170 h 227"/>
                </a:gdLst>
                <a:ahLst/>
                <a:cxnLst>
                  <a:cxn ang="0">
                    <a:pos x="T0" y="T1"/>
                  </a:cxn>
                  <a:cxn ang="0">
                    <a:pos x="T2" y="T3"/>
                  </a:cxn>
                  <a:cxn ang="0">
                    <a:pos x="T4" y="T5"/>
                  </a:cxn>
                  <a:cxn ang="0">
                    <a:pos x="T6" y="T7"/>
                  </a:cxn>
                  <a:cxn ang="0">
                    <a:pos x="T8" y="T9"/>
                  </a:cxn>
                  <a:cxn ang="0">
                    <a:pos x="T10" y="T11"/>
                  </a:cxn>
                </a:cxnLst>
                <a:rect l="0" t="0" r="r" b="b"/>
                <a:pathLst>
                  <a:path w="40" h="227">
                    <a:moveTo>
                      <a:pt x="0" y="170"/>
                    </a:moveTo>
                    <a:lnTo>
                      <a:pt x="18" y="227"/>
                    </a:lnTo>
                    <a:lnTo>
                      <a:pt x="40" y="165"/>
                    </a:lnTo>
                    <a:lnTo>
                      <a:pt x="27" y="0"/>
                    </a:lnTo>
                    <a:lnTo>
                      <a:pt x="11" y="0"/>
                    </a:lnTo>
                    <a:lnTo>
                      <a:pt x="0" y="170"/>
                    </a:lnTo>
                    <a:close/>
                  </a:path>
                </a:pathLst>
              </a:custGeom>
              <a:solidFill>
                <a:srgbClr val="76A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4" name="Freeform 1325"/>
              <p:cNvSpPr>
                <a:spLocks/>
              </p:cNvSpPr>
              <p:nvPr/>
            </p:nvSpPr>
            <p:spPr bwMode="auto">
              <a:xfrm>
                <a:off x="5535614" y="11280775"/>
                <a:ext cx="419100" cy="306388"/>
              </a:xfrm>
              <a:custGeom>
                <a:avLst/>
                <a:gdLst>
                  <a:gd name="T0" fmla="*/ 3 w 200"/>
                  <a:gd name="T1" fmla="*/ 147 h 147"/>
                  <a:gd name="T2" fmla="*/ 0 w 200"/>
                  <a:gd name="T3" fmla="*/ 144 h 147"/>
                  <a:gd name="T4" fmla="*/ 0 w 200"/>
                  <a:gd name="T5" fmla="*/ 100 h 147"/>
                  <a:gd name="T6" fmla="*/ 100 w 200"/>
                  <a:gd name="T7" fmla="*/ 0 h 147"/>
                  <a:gd name="T8" fmla="*/ 200 w 200"/>
                  <a:gd name="T9" fmla="*/ 97 h 147"/>
                  <a:gd name="T10" fmla="*/ 198 w 200"/>
                  <a:gd name="T11" fmla="*/ 100 h 147"/>
                  <a:gd name="T12" fmla="*/ 198 w 200"/>
                  <a:gd name="T13" fmla="*/ 100 h 147"/>
                  <a:gd name="T14" fmla="*/ 195 w 200"/>
                  <a:gd name="T15" fmla="*/ 97 h 147"/>
                  <a:gd name="T16" fmla="*/ 100 w 200"/>
                  <a:gd name="T17" fmla="*/ 5 h 147"/>
                  <a:gd name="T18" fmla="*/ 6 w 200"/>
                  <a:gd name="T19" fmla="*/ 100 h 147"/>
                  <a:gd name="T20" fmla="*/ 6 w 200"/>
                  <a:gd name="T21" fmla="*/ 144 h 147"/>
                  <a:gd name="T22" fmla="*/ 3 w 200"/>
                  <a:gd name="T23"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147">
                    <a:moveTo>
                      <a:pt x="3" y="147"/>
                    </a:moveTo>
                    <a:cubicBezTo>
                      <a:pt x="2" y="147"/>
                      <a:pt x="0" y="146"/>
                      <a:pt x="0" y="144"/>
                    </a:cubicBezTo>
                    <a:cubicBezTo>
                      <a:pt x="0" y="100"/>
                      <a:pt x="0" y="100"/>
                      <a:pt x="0" y="100"/>
                    </a:cubicBezTo>
                    <a:cubicBezTo>
                      <a:pt x="0" y="45"/>
                      <a:pt x="45" y="0"/>
                      <a:pt x="100" y="0"/>
                    </a:cubicBezTo>
                    <a:cubicBezTo>
                      <a:pt x="154" y="0"/>
                      <a:pt x="199" y="43"/>
                      <a:pt x="200" y="97"/>
                    </a:cubicBezTo>
                    <a:cubicBezTo>
                      <a:pt x="200" y="98"/>
                      <a:pt x="199" y="100"/>
                      <a:pt x="198" y="100"/>
                    </a:cubicBezTo>
                    <a:cubicBezTo>
                      <a:pt x="198" y="100"/>
                      <a:pt x="198" y="100"/>
                      <a:pt x="198" y="100"/>
                    </a:cubicBezTo>
                    <a:cubicBezTo>
                      <a:pt x="196" y="100"/>
                      <a:pt x="195" y="99"/>
                      <a:pt x="195" y="97"/>
                    </a:cubicBezTo>
                    <a:cubicBezTo>
                      <a:pt x="193" y="46"/>
                      <a:pt x="151" y="5"/>
                      <a:pt x="100" y="5"/>
                    </a:cubicBezTo>
                    <a:cubicBezTo>
                      <a:pt x="48" y="5"/>
                      <a:pt x="6" y="48"/>
                      <a:pt x="6" y="100"/>
                    </a:cubicBezTo>
                    <a:cubicBezTo>
                      <a:pt x="6" y="144"/>
                      <a:pt x="6" y="144"/>
                      <a:pt x="6" y="144"/>
                    </a:cubicBezTo>
                    <a:cubicBezTo>
                      <a:pt x="6" y="146"/>
                      <a:pt x="5" y="147"/>
                      <a:pt x="3" y="147"/>
                    </a:cubicBezTo>
                  </a:path>
                </a:pathLst>
              </a:custGeom>
              <a:solidFill>
                <a:srgbClr val="5958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5" name="Freeform 1326"/>
              <p:cNvSpPr>
                <a:spLocks/>
              </p:cNvSpPr>
              <p:nvPr/>
            </p:nvSpPr>
            <p:spPr bwMode="auto">
              <a:xfrm>
                <a:off x="5621339" y="11182350"/>
                <a:ext cx="249238" cy="300038"/>
              </a:xfrm>
              <a:custGeom>
                <a:avLst/>
                <a:gdLst>
                  <a:gd name="T0" fmla="*/ 157 w 157"/>
                  <a:gd name="T1" fmla="*/ 150 h 189"/>
                  <a:gd name="T2" fmla="*/ 79 w 157"/>
                  <a:gd name="T3" fmla="*/ 189 h 189"/>
                  <a:gd name="T4" fmla="*/ 0 w 157"/>
                  <a:gd name="T5" fmla="*/ 150 h 189"/>
                  <a:gd name="T6" fmla="*/ 27 w 157"/>
                  <a:gd name="T7" fmla="*/ 0 h 189"/>
                  <a:gd name="T8" fmla="*/ 131 w 157"/>
                  <a:gd name="T9" fmla="*/ 0 h 189"/>
                  <a:gd name="T10" fmla="*/ 157 w 157"/>
                  <a:gd name="T11" fmla="*/ 150 h 189"/>
                </a:gdLst>
                <a:ahLst/>
                <a:cxnLst>
                  <a:cxn ang="0">
                    <a:pos x="T0" y="T1"/>
                  </a:cxn>
                  <a:cxn ang="0">
                    <a:pos x="T2" y="T3"/>
                  </a:cxn>
                  <a:cxn ang="0">
                    <a:pos x="T4" y="T5"/>
                  </a:cxn>
                  <a:cxn ang="0">
                    <a:pos x="T6" y="T7"/>
                  </a:cxn>
                  <a:cxn ang="0">
                    <a:pos x="T8" y="T9"/>
                  </a:cxn>
                  <a:cxn ang="0">
                    <a:pos x="T10" y="T11"/>
                  </a:cxn>
                </a:cxnLst>
                <a:rect l="0" t="0" r="r" b="b"/>
                <a:pathLst>
                  <a:path w="157" h="189">
                    <a:moveTo>
                      <a:pt x="157" y="150"/>
                    </a:moveTo>
                    <a:lnTo>
                      <a:pt x="79" y="189"/>
                    </a:lnTo>
                    <a:lnTo>
                      <a:pt x="0" y="150"/>
                    </a:lnTo>
                    <a:lnTo>
                      <a:pt x="27" y="0"/>
                    </a:lnTo>
                    <a:lnTo>
                      <a:pt x="131" y="0"/>
                    </a:lnTo>
                    <a:lnTo>
                      <a:pt x="157" y="150"/>
                    </a:ln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6" name="Freeform 1327"/>
              <p:cNvSpPr>
                <a:spLocks/>
              </p:cNvSpPr>
              <p:nvPr/>
            </p:nvSpPr>
            <p:spPr bwMode="auto">
              <a:xfrm>
                <a:off x="5621339" y="11182350"/>
                <a:ext cx="249238" cy="300038"/>
              </a:xfrm>
              <a:custGeom>
                <a:avLst/>
                <a:gdLst>
                  <a:gd name="T0" fmla="*/ 157 w 157"/>
                  <a:gd name="T1" fmla="*/ 150 h 189"/>
                  <a:gd name="T2" fmla="*/ 79 w 157"/>
                  <a:gd name="T3" fmla="*/ 189 h 189"/>
                  <a:gd name="T4" fmla="*/ 0 w 157"/>
                  <a:gd name="T5" fmla="*/ 150 h 189"/>
                  <a:gd name="T6" fmla="*/ 27 w 157"/>
                  <a:gd name="T7" fmla="*/ 0 h 189"/>
                  <a:gd name="T8" fmla="*/ 131 w 157"/>
                  <a:gd name="T9" fmla="*/ 0 h 189"/>
                  <a:gd name="T10" fmla="*/ 157 w 157"/>
                  <a:gd name="T11" fmla="*/ 150 h 189"/>
                </a:gdLst>
                <a:ahLst/>
                <a:cxnLst>
                  <a:cxn ang="0">
                    <a:pos x="T0" y="T1"/>
                  </a:cxn>
                  <a:cxn ang="0">
                    <a:pos x="T2" y="T3"/>
                  </a:cxn>
                  <a:cxn ang="0">
                    <a:pos x="T4" y="T5"/>
                  </a:cxn>
                  <a:cxn ang="0">
                    <a:pos x="T6" y="T7"/>
                  </a:cxn>
                  <a:cxn ang="0">
                    <a:pos x="T8" y="T9"/>
                  </a:cxn>
                  <a:cxn ang="0">
                    <a:pos x="T10" y="T11"/>
                  </a:cxn>
                </a:cxnLst>
                <a:rect l="0" t="0" r="r" b="b"/>
                <a:pathLst>
                  <a:path w="157" h="189">
                    <a:moveTo>
                      <a:pt x="157" y="150"/>
                    </a:moveTo>
                    <a:lnTo>
                      <a:pt x="79" y="189"/>
                    </a:lnTo>
                    <a:lnTo>
                      <a:pt x="0" y="150"/>
                    </a:lnTo>
                    <a:lnTo>
                      <a:pt x="27" y="0"/>
                    </a:lnTo>
                    <a:lnTo>
                      <a:pt x="131" y="0"/>
                    </a:lnTo>
                    <a:lnTo>
                      <a:pt x="157"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7" name="Oval 1328"/>
              <p:cNvSpPr>
                <a:spLocks noChangeArrowheads="1"/>
              </p:cNvSpPr>
              <p:nvPr/>
            </p:nvSpPr>
            <p:spPr bwMode="auto">
              <a:xfrm>
                <a:off x="5713414" y="11449050"/>
                <a:ext cx="66675" cy="66675"/>
              </a:xfrm>
              <a:prstGeom prst="ellipse">
                <a:avLst/>
              </a:prstGeom>
              <a:solidFill>
                <a:srgbClr val="6795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8" name="Rectangle 1329"/>
              <p:cNvSpPr>
                <a:spLocks noChangeArrowheads="1"/>
              </p:cNvSpPr>
              <p:nvPr/>
            </p:nvSpPr>
            <p:spPr bwMode="auto">
              <a:xfrm>
                <a:off x="5641976" y="11182350"/>
                <a:ext cx="206375" cy="171450"/>
              </a:xfrm>
              <a:prstGeom prst="rect">
                <a:avLst/>
              </a:prstGeom>
              <a:solidFill>
                <a:srgbClr val="D2AC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9" name="Freeform 1330"/>
              <p:cNvSpPr>
                <a:spLocks/>
              </p:cNvSpPr>
              <p:nvPr/>
            </p:nvSpPr>
            <p:spPr bwMode="auto">
              <a:xfrm>
                <a:off x="5573714" y="11333163"/>
                <a:ext cx="173038" cy="200025"/>
              </a:xfrm>
              <a:custGeom>
                <a:avLst/>
                <a:gdLst>
                  <a:gd name="T0" fmla="*/ 40 w 109"/>
                  <a:gd name="T1" fmla="*/ 0 h 126"/>
                  <a:gd name="T2" fmla="*/ 109 w 109"/>
                  <a:gd name="T3" fmla="*/ 73 h 126"/>
                  <a:gd name="T4" fmla="*/ 59 w 109"/>
                  <a:gd name="T5" fmla="*/ 126 h 126"/>
                  <a:gd name="T6" fmla="*/ 0 w 109"/>
                  <a:gd name="T7" fmla="*/ 48 h 126"/>
                  <a:gd name="T8" fmla="*/ 40 w 109"/>
                  <a:gd name="T9" fmla="*/ 0 h 126"/>
                </a:gdLst>
                <a:ahLst/>
                <a:cxnLst>
                  <a:cxn ang="0">
                    <a:pos x="T0" y="T1"/>
                  </a:cxn>
                  <a:cxn ang="0">
                    <a:pos x="T2" y="T3"/>
                  </a:cxn>
                  <a:cxn ang="0">
                    <a:pos x="T4" y="T5"/>
                  </a:cxn>
                  <a:cxn ang="0">
                    <a:pos x="T6" y="T7"/>
                  </a:cxn>
                  <a:cxn ang="0">
                    <a:pos x="T8" y="T9"/>
                  </a:cxn>
                </a:cxnLst>
                <a:rect l="0" t="0" r="r" b="b"/>
                <a:pathLst>
                  <a:path w="109" h="126">
                    <a:moveTo>
                      <a:pt x="40" y="0"/>
                    </a:moveTo>
                    <a:lnTo>
                      <a:pt x="109" y="73"/>
                    </a:lnTo>
                    <a:lnTo>
                      <a:pt x="59" y="126"/>
                    </a:lnTo>
                    <a:lnTo>
                      <a:pt x="0" y="48"/>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0" name="Freeform 1331"/>
              <p:cNvSpPr>
                <a:spLocks/>
              </p:cNvSpPr>
              <p:nvPr/>
            </p:nvSpPr>
            <p:spPr bwMode="auto">
              <a:xfrm>
                <a:off x="5745164" y="11333163"/>
                <a:ext cx="176213" cy="200025"/>
              </a:xfrm>
              <a:custGeom>
                <a:avLst/>
                <a:gdLst>
                  <a:gd name="T0" fmla="*/ 71 w 111"/>
                  <a:gd name="T1" fmla="*/ 0 h 126"/>
                  <a:gd name="T2" fmla="*/ 0 w 111"/>
                  <a:gd name="T3" fmla="*/ 73 h 126"/>
                  <a:gd name="T4" fmla="*/ 51 w 111"/>
                  <a:gd name="T5" fmla="*/ 126 h 126"/>
                  <a:gd name="T6" fmla="*/ 111 w 111"/>
                  <a:gd name="T7" fmla="*/ 48 h 126"/>
                  <a:gd name="T8" fmla="*/ 71 w 111"/>
                  <a:gd name="T9" fmla="*/ 0 h 126"/>
                </a:gdLst>
                <a:ahLst/>
                <a:cxnLst>
                  <a:cxn ang="0">
                    <a:pos x="T0" y="T1"/>
                  </a:cxn>
                  <a:cxn ang="0">
                    <a:pos x="T2" y="T3"/>
                  </a:cxn>
                  <a:cxn ang="0">
                    <a:pos x="T4" y="T5"/>
                  </a:cxn>
                  <a:cxn ang="0">
                    <a:pos x="T6" y="T7"/>
                  </a:cxn>
                  <a:cxn ang="0">
                    <a:pos x="T8" y="T9"/>
                  </a:cxn>
                </a:cxnLst>
                <a:rect l="0" t="0" r="r" b="b"/>
                <a:pathLst>
                  <a:path w="111" h="126">
                    <a:moveTo>
                      <a:pt x="71" y="0"/>
                    </a:moveTo>
                    <a:lnTo>
                      <a:pt x="0" y="73"/>
                    </a:lnTo>
                    <a:lnTo>
                      <a:pt x="51" y="126"/>
                    </a:lnTo>
                    <a:lnTo>
                      <a:pt x="111" y="4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1" name="Freeform 1332"/>
              <p:cNvSpPr>
                <a:spLocks/>
              </p:cNvSpPr>
              <p:nvPr/>
            </p:nvSpPr>
            <p:spPr bwMode="auto">
              <a:xfrm>
                <a:off x="5813426" y="11461750"/>
                <a:ext cx="177800" cy="173038"/>
              </a:xfrm>
              <a:custGeom>
                <a:avLst/>
                <a:gdLst>
                  <a:gd name="T0" fmla="*/ 66 w 85"/>
                  <a:gd name="T1" fmla="*/ 83 h 83"/>
                  <a:gd name="T2" fmla="*/ 65 w 85"/>
                  <a:gd name="T3" fmla="*/ 82 h 83"/>
                  <a:gd name="T4" fmla="*/ 64 w 85"/>
                  <a:gd name="T5" fmla="*/ 79 h 83"/>
                  <a:gd name="T6" fmla="*/ 75 w 85"/>
                  <a:gd name="T7" fmla="*/ 54 h 83"/>
                  <a:gd name="T8" fmla="*/ 76 w 85"/>
                  <a:gd name="T9" fmla="*/ 29 h 83"/>
                  <a:gd name="T10" fmla="*/ 59 w 85"/>
                  <a:gd name="T11" fmla="*/ 10 h 83"/>
                  <a:gd name="T12" fmla="*/ 33 w 85"/>
                  <a:gd name="T13" fmla="*/ 9 h 83"/>
                  <a:gd name="T14" fmla="*/ 15 w 85"/>
                  <a:gd name="T15" fmla="*/ 26 h 83"/>
                  <a:gd name="T16" fmla="*/ 6 w 85"/>
                  <a:gd name="T17" fmla="*/ 44 h 83"/>
                  <a:gd name="T18" fmla="*/ 2 w 85"/>
                  <a:gd name="T19" fmla="*/ 45 h 83"/>
                  <a:gd name="T20" fmla="*/ 1 w 85"/>
                  <a:gd name="T21" fmla="*/ 42 h 83"/>
                  <a:gd name="T22" fmla="*/ 9 w 85"/>
                  <a:gd name="T23" fmla="*/ 24 h 83"/>
                  <a:gd name="T24" fmla="*/ 32 w 85"/>
                  <a:gd name="T25" fmla="*/ 4 h 83"/>
                  <a:gd name="T26" fmla="*/ 61 w 85"/>
                  <a:gd name="T27" fmla="*/ 5 h 83"/>
                  <a:gd name="T28" fmla="*/ 81 w 85"/>
                  <a:gd name="T29" fmla="*/ 27 h 83"/>
                  <a:gd name="T30" fmla="*/ 80 w 85"/>
                  <a:gd name="T31" fmla="*/ 57 h 83"/>
                  <a:gd name="T32" fmla="*/ 69 w 85"/>
                  <a:gd name="T33" fmla="*/ 81 h 83"/>
                  <a:gd name="T34" fmla="*/ 66 w 85"/>
                  <a:gd name="T3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83">
                    <a:moveTo>
                      <a:pt x="66" y="83"/>
                    </a:moveTo>
                    <a:cubicBezTo>
                      <a:pt x="66" y="83"/>
                      <a:pt x="65" y="83"/>
                      <a:pt x="65" y="82"/>
                    </a:cubicBezTo>
                    <a:cubicBezTo>
                      <a:pt x="64" y="82"/>
                      <a:pt x="63" y="80"/>
                      <a:pt x="64" y="79"/>
                    </a:cubicBezTo>
                    <a:cubicBezTo>
                      <a:pt x="75" y="54"/>
                      <a:pt x="75" y="54"/>
                      <a:pt x="75" y="54"/>
                    </a:cubicBezTo>
                    <a:cubicBezTo>
                      <a:pt x="79" y="46"/>
                      <a:pt x="79" y="37"/>
                      <a:pt x="76" y="29"/>
                    </a:cubicBezTo>
                    <a:cubicBezTo>
                      <a:pt x="73" y="20"/>
                      <a:pt x="67" y="14"/>
                      <a:pt x="59" y="10"/>
                    </a:cubicBezTo>
                    <a:cubicBezTo>
                      <a:pt x="51" y="6"/>
                      <a:pt x="42" y="6"/>
                      <a:pt x="33" y="9"/>
                    </a:cubicBezTo>
                    <a:cubicBezTo>
                      <a:pt x="25" y="12"/>
                      <a:pt x="18" y="18"/>
                      <a:pt x="15" y="26"/>
                    </a:cubicBezTo>
                    <a:cubicBezTo>
                      <a:pt x="6" y="44"/>
                      <a:pt x="6" y="44"/>
                      <a:pt x="6" y="44"/>
                    </a:cubicBezTo>
                    <a:cubicBezTo>
                      <a:pt x="5" y="46"/>
                      <a:pt x="4" y="46"/>
                      <a:pt x="2" y="45"/>
                    </a:cubicBezTo>
                    <a:cubicBezTo>
                      <a:pt x="1" y="45"/>
                      <a:pt x="0" y="43"/>
                      <a:pt x="1" y="42"/>
                    </a:cubicBezTo>
                    <a:cubicBezTo>
                      <a:pt x="9" y="24"/>
                      <a:pt x="9" y="24"/>
                      <a:pt x="9" y="24"/>
                    </a:cubicBezTo>
                    <a:cubicBezTo>
                      <a:pt x="14" y="14"/>
                      <a:pt x="22" y="7"/>
                      <a:pt x="32" y="4"/>
                    </a:cubicBezTo>
                    <a:cubicBezTo>
                      <a:pt x="41" y="0"/>
                      <a:pt x="52" y="0"/>
                      <a:pt x="61" y="5"/>
                    </a:cubicBezTo>
                    <a:cubicBezTo>
                      <a:pt x="71" y="9"/>
                      <a:pt x="78" y="17"/>
                      <a:pt x="81" y="27"/>
                    </a:cubicBezTo>
                    <a:cubicBezTo>
                      <a:pt x="85" y="37"/>
                      <a:pt x="85" y="47"/>
                      <a:pt x="80" y="57"/>
                    </a:cubicBezTo>
                    <a:cubicBezTo>
                      <a:pt x="69" y="81"/>
                      <a:pt x="69" y="81"/>
                      <a:pt x="69" y="81"/>
                    </a:cubicBezTo>
                    <a:cubicBezTo>
                      <a:pt x="68" y="82"/>
                      <a:pt x="67" y="83"/>
                      <a:pt x="66" y="83"/>
                    </a:cubicBezTo>
                    <a:close/>
                  </a:path>
                </a:pathLst>
              </a:custGeom>
              <a:solidFill>
                <a:srgbClr val="5958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2" name="Freeform 1333"/>
              <p:cNvSpPr>
                <a:spLocks/>
              </p:cNvSpPr>
              <p:nvPr/>
            </p:nvSpPr>
            <p:spPr bwMode="auto">
              <a:xfrm>
                <a:off x="5799139" y="11541125"/>
                <a:ext cx="31750" cy="38100"/>
              </a:xfrm>
              <a:custGeom>
                <a:avLst/>
                <a:gdLst>
                  <a:gd name="T0" fmla="*/ 2 w 15"/>
                  <a:gd name="T1" fmla="*/ 17 h 18"/>
                  <a:gd name="T2" fmla="*/ 2 w 15"/>
                  <a:gd name="T3" fmla="*/ 17 h 18"/>
                  <a:gd name="T4" fmla="*/ 1 w 15"/>
                  <a:gd name="T5" fmla="*/ 12 h 18"/>
                  <a:gd name="T6" fmla="*/ 7 w 15"/>
                  <a:gd name="T7" fmla="*/ 2 h 18"/>
                  <a:gd name="T8" fmla="*/ 12 w 15"/>
                  <a:gd name="T9" fmla="*/ 1 h 18"/>
                  <a:gd name="T10" fmla="*/ 14 w 15"/>
                  <a:gd name="T11" fmla="*/ 6 h 18"/>
                  <a:gd name="T12" fmla="*/ 7 w 15"/>
                  <a:gd name="T13" fmla="*/ 16 h 18"/>
                  <a:gd name="T14" fmla="*/ 2 w 15"/>
                  <a:gd name="T15" fmla="*/ 17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8">
                    <a:moveTo>
                      <a:pt x="2" y="17"/>
                    </a:moveTo>
                    <a:cubicBezTo>
                      <a:pt x="2" y="17"/>
                      <a:pt x="2" y="17"/>
                      <a:pt x="2" y="17"/>
                    </a:cubicBezTo>
                    <a:cubicBezTo>
                      <a:pt x="1" y="16"/>
                      <a:pt x="0" y="14"/>
                      <a:pt x="1" y="12"/>
                    </a:cubicBezTo>
                    <a:cubicBezTo>
                      <a:pt x="7" y="2"/>
                      <a:pt x="7" y="2"/>
                      <a:pt x="7" y="2"/>
                    </a:cubicBezTo>
                    <a:cubicBezTo>
                      <a:pt x="9" y="1"/>
                      <a:pt x="11" y="0"/>
                      <a:pt x="12" y="1"/>
                    </a:cubicBezTo>
                    <a:cubicBezTo>
                      <a:pt x="14" y="2"/>
                      <a:pt x="15" y="5"/>
                      <a:pt x="14" y="6"/>
                    </a:cubicBezTo>
                    <a:cubicBezTo>
                      <a:pt x="7" y="16"/>
                      <a:pt x="7" y="16"/>
                      <a:pt x="7" y="16"/>
                    </a:cubicBezTo>
                    <a:cubicBezTo>
                      <a:pt x="6" y="18"/>
                      <a:pt x="4" y="18"/>
                      <a:pt x="2" y="17"/>
                    </a:cubicBezTo>
                    <a:close/>
                  </a:path>
                </a:pathLst>
              </a:custGeom>
              <a:solidFill>
                <a:srgbClr val="BCB8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3" name="Freeform 1334"/>
              <p:cNvSpPr>
                <a:spLocks/>
              </p:cNvSpPr>
              <p:nvPr/>
            </p:nvSpPr>
            <p:spPr bwMode="auto">
              <a:xfrm>
                <a:off x="5807076" y="11549063"/>
                <a:ext cx="31750" cy="31750"/>
              </a:xfrm>
              <a:custGeom>
                <a:avLst/>
                <a:gdLst>
                  <a:gd name="T0" fmla="*/ 6 w 15"/>
                  <a:gd name="T1" fmla="*/ 0 h 15"/>
                  <a:gd name="T2" fmla="*/ 12 w 15"/>
                  <a:gd name="T3" fmla="*/ 4 h 15"/>
                  <a:gd name="T4" fmla="*/ 14 w 15"/>
                  <a:gd name="T5" fmla="*/ 12 h 15"/>
                  <a:gd name="T6" fmla="*/ 6 w 15"/>
                  <a:gd name="T7" fmla="*/ 13 h 15"/>
                  <a:gd name="T8" fmla="*/ 0 w 15"/>
                  <a:gd name="T9" fmla="*/ 10 h 15"/>
                  <a:gd name="T10" fmla="*/ 6 w 15"/>
                  <a:gd name="T11" fmla="*/ 0 h 15"/>
                </a:gdLst>
                <a:ahLst/>
                <a:cxnLst>
                  <a:cxn ang="0">
                    <a:pos x="T0" y="T1"/>
                  </a:cxn>
                  <a:cxn ang="0">
                    <a:pos x="T2" y="T3"/>
                  </a:cxn>
                  <a:cxn ang="0">
                    <a:pos x="T4" y="T5"/>
                  </a:cxn>
                  <a:cxn ang="0">
                    <a:pos x="T6" y="T7"/>
                  </a:cxn>
                  <a:cxn ang="0">
                    <a:pos x="T8" y="T9"/>
                  </a:cxn>
                  <a:cxn ang="0">
                    <a:pos x="T10" y="T11"/>
                  </a:cxn>
                </a:cxnLst>
                <a:rect l="0" t="0" r="r" b="b"/>
                <a:pathLst>
                  <a:path w="15" h="15">
                    <a:moveTo>
                      <a:pt x="6" y="0"/>
                    </a:moveTo>
                    <a:cubicBezTo>
                      <a:pt x="12" y="4"/>
                      <a:pt x="12" y="4"/>
                      <a:pt x="12" y="4"/>
                    </a:cubicBezTo>
                    <a:cubicBezTo>
                      <a:pt x="15" y="6"/>
                      <a:pt x="15" y="9"/>
                      <a:pt x="14" y="12"/>
                    </a:cubicBezTo>
                    <a:cubicBezTo>
                      <a:pt x="12" y="14"/>
                      <a:pt x="8" y="15"/>
                      <a:pt x="6" y="13"/>
                    </a:cubicBezTo>
                    <a:cubicBezTo>
                      <a:pt x="0" y="10"/>
                      <a:pt x="0" y="10"/>
                      <a:pt x="0" y="10"/>
                    </a:cubicBezTo>
                    <a:lnTo>
                      <a:pt x="6" y="0"/>
                    </a:lnTo>
                    <a:close/>
                  </a:path>
                </a:pathLst>
              </a:custGeom>
              <a:solidFill>
                <a:srgbClr val="868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4" name="Freeform 1335"/>
              <p:cNvSpPr>
                <a:spLocks/>
              </p:cNvSpPr>
              <p:nvPr/>
            </p:nvSpPr>
            <p:spPr bwMode="auto">
              <a:xfrm>
                <a:off x="5930901" y="11618913"/>
                <a:ext cx="30163" cy="38100"/>
              </a:xfrm>
              <a:custGeom>
                <a:avLst/>
                <a:gdLst>
                  <a:gd name="T0" fmla="*/ 12 w 14"/>
                  <a:gd name="T1" fmla="*/ 1 h 18"/>
                  <a:gd name="T2" fmla="*/ 12 w 14"/>
                  <a:gd name="T3" fmla="*/ 1 h 18"/>
                  <a:gd name="T4" fmla="*/ 13 w 14"/>
                  <a:gd name="T5" fmla="*/ 7 h 18"/>
                  <a:gd name="T6" fmla="*/ 7 w 14"/>
                  <a:gd name="T7" fmla="*/ 16 h 18"/>
                  <a:gd name="T8" fmla="*/ 2 w 14"/>
                  <a:gd name="T9" fmla="*/ 17 h 18"/>
                  <a:gd name="T10" fmla="*/ 1 w 14"/>
                  <a:gd name="T11" fmla="*/ 12 h 18"/>
                  <a:gd name="T12" fmla="*/ 7 w 14"/>
                  <a:gd name="T13" fmla="*/ 3 h 18"/>
                  <a:gd name="T14" fmla="*/ 12 w 14"/>
                  <a:gd name="T15" fmla="*/ 1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12" y="1"/>
                    </a:moveTo>
                    <a:cubicBezTo>
                      <a:pt x="12" y="1"/>
                      <a:pt x="12" y="1"/>
                      <a:pt x="12" y="1"/>
                    </a:cubicBezTo>
                    <a:cubicBezTo>
                      <a:pt x="14" y="3"/>
                      <a:pt x="14" y="5"/>
                      <a:pt x="13" y="7"/>
                    </a:cubicBezTo>
                    <a:cubicBezTo>
                      <a:pt x="7" y="16"/>
                      <a:pt x="7" y="16"/>
                      <a:pt x="7" y="16"/>
                    </a:cubicBezTo>
                    <a:cubicBezTo>
                      <a:pt x="6" y="18"/>
                      <a:pt x="4" y="18"/>
                      <a:pt x="2" y="17"/>
                    </a:cubicBezTo>
                    <a:cubicBezTo>
                      <a:pt x="0" y="16"/>
                      <a:pt x="0" y="14"/>
                      <a:pt x="1" y="12"/>
                    </a:cubicBezTo>
                    <a:cubicBezTo>
                      <a:pt x="7" y="3"/>
                      <a:pt x="7" y="3"/>
                      <a:pt x="7" y="3"/>
                    </a:cubicBezTo>
                    <a:cubicBezTo>
                      <a:pt x="8" y="1"/>
                      <a:pt x="11" y="0"/>
                      <a:pt x="12" y="1"/>
                    </a:cubicBezTo>
                    <a:close/>
                  </a:path>
                </a:pathLst>
              </a:custGeom>
              <a:solidFill>
                <a:srgbClr val="BCB8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5" name="Freeform 1336"/>
              <p:cNvSpPr>
                <a:spLocks/>
              </p:cNvSpPr>
              <p:nvPr/>
            </p:nvSpPr>
            <p:spPr bwMode="auto">
              <a:xfrm>
                <a:off x="5921376" y="11617325"/>
                <a:ext cx="30163" cy="30163"/>
              </a:xfrm>
              <a:custGeom>
                <a:avLst/>
                <a:gdLst>
                  <a:gd name="T0" fmla="*/ 9 w 15"/>
                  <a:gd name="T1" fmla="*/ 15 h 15"/>
                  <a:gd name="T2" fmla="*/ 3 w 15"/>
                  <a:gd name="T3" fmla="*/ 11 h 15"/>
                  <a:gd name="T4" fmla="*/ 2 w 15"/>
                  <a:gd name="T5" fmla="*/ 4 h 15"/>
                  <a:gd name="T6" fmla="*/ 10 w 15"/>
                  <a:gd name="T7" fmla="*/ 2 h 15"/>
                  <a:gd name="T8" fmla="*/ 15 w 15"/>
                  <a:gd name="T9" fmla="*/ 6 h 15"/>
                  <a:gd name="T10" fmla="*/ 9 w 15"/>
                  <a:gd name="T11" fmla="*/ 15 h 15"/>
                </a:gdLst>
                <a:ahLst/>
                <a:cxnLst>
                  <a:cxn ang="0">
                    <a:pos x="T0" y="T1"/>
                  </a:cxn>
                  <a:cxn ang="0">
                    <a:pos x="T2" y="T3"/>
                  </a:cxn>
                  <a:cxn ang="0">
                    <a:pos x="T4" y="T5"/>
                  </a:cxn>
                  <a:cxn ang="0">
                    <a:pos x="T6" y="T7"/>
                  </a:cxn>
                  <a:cxn ang="0">
                    <a:pos x="T8" y="T9"/>
                  </a:cxn>
                  <a:cxn ang="0">
                    <a:pos x="T10" y="T11"/>
                  </a:cxn>
                </a:cxnLst>
                <a:rect l="0" t="0" r="r" b="b"/>
                <a:pathLst>
                  <a:path w="15" h="15">
                    <a:moveTo>
                      <a:pt x="9" y="15"/>
                    </a:moveTo>
                    <a:cubicBezTo>
                      <a:pt x="3" y="11"/>
                      <a:pt x="3" y="11"/>
                      <a:pt x="3" y="11"/>
                    </a:cubicBezTo>
                    <a:cubicBezTo>
                      <a:pt x="1" y="10"/>
                      <a:pt x="0" y="6"/>
                      <a:pt x="2" y="4"/>
                    </a:cubicBezTo>
                    <a:cubicBezTo>
                      <a:pt x="4" y="1"/>
                      <a:pt x="7" y="0"/>
                      <a:pt x="10" y="2"/>
                    </a:cubicBezTo>
                    <a:cubicBezTo>
                      <a:pt x="15" y="6"/>
                      <a:pt x="15" y="6"/>
                      <a:pt x="15" y="6"/>
                    </a:cubicBezTo>
                    <a:lnTo>
                      <a:pt x="9" y="15"/>
                    </a:lnTo>
                    <a:close/>
                  </a:path>
                </a:pathLst>
              </a:custGeom>
              <a:solidFill>
                <a:srgbClr val="868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6" name="Freeform 1337"/>
              <p:cNvSpPr>
                <a:spLocks/>
              </p:cNvSpPr>
              <p:nvPr/>
            </p:nvSpPr>
            <p:spPr bwMode="auto">
              <a:xfrm>
                <a:off x="5546726" y="11891963"/>
                <a:ext cx="403225" cy="312738"/>
              </a:xfrm>
              <a:custGeom>
                <a:avLst/>
                <a:gdLst>
                  <a:gd name="T0" fmla="*/ 96 w 193"/>
                  <a:gd name="T1" fmla="*/ 15 h 149"/>
                  <a:gd name="T2" fmla="*/ 0 w 193"/>
                  <a:gd name="T3" fmla="*/ 0 h 149"/>
                  <a:gd name="T4" fmla="*/ 3 w 193"/>
                  <a:gd name="T5" fmla="*/ 128 h 149"/>
                  <a:gd name="T6" fmla="*/ 96 w 193"/>
                  <a:gd name="T7" fmla="*/ 149 h 149"/>
                  <a:gd name="T8" fmla="*/ 190 w 193"/>
                  <a:gd name="T9" fmla="*/ 128 h 149"/>
                  <a:gd name="T10" fmla="*/ 193 w 193"/>
                  <a:gd name="T11" fmla="*/ 0 h 149"/>
                  <a:gd name="T12" fmla="*/ 96 w 193"/>
                  <a:gd name="T13" fmla="*/ 15 h 149"/>
                </a:gdLst>
                <a:ahLst/>
                <a:cxnLst>
                  <a:cxn ang="0">
                    <a:pos x="T0" y="T1"/>
                  </a:cxn>
                  <a:cxn ang="0">
                    <a:pos x="T2" y="T3"/>
                  </a:cxn>
                  <a:cxn ang="0">
                    <a:pos x="T4" y="T5"/>
                  </a:cxn>
                  <a:cxn ang="0">
                    <a:pos x="T6" y="T7"/>
                  </a:cxn>
                  <a:cxn ang="0">
                    <a:pos x="T8" y="T9"/>
                  </a:cxn>
                  <a:cxn ang="0">
                    <a:pos x="T10" y="T11"/>
                  </a:cxn>
                  <a:cxn ang="0">
                    <a:pos x="T12" y="T13"/>
                  </a:cxn>
                </a:cxnLst>
                <a:rect l="0" t="0" r="r" b="b"/>
                <a:pathLst>
                  <a:path w="193" h="149">
                    <a:moveTo>
                      <a:pt x="96" y="15"/>
                    </a:moveTo>
                    <a:cubicBezTo>
                      <a:pt x="63" y="15"/>
                      <a:pt x="30" y="10"/>
                      <a:pt x="0" y="0"/>
                    </a:cubicBezTo>
                    <a:cubicBezTo>
                      <a:pt x="1" y="37"/>
                      <a:pt x="1" y="79"/>
                      <a:pt x="3" y="128"/>
                    </a:cubicBezTo>
                    <a:cubicBezTo>
                      <a:pt x="3" y="128"/>
                      <a:pt x="15" y="149"/>
                      <a:pt x="96" y="149"/>
                    </a:cubicBezTo>
                    <a:cubicBezTo>
                      <a:pt x="177" y="149"/>
                      <a:pt x="190" y="128"/>
                      <a:pt x="190" y="128"/>
                    </a:cubicBezTo>
                    <a:cubicBezTo>
                      <a:pt x="191" y="81"/>
                      <a:pt x="191" y="37"/>
                      <a:pt x="193" y="0"/>
                    </a:cubicBezTo>
                    <a:cubicBezTo>
                      <a:pt x="162" y="10"/>
                      <a:pt x="130" y="15"/>
                      <a:pt x="96" y="15"/>
                    </a:cubicBezTo>
                    <a:close/>
                  </a:path>
                </a:pathLst>
              </a:custGeom>
              <a:solidFill>
                <a:srgbClr val="DCD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7" name="Freeform 1338"/>
              <p:cNvSpPr>
                <a:spLocks/>
              </p:cNvSpPr>
              <p:nvPr/>
            </p:nvSpPr>
            <p:spPr bwMode="auto">
              <a:xfrm>
                <a:off x="5381626" y="11466513"/>
                <a:ext cx="174625" cy="477838"/>
              </a:xfrm>
              <a:custGeom>
                <a:avLst/>
                <a:gdLst>
                  <a:gd name="T0" fmla="*/ 43 w 84"/>
                  <a:gd name="T1" fmla="*/ 0 h 229"/>
                  <a:gd name="T2" fmla="*/ 0 w 84"/>
                  <a:gd name="T3" fmla="*/ 80 h 229"/>
                  <a:gd name="T4" fmla="*/ 23 w 84"/>
                  <a:gd name="T5" fmla="*/ 211 h 229"/>
                  <a:gd name="T6" fmla="*/ 73 w 84"/>
                  <a:gd name="T7" fmla="*/ 188 h 229"/>
                  <a:gd name="T8" fmla="*/ 43 w 84"/>
                  <a:gd name="T9" fmla="*/ 0 h 229"/>
                </a:gdLst>
                <a:ahLst/>
                <a:cxnLst>
                  <a:cxn ang="0">
                    <a:pos x="T0" y="T1"/>
                  </a:cxn>
                  <a:cxn ang="0">
                    <a:pos x="T2" y="T3"/>
                  </a:cxn>
                  <a:cxn ang="0">
                    <a:pos x="T4" y="T5"/>
                  </a:cxn>
                  <a:cxn ang="0">
                    <a:pos x="T6" y="T7"/>
                  </a:cxn>
                  <a:cxn ang="0">
                    <a:pos x="T8" y="T9"/>
                  </a:cxn>
                </a:cxnLst>
                <a:rect l="0" t="0" r="r" b="b"/>
                <a:pathLst>
                  <a:path w="84" h="229">
                    <a:moveTo>
                      <a:pt x="43" y="0"/>
                    </a:moveTo>
                    <a:cubicBezTo>
                      <a:pt x="43" y="0"/>
                      <a:pt x="0" y="17"/>
                      <a:pt x="0" y="80"/>
                    </a:cubicBezTo>
                    <a:cubicBezTo>
                      <a:pt x="0" y="164"/>
                      <a:pt x="11" y="200"/>
                      <a:pt x="23" y="211"/>
                    </a:cubicBezTo>
                    <a:cubicBezTo>
                      <a:pt x="40" y="226"/>
                      <a:pt x="58" y="229"/>
                      <a:pt x="73" y="188"/>
                    </a:cubicBezTo>
                    <a:cubicBezTo>
                      <a:pt x="84" y="155"/>
                      <a:pt x="59" y="18"/>
                      <a:pt x="43" y="0"/>
                    </a:cubicBezTo>
                    <a:close/>
                  </a:path>
                </a:pathLst>
              </a:custGeom>
              <a:solidFill>
                <a:srgbClr val="DCD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8" name="Oval 1339"/>
              <p:cNvSpPr>
                <a:spLocks noChangeArrowheads="1"/>
              </p:cNvSpPr>
              <p:nvPr/>
            </p:nvSpPr>
            <p:spPr bwMode="auto">
              <a:xfrm>
                <a:off x="5505451" y="11555413"/>
                <a:ext cx="87313" cy="85725"/>
              </a:xfrm>
              <a:prstGeom prst="ellipse">
                <a:avLst/>
              </a:prstGeom>
              <a:solidFill>
                <a:srgbClr val="868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9" name="Oval 1340"/>
              <p:cNvSpPr>
                <a:spLocks noChangeArrowheads="1"/>
              </p:cNvSpPr>
              <p:nvPr/>
            </p:nvSpPr>
            <p:spPr bwMode="auto">
              <a:xfrm>
                <a:off x="5526089" y="11574463"/>
                <a:ext cx="46038" cy="49213"/>
              </a:xfrm>
              <a:prstGeom prst="ellipse">
                <a:avLst/>
              </a:prstGeom>
              <a:solidFill>
                <a:srgbClr val="BCB8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0" name="Freeform 1341"/>
              <p:cNvSpPr>
                <a:spLocks/>
              </p:cNvSpPr>
              <p:nvPr/>
            </p:nvSpPr>
            <p:spPr bwMode="auto">
              <a:xfrm>
                <a:off x="5938839" y="11466513"/>
                <a:ext cx="176213" cy="471488"/>
              </a:xfrm>
              <a:custGeom>
                <a:avLst/>
                <a:gdLst>
                  <a:gd name="T0" fmla="*/ 40 w 84"/>
                  <a:gd name="T1" fmla="*/ 0 h 226"/>
                  <a:gd name="T2" fmla="*/ 84 w 84"/>
                  <a:gd name="T3" fmla="*/ 80 h 226"/>
                  <a:gd name="T4" fmla="*/ 60 w 84"/>
                  <a:gd name="T5" fmla="*/ 211 h 226"/>
                  <a:gd name="T6" fmla="*/ 12 w 84"/>
                  <a:gd name="T7" fmla="*/ 195 h 226"/>
                  <a:gd name="T8" fmla="*/ 40 w 84"/>
                  <a:gd name="T9" fmla="*/ 0 h 226"/>
                </a:gdLst>
                <a:ahLst/>
                <a:cxnLst>
                  <a:cxn ang="0">
                    <a:pos x="T0" y="T1"/>
                  </a:cxn>
                  <a:cxn ang="0">
                    <a:pos x="T2" y="T3"/>
                  </a:cxn>
                  <a:cxn ang="0">
                    <a:pos x="T4" y="T5"/>
                  </a:cxn>
                  <a:cxn ang="0">
                    <a:pos x="T6" y="T7"/>
                  </a:cxn>
                  <a:cxn ang="0">
                    <a:pos x="T8" y="T9"/>
                  </a:cxn>
                </a:cxnLst>
                <a:rect l="0" t="0" r="r" b="b"/>
                <a:pathLst>
                  <a:path w="84" h="226">
                    <a:moveTo>
                      <a:pt x="40" y="0"/>
                    </a:moveTo>
                    <a:cubicBezTo>
                      <a:pt x="40" y="0"/>
                      <a:pt x="84" y="17"/>
                      <a:pt x="84" y="80"/>
                    </a:cubicBezTo>
                    <a:cubicBezTo>
                      <a:pt x="84" y="164"/>
                      <a:pt x="72" y="200"/>
                      <a:pt x="60" y="211"/>
                    </a:cubicBezTo>
                    <a:cubicBezTo>
                      <a:pt x="43" y="226"/>
                      <a:pt x="26" y="225"/>
                      <a:pt x="12" y="195"/>
                    </a:cubicBezTo>
                    <a:cubicBezTo>
                      <a:pt x="0" y="168"/>
                      <a:pt x="11" y="50"/>
                      <a:pt x="40" y="0"/>
                    </a:cubicBezTo>
                    <a:close/>
                  </a:path>
                </a:pathLst>
              </a:custGeom>
              <a:solidFill>
                <a:srgbClr val="DCD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1" name="Freeform 1342"/>
              <p:cNvSpPr>
                <a:spLocks/>
              </p:cNvSpPr>
              <p:nvPr/>
            </p:nvSpPr>
            <p:spPr bwMode="auto">
              <a:xfrm>
                <a:off x="5475289" y="11717338"/>
                <a:ext cx="436563" cy="211138"/>
              </a:xfrm>
              <a:custGeom>
                <a:avLst/>
                <a:gdLst>
                  <a:gd name="T0" fmla="*/ 0 w 209"/>
                  <a:gd name="T1" fmla="*/ 101 h 101"/>
                  <a:gd name="T2" fmla="*/ 209 w 209"/>
                  <a:gd name="T3" fmla="*/ 45 h 101"/>
                  <a:gd name="T4" fmla="*/ 193 w 209"/>
                  <a:gd name="T5" fmla="*/ 0 h 101"/>
                  <a:gd name="T6" fmla="*/ 27 w 209"/>
                  <a:gd name="T7" fmla="*/ 19 h 101"/>
                  <a:gd name="T8" fmla="*/ 0 w 209"/>
                  <a:gd name="T9" fmla="*/ 101 h 101"/>
                </a:gdLst>
                <a:ahLst/>
                <a:cxnLst>
                  <a:cxn ang="0">
                    <a:pos x="T0" y="T1"/>
                  </a:cxn>
                  <a:cxn ang="0">
                    <a:pos x="T2" y="T3"/>
                  </a:cxn>
                  <a:cxn ang="0">
                    <a:pos x="T4" y="T5"/>
                  </a:cxn>
                  <a:cxn ang="0">
                    <a:pos x="T6" y="T7"/>
                  </a:cxn>
                  <a:cxn ang="0">
                    <a:pos x="T8" y="T9"/>
                  </a:cxn>
                </a:cxnLst>
                <a:rect l="0" t="0" r="r" b="b"/>
                <a:pathLst>
                  <a:path w="209" h="101">
                    <a:moveTo>
                      <a:pt x="0" y="101"/>
                    </a:moveTo>
                    <a:cubicBezTo>
                      <a:pt x="0" y="101"/>
                      <a:pt x="125" y="101"/>
                      <a:pt x="209" y="45"/>
                    </a:cubicBezTo>
                    <a:cubicBezTo>
                      <a:pt x="193" y="0"/>
                      <a:pt x="193" y="0"/>
                      <a:pt x="193" y="0"/>
                    </a:cubicBezTo>
                    <a:cubicBezTo>
                      <a:pt x="193" y="0"/>
                      <a:pt x="92" y="1"/>
                      <a:pt x="27" y="19"/>
                    </a:cubicBezTo>
                    <a:cubicBezTo>
                      <a:pt x="27" y="19"/>
                      <a:pt x="41" y="86"/>
                      <a:pt x="0" y="101"/>
                    </a:cubicBezTo>
                    <a:close/>
                  </a:path>
                </a:pathLst>
              </a:custGeom>
              <a:solidFill>
                <a:srgbClr val="DCD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2" name="Freeform 1343"/>
              <p:cNvSpPr>
                <a:spLocks/>
              </p:cNvSpPr>
              <p:nvPr/>
            </p:nvSpPr>
            <p:spPr bwMode="auto">
              <a:xfrm>
                <a:off x="5578476" y="11718925"/>
                <a:ext cx="333375" cy="157163"/>
              </a:xfrm>
              <a:custGeom>
                <a:avLst/>
                <a:gdLst>
                  <a:gd name="T0" fmla="*/ 149 w 160"/>
                  <a:gd name="T1" fmla="*/ 11 h 75"/>
                  <a:gd name="T2" fmla="*/ 105 w 160"/>
                  <a:gd name="T3" fmla="*/ 0 h 75"/>
                  <a:gd name="T4" fmla="*/ 0 w 160"/>
                  <a:gd name="T5" fmla="*/ 13 h 75"/>
                  <a:gd name="T6" fmla="*/ 95 w 160"/>
                  <a:gd name="T7" fmla="*/ 75 h 75"/>
                  <a:gd name="T8" fmla="*/ 160 w 160"/>
                  <a:gd name="T9" fmla="*/ 44 h 75"/>
                  <a:gd name="T10" fmla="*/ 149 w 160"/>
                  <a:gd name="T11" fmla="*/ 11 h 75"/>
                </a:gdLst>
                <a:ahLst/>
                <a:cxnLst>
                  <a:cxn ang="0">
                    <a:pos x="T0" y="T1"/>
                  </a:cxn>
                  <a:cxn ang="0">
                    <a:pos x="T2" y="T3"/>
                  </a:cxn>
                  <a:cxn ang="0">
                    <a:pos x="T4" y="T5"/>
                  </a:cxn>
                  <a:cxn ang="0">
                    <a:pos x="T6" y="T7"/>
                  </a:cxn>
                  <a:cxn ang="0">
                    <a:pos x="T8" y="T9"/>
                  </a:cxn>
                  <a:cxn ang="0">
                    <a:pos x="T10" y="T11"/>
                  </a:cxn>
                </a:cxnLst>
                <a:rect l="0" t="0" r="r" b="b"/>
                <a:pathLst>
                  <a:path w="160" h="75">
                    <a:moveTo>
                      <a:pt x="149" y="11"/>
                    </a:moveTo>
                    <a:cubicBezTo>
                      <a:pt x="134" y="7"/>
                      <a:pt x="119" y="4"/>
                      <a:pt x="105" y="0"/>
                    </a:cubicBezTo>
                    <a:cubicBezTo>
                      <a:pt x="76" y="2"/>
                      <a:pt x="35" y="6"/>
                      <a:pt x="0" y="13"/>
                    </a:cubicBezTo>
                    <a:cubicBezTo>
                      <a:pt x="33" y="43"/>
                      <a:pt x="66" y="62"/>
                      <a:pt x="95" y="75"/>
                    </a:cubicBezTo>
                    <a:cubicBezTo>
                      <a:pt x="118" y="68"/>
                      <a:pt x="140" y="57"/>
                      <a:pt x="160" y="44"/>
                    </a:cubicBezTo>
                    <a:lnTo>
                      <a:pt x="149" y="11"/>
                    </a:lnTo>
                    <a:close/>
                  </a:path>
                </a:pathLst>
              </a:custGeom>
              <a:solidFill>
                <a:srgbClr val="D1CC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3" name="Freeform 1344"/>
              <p:cNvSpPr>
                <a:spLocks/>
              </p:cNvSpPr>
              <p:nvPr/>
            </p:nvSpPr>
            <p:spPr bwMode="auto">
              <a:xfrm>
                <a:off x="5538789" y="11671300"/>
                <a:ext cx="109538" cy="85725"/>
              </a:xfrm>
              <a:custGeom>
                <a:avLst/>
                <a:gdLst>
                  <a:gd name="T0" fmla="*/ 5 w 53"/>
                  <a:gd name="T1" fmla="*/ 22 h 41"/>
                  <a:gd name="T2" fmla="*/ 0 w 53"/>
                  <a:gd name="T3" fmla="*/ 41 h 41"/>
                  <a:gd name="T4" fmla="*/ 53 w 53"/>
                  <a:gd name="T5" fmla="*/ 31 h 41"/>
                  <a:gd name="T6" fmla="*/ 50 w 53"/>
                  <a:gd name="T7" fmla="*/ 8 h 41"/>
                  <a:gd name="T8" fmla="*/ 5 w 53"/>
                  <a:gd name="T9" fmla="*/ 22 h 41"/>
                </a:gdLst>
                <a:ahLst/>
                <a:cxnLst>
                  <a:cxn ang="0">
                    <a:pos x="T0" y="T1"/>
                  </a:cxn>
                  <a:cxn ang="0">
                    <a:pos x="T2" y="T3"/>
                  </a:cxn>
                  <a:cxn ang="0">
                    <a:pos x="T4" y="T5"/>
                  </a:cxn>
                  <a:cxn ang="0">
                    <a:pos x="T6" y="T7"/>
                  </a:cxn>
                  <a:cxn ang="0">
                    <a:pos x="T8" y="T9"/>
                  </a:cxn>
                </a:cxnLst>
                <a:rect l="0" t="0" r="r" b="b"/>
                <a:pathLst>
                  <a:path w="53" h="41">
                    <a:moveTo>
                      <a:pt x="5" y="22"/>
                    </a:moveTo>
                    <a:cubicBezTo>
                      <a:pt x="1" y="28"/>
                      <a:pt x="0" y="35"/>
                      <a:pt x="0" y="41"/>
                    </a:cubicBezTo>
                    <a:cubicBezTo>
                      <a:pt x="16" y="37"/>
                      <a:pt x="34" y="33"/>
                      <a:pt x="53" y="31"/>
                    </a:cubicBezTo>
                    <a:cubicBezTo>
                      <a:pt x="50" y="8"/>
                      <a:pt x="50" y="8"/>
                      <a:pt x="50" y="8"/>
                    </a:cubicBezTo>
                    <a:cubicBezTo>
                      <a:pt x="50" y="8"/>
                      <a:pt x="19" y="0"/>
                      <a:pt x="5" y="22"/>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4" name="Freeform 1345"/>
              <p:cNvSpPr>
                <a:spLocks/>
              </p:cNvSpPr>
              <p:nvPr/>
            </p:nvSpPr>
            <p:spPr bwMode="auto">
              <a:xfrm>
                <a:off x="5849939" y="11637963"/>
                <a:ext cx="165100" cy="153988"/>
              </a:xfrm>
              <a:custGeom>
                <a:avLst/>
                <a:gdLst>
                  <a:gd name="T0" fmla="*/ 71 w 79"/>
                  <a:gd name="T1" fmla="*/ 17 h 74"/>
                  <a:gd name="T2" fmla="*/ 73 w 79"/>
                  <a:gd name="T3" fmla="*/ 16 h 74"/>
                  <a:gd name="T4" fmla="*/ 77 w 79"/>
                  <a:gd name="T5" fmla="*/ 6 h 74"/>
                  <a:gd name="T6" fmla="*/ 66 w 79"/>
                  <a:gd name="T7" fmla="*/ 2 h 74"/>
                  <a:gd name="T8" fmla="*/ 44 w 79"/>
                  <a:gd name="T9" fmla="*/ 13 h 74"/>
                  <a:gd name="T10" fmla="*/ 44 w 79"/>
                  <a:gd name="T11" fmla="*/ 13 h 74"/>
                  <a:gd name="T12" fmla="*/ 40 w 79"/>
                  <a:gd name="T13" fmla="*/ 5 h 74"/>
                  <a:gd name="T14" fmla="*/ 31 w 79"/>
                  <a:gd name="T15" fmla="*/ 9 h 74"/>
                  <a:gd name="T16" fmla="*/ 28 w 79"/>
                  <a:gd name="T17" fmla="*/ 22 h 74"/>
                  <a:gd name="T18" fmla="*/ 18 w 79"/>
                  <a:gd name="T19" fmla="*/ 27 h 74"/>
                  <a:gd name="T20" fmla="*/ 17 w 79"/>
                  <a:gd name="T21" fmla="*/ 27 h 74"/>
                  <a:gd name="T22" fmla="*/ 7 w 79"/>
                  <a:gd name="T23" fmla="*/ 55 h 74"/>
                  <a:gd name="T24" fmla="*/ 17 w 79"/>
                  <a:gd name="T25" fmla="*/ 65 h 74"/>
                  <a:gd name="T26" fmla="*/ 19 w 79"/>
                  <a:gd name="T27" fmla="*/ 70 h 74"/>
                  <a:gd name="T28" fmla="*/ 30 w 79"/>
                  <a:gd name="T29" fmla="*/ 72 h 74"/>
                  <a:gd name="T30" fmla="*/ 57 w 79"/>
                  <a:gd name="T31" fmla="*/ 53 h 74"/>
                  <a:gd name="T32" fmla="*/ 61 w 79"/>
                  <a:gd name="T33" fmla="*/ 47 h 74"/>
                  <a:gd name="T34" fmla="*/ 68 w 79"/>
                  <a:gd name="T35" fmla="*/ 43 h 74"/>
                  <a:gd name="T36" fmla="*/ 71 w 79"/>
                  <a:gd name="T37" fmla="*/ 33 h 74"/>
                  <a:gd name="T38" fmla="*/ 72 w 79"/>
                  <a:gd name="T39" fmla="*/ 32 h 74"/>
                  <a:gd name="T40" fmla="*/ 76 w 79"/>
                  <a:gd name="T41" fmla="*/ 21 h 74"/>
                  <a:gd name="T42" fmla="*/ 71 w 79"/>
                  <a:gd name="T43" fmla="*/ 1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 h="74">
                    <a:moveTo>
                      <a:pt x="71" y="17"/>
                    </a:moveTo>
                    <a:cubicBezTo>
                      <a:pt x="73" y="16"/>
                      <a:pt x="73" y="16"/>
                      <a:pt x="73" y="16"/>
                    </a:cubicBezTo>
                    <a:cubicBezTo>
                      <a:pt x="77" y="14"/>
                      <a:pt x="79" y="10"/>
                      <a:pt x="77" y="6"/>
                    </a:cubicBezTo>
                    <a:cubicBezTo>
                      <a:pt x="75" y="2"/>
                      <a:pt x="70" y="0"/>
                      <a:pt x="66" y="2"/>
                    </a:cubicBezTo>
                    <a:cubicBezTo>
                      <a:pt x="44" y="13"/>
                      <a:pt x="44" y="13"/>
                      <a:pt x="44" y="13"/>
                    </a:cubicBezTo>
                    <a:cubicBezTo>
                      <a:pt x="44" y="13"/>
                      <a:pt x="44" y="13"/>
                      <a:pt x="44" y="13"/>
                    </a:cubicBezTo>
                    <a:cubicBezTo>
                      <a:pt x="46" y="10"/>
                      <a:pt x="43" y="6"/>
                      <a:pt x="40" y="5"/>
                    </a:cubicBezTo>
                    <a:cubicBezTo>
                      <a:pt x="36" y="4"/>
                      <a:pt x="32" y="6"/>
                      <a:pt x="31" y="9"/>
                    </a:cubicBezTo>
                    <a:cubicBezTo>
                      <a:pt x="28" y="22"/>
                      <a:pt x="28" y="22"/>
                      <a:pt x="28" y="22"/>
                    </a:cubicBezTo>
                    <a:cubicBezTo>
                      <a:pt x="18" y="27"/>
                      <a:pt x="18" y="27"/>
                      <a:pt x="18" y="27"/>
                    </a:cubicBezTo>
                    <a:cubicBezTo>
                      <a:pt x="18" y="27"/>
                      <a:pt x="18" y="27"/>
                      <a:pt x="17" y="27"/>
                    </a:cubicBezTo>
                    <a:cubicBezTo>
                      <a:pt x="6" y="34"/>
                      <a:pt x="0" y="43"/>
                      <a:pt x="7" y="55"/>
                    </a:cubicBezTo>
                    <a:cubicBezTo>
                      <a:pt x="9" y="60"/>
                      <a:pt x="13" y="63"/>
                      <a:pt x="17" y="65"/>
                    </a:cubicBezTo>
                    <a:cubicBezTo>
                      <a:pt x="17" y="67"/>
                      <a:pt x="18" y="68"/>
                      <a:pt x="19" y="70"/>
                    </a:cubicBezTo>
                    <a:cubicBezTo>
                      <a:pt x="21" y="73"/>
                      <a:pt x="26" y="74"/>
                      <a:pt x="30" y="72"/>
                    </a:cubicBezTo>
                    <a:cubicBezTo>
                      <a:pt x="57" y="53"/>
                      <a:pt x="57" y="53"/>
                      <a:pt x="57" y="53"/>
                    </a:cubicBezTo>
                    <a:cubicBezTo>
                      <a:pt x="59" y="52"/>
                      <a:pt x="61" y="49"/>
                      <a:pt x="61" y="47"/>
                    </a:cubicBezTo>
                    <a:cubicBezTo>
                      <a:pt x="68" y="43"/>
                      <a:pt x="68" y="43"/>
                      <a:pt x="68" y="43"/>
                    </a:cubicBezTo>
                    <a:cubicBezTo>
                      <a:pt x="72" y="41"/>
                      <a:pt x="73" y="36"/>
                      <a:pt x="71" y="33"/>
                    </a:cubicBezTo>
                    <a:cubicBezTo>
                      <a:pt x="72" y="32"/>
                      <a:pt x="72" y="32"/>
                      <a:pt x="72" y="32"/>
                    </a:cubicBezTo>
                    <a:cubicBezTo>
                      <a:pt x="76" y="30"/>
                      <a:pt x="78" y="25"/>
                      <a:pt x="76" y="21"/>
                    </a:cubicBezTo>
                    <a:cubicBezTo>
                      <a:pt x="75" y="19"/>
                      <a:pt x="73" y="18"/>
                      <a:pt x="71" y="17"/>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5" name="Freeform 1346"/>
              <p:cNvSpPr>
                <a:spLocks/>
              </p:cNvSpPr>
              <p:nvPr/>
            </p:nvSpPr>
            <p:spPr bwMode="auto">
              <a:xfrm>
                <a:off x="5597526" y="11684000"/>
                <a:ext cx="420688" cy="250825"/>
              </a:xfrm>
              <a:custGeom>
                <a:avLst/>
                <a:gdLst>
                  <a:gd name="T0" fmla="*/ 202 w 202"/>
                  <a:gd name="T1" fmla="*/ 117 h 120"/>
                  <a:gd name="T2" fmla="*/ 0 w 202"/>
                  <a:gd name="T3" fmla="*/ 29 h 120"/>
                  <a:gd name="T4" fmla="*/ 23 w 202"/>
                  <a:gd name="T5" fmla="*/ 0 h 120"/>
                  <a:gd name="T6" fmla="*/ 175 w 202"/>
                  <a:gd name="T7" fmla="*/ 35 h 120"/>
                  <a:gd name="T8" fmla="*/ 202 w 202"/>
                  <a:gd name="T9" fmla="*/ 117 h 120"/>
                </a:gdLst>
                <a:ahLst/>
                <a:cxnLst>
                  <a:cxn ang="0">
                    <a:pos x="T0" y="T1"/>
                  </a:cxn>
                  <a:cxn ang="0">
                    <a:pos x="T2" y="T3"/>
                  </a:cxn>
                  <a:cxn ang="0">
                    <a:pos x="T4" y="T5"/>
                  </a:cxn>
                  <a:cxn ang="0">
                    <a:pos x="T6" y="T7"/>
                  </a:cxn>
                  <a:cxn ang="0">
                    <a:pos x="T8" y="T9"/>
                  </a:cxn>
                </a:cxnLst>
                <a:rect l="0" t="0" r="r" b="b"/>
                <a:pathLst>
                  <a:path w="202" h="120">
                    <a:moveTo>
                      <a:pt x="202" y="117"/>
                    </a:moveTo>
                    <a:cubicBezTo>
                      <a:pt x="202" y="117"/>
                      <a:pt x="101" y="120"/>
                      <a:pt x="0" y="29"/>
                    </a:cubicBezTo>
                    <a:cubicBezTo>
                      <a:pt x="23" y="0"/>
                      <a:pt x="23" y="0"/>
                      <a:pt x="23" y="0"/>
                    </a:cubicBezTo>
                    <a:cubicBezTo>
                      <a:pt x="23" y="0"/>
                      <a:pt x="111" y="16"/>
                      <a:pt x="175" y="35"/>
                    </a:cubicBezTo>
                    <a:cubicBezTo>
                      <a:pt x="175" y="35"/>
                      <a:pt x="161" y="102"/>
                      <a:pt x="202" y="117"/>
                    </a:cubicBezTo>
                    <a:close/>
                  </a:path>
                </a:pathLst>
              </a:custGeom>
              <a:solidFill>
                <a:srgbClr val="DCD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6" name="Freeform 1347"/>
              <p:cNvSpPr>
                <a:spLocks/>
              </p:cNvSpPr>
              <p:nvPr/>
            </p:nvSpPr>
            <p:spPr bwMode="auto">
              <a:xfrm>
                <a:off x="5845176" y="11023600"/>
                <a:ext cx="66675" cy="152400"/>
              </a:xfrm>
              <a:custGeom>
                <a:avLst/>
                <a:gdLst>
                  <a:gd name="T0" fmla="*/ 7 w 32"/>
                  <a:gd name="T1" fmla="*/ 19 h 73"/>
                  <a:gd name="T2" fmla="*/ 31 w 32"/>
                  <a:gd name="T3" fmla="*/ 31 h 73"/>
                  <a:gd name="T4" fmla="*/ 0 w 32"/>
                  <a:gd name="T5" fmla="*/ 44 h 73"/>
                  <a:gd name="T6" fmla="*/ 7 w 32"/>
                  <a:gd name="T7" fmla="*/ 19 h 73"/>
                </a:gdLst>
                <a:ahLst/>
                <a:cxnLst>
                  <a:cxn ang="0">
                    <a:pos x="T0" y="T1"/>
                  </a:cxn>
                  <a:cxn ang="0">
                    <a:pos x="T2" y="T3"/>
                  </a:cxn>
                  <a:cxn ang="0">
                    <a:pos x="T4" y="T5"/>
                  </a:cxn>
                  <a:cxn ang="0">
                    <a:pos x="T6" y="T7"/>
                  </a:cxn>
                </a:cxnLst>
                <a:rect l="0" t="0" r="r" b="b"/>
                <a:pathLst>
                  <a:path w="32" h="73">
                    <a:moveTo>
                      <a:pt x="7" y="19"/>
                    </a:moveTo>
                    <a:cubicBezTo>
                      <a:pt x="15" y="0"/>
                      <a:pt x="32" y="8"/>
                      <a:pt x="31" y="31"/>
                    </a:cubicBezTo>
                    <a:cubicBezTo>
                      <a:pt x="29" y="55"/>
                      <a:pt x="15" y="73"/>
                      <a:pt x="0" y="44"/>
                    </a:cubicBezTo>
                    <a:cubicBezTo>
                      <a:pt x="5" y="25"/>
                      <a:pt x="7" y="19"/>
                      <a:pt x="7" y="19"/>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7" name="Freeform 1348"/>
              <p:cNvSpPr>
                <a:spLocks/>
              </p:cNvSpPr>
              <p:nvPr/>
            </p:nvSpPr>
            <p:spPr bwMode="auto">
              <a:xfrm>
                <a:off x="5864226" y="10898188"/>
                <a:ext cx="38100" cy="207963"/>
              </a:xfrm>
              <a:custGeom>
                <a:avLst/>
                <a:gdLst>
                  <a:gd name="T0" fmla="*/ 12 w 18"/>
                  <a:gd name="T1" fmla="*/ 0 h 100"/>
                  <a:gd name="T2" fmla="*/ 1 w 18"/>
                  <a:gd name="T3" fmla="*/ 2 h 100"/>
                  <a:gd name="T4" fmla="*/ 0 w 18"/>
                  <a:gd name="T5" fmla="*/ 11 h 100"/>
                  <a:gd name="T6" fmla="*/ 4 w 18"/>
                  <a:gd name="T7" fmla="*/ 100 h 100"/>
                  <a:gd name="T8" fmla="*/ 10 w 18"/>
                  <a:gd name="T9" fmla="*/ 98 h 100"/>
                  <a:gd name="T10" fmla="*/ 11 w 18"/>
                  <a:gd name="T11" fmla="*/ 88 h 100"/>
                  <a:gd name="T12" fmla="*/ 12 w 18"/>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18" h="100">
                    <a:moveTo>
                      <a:pt x="12" y="0"/>
                    </a:moveTo>
                    <a:cubicBezTo>
                      <a:pt x="1" y="2"/>
                      <a:pt x="1" y="2"/>
                      <a:pt x="1" y="2"/>
                    </a:cubicBezTo>
                    <a:cubicBezTo>
                      <a:pt x="0" y="11"/>
                      <a:pt x="0" y="11"/>
                      <a:pt x="0" y="11"/>
                    </a:cubicBezTo>
                    <a:cubicBezTo>
                      <a:pt x="7" y="37"/>
                      <a:pt x="4" y="100"/>
                      <a:pt x="4" y="100"/>
                    </a:cubicBezTo>
                    <a:cubicBezTo>
                      <a:pt x="4" y="100"/>
                      <a:pt x="9" y="100"/>
                      <a:pt x="10" y="98"/>
                    </a:cubicBezTo>
                    <a:cubicBezTo>
                      <a:pt x="10" y="97"/>
                      <a:pt x="10" y="93"/>
                      <a:pt x="11" y="88"/>
                    </a:cubicBezTo>
                    <a:cubicBezTo>
                      <a:pt x="18" y="55"/>
                      <a:pt x="12" y="0"/>
                      <a:pt x="12" y="0"/>
                    </a:cubicBezTo>
                    <a:close/>
                  </a:path>
                </a:pathLst>
              </a:custGeom>
              <a:solidFill>
                <a:srgbClr val="8C4C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8" name="Freeform 1349"/>
              <p:cNvSpPr>
                <a:spLocks/>
              </p:cNvSpPr>
              <p:nvPr/>
            </p:nvSpPr>
            <p:spPr bwMode="auto">
              <a:xfrm>
                <a:off x="5578476" y="10833100"/>
                <a:ext cx="309563" cy="509588"/>
              </a:xfrm>
              <a:custGeom>
                <a:avLst/>
                <a:gdLst>
                  <a:gd name="T0" fmla="*/ 137 w 148"/>
                  <a:gd name="T1" fmla="*/ 39 h 244"/>
                  <a:gd name="T2" fmla="*/ 144 w 148"/>
                  <a:gd name="T3" fmla="*/ 200 h 244"/>
                  <a:gd name="T4" fmla="*/ 20 w 148"/>
                  <a:gd name="T5" fmla="*/ 208 h 244"/>
                  <a:gd name="T6" fmla="*/ 11 w 148"/>
                  <a:gd name="T7" fmla="*/ 43 h 244"/>
                  <a:gd name="T8" fmla="*/ 137 w 148"/>
                  <a:gd name="T9" fmla="*/ 39 h 244"/>
                </a:gdLst>
                <a:ahLst/>
                <a:cxnLst>
                  <a:cxn ang="0">
                    <a:pos x="T0" y="T1"/>
                  </a:cxn>
                  <a:cxn ang="0">
                    <a:pos x="T2" y="T3"/>
                  </a:cxn>
                  <a:cxn ang="0">
                    <a:pos x="T4" y="T5"/>
                  </a:cxn>
                  <a:cxn ang="0">
                    <a:pos x="T6" y="T7"/>
                  </a:cxn>
                  <a:cxn ang="0">
                    <a:pos x="T8" y="T9"/>
                  </a:cxn>
                </a:cxnLst>
                <a:rect l="0" t="0" r="r" b="b"/>
                <a:pathLst>
                  <a:path w="148" h="244">
                    <a:moveTo>
                      <a:pt x="137" y="39"/>
                    </a:moveTo>
                    <a:cubicBezTo>
                      <a:pt x="148" y="71"/>
                      <a:pt x="139" y="110"/>
                      <a:pt x="144" y="200"/>
                    </a:cubicBezTo>
                    <a:cubicBezTo>
                      <a:pt x="145" y="214"/>
                      <a:pt x="75" y="244"/>
                      <a:pt x="20" y="208"/>
                    </a:cubicBezTo>
                    <a:cubicBezTo>
                      <a:pt x="14" y="201"/>
                      <a:pt x="0" y="60"/>
                      <a:pt x="11" y="43"/>
                    </a:cubicBezTo>
                    <a:cubicBezTo>
                      <a:pt x="23" y="27"/>
                      <a:pt x="102" y="0"/>
                      <a:pt x="137" y="39"/>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9" name="Freeform 1350"/>
              <p:cNvSpPr>
                <a:spLocks/>
              </p:cNvSpPr>
              <p:nvPr/>
            </p:nvSpPr>
            <p:spPr bwMode="auto">
              <a:xfrm>
                <a:off x="5538789" y="11029950"/>
                <a:ext cx="68263" cy="160338"/>
              </a:xfrm>
              <a:custGeom>
                <a:avLst/>
                <a:gdLst>
                  <a:gd name="T0" fmla="*/ 26 w 33"/>
                  <a:gd name="T1" fmla="*/ 19 h 77"/>
                  <a:gd name="T2" fmla="*/ 2 w 33"/>
                  <a:gd name="T3" fmla="*/ 31 h 77"/>
                  <a:gd name="T4" fmla="*/ 33 w 33"/>
                  <a:gd name="T5" fmla="*/ 51 h 77"/>
                  <a:gd name="T6" fmla="*/ 26 w 33"/>
                  <a:gd name="T7" fmla="*/ 19 h 77"/>
                </a:gdLst>
                <a:ahLst/>
                <a:cxnLst>
                  <a:cxn ang="0">
                    <a:pos x="T0" y="T1"/>
                  </a:cxn>
                  <a:cxn ang="0">
                    <a:pos x="T2" y="T3"/>
                  </a:cxn>
                  <a:cxn ang="0">
                    <a:pos x="T4" y="T5"/>
                  </a:cxn>
                  <a:cxn ang="0">
                    <a:pos x="T6" y="T7"/>
                  </a:cxn>
                </a:cxnLst>
                <a:rect l="0" t="0" r="r" b="b"/>
                <a:pathLst>
                  <a:path w="33" h="77">
                    <a:moveTo>
                      <a:pt x="26" y="19"/>
                    </a:moveTo>
                    <a:cubicBezTo>
                      <a:pt x="18" y="0"/>
                      <a:pt x="0" y="7"/>
                      <a:pt x="2" y="31"/>
                    </a:cubicBezTo>
                    <a:cubicBezTo>
                      <a:pt x="3" y="54"/>
                      <a:pt x="26" y="77"/>
                      <a:pt x="33" y="51"/>
                    </a:cubicBezTo>
                    <a:cubicBezTo>
                      <a:pt x="28" y="33"/>
                      <a:pt x="26" y="19"/>
                      <a:pt x="26" y="19"/>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0" name="Freeform 1351"/>
              <p:cNvSpPr>
                <a:spLocks/>
              </p:cNvSpPr>
              <p:nvPr/>
            </p:nvSpPr>
            <p:spPr bwMode="auto">
              <a:xfrm>
                <a:off x="5630864" y="10963275"/>
                <a:ext cx="87313" cy="74613"/>
              </a:xfrm>
              <a:custGeom>
                <a:avLst/>
                <a:gdLst>
                  <a:gd name="T0" fmla="*/ 6 w 42"/>
                  <a:gd name="T1" fmla="*/ 36 h 36"/>
                  <a:gd name="T2" fmla="*/ 37 w 42"/>
                  <a:gd name="T3" fmla="*/ 15 h 36"/>
                  <a:gd name="T4" fmla="*/ 38 w 42"/>
                  <a:gd name="T5" fmla="*/ 27 h 36"/>
                  <a:gd name="T6" fmla="*/ 6 w 42"/>
                  <a:gd name="T7" fmla="*/ 36 h 36"/>
                </a:gdLst>
                <a:ahLst/>
                <a:cxnLst>
                  <a:cxn ang="0">
                    <a:pos x="T0" y="T1"/>
                  </a:cxn>
                  <a:cxn ang="0">
                    <a:pos x="T2" y="T3"/>
                  </a:cxn>
                  <a:cxn ang="0">
                    <a:pos x="T4" y="T5"/>
                  </a:cxn>
                  <a:cxn ang="0">
                    <a:pos x="T6" y="T7"/>
                  </a:cxn>
                </a:cxnLst>
                <a:rect l="0" t="0" r="r" b="b"/>
                <a:pathLst>
                  <a:path w="42" h="36">
                    <a:moveTo>
                      <a:pt x="6" y="36"/>
                    </a:moveTo>
                    <a:cubicBezTo>
                      <a:pt x="0" y="20"/>
                      <a:pt x="25" y="0"/>
                      <a:pt x="37" y="15"/>
                    </a:cubicBezTo>
                    <a:cubicBezTo>
                      <a:pt x="42" y="24"/>
                      <a:pt x="42" y="28"/>
                      <a:pt x="38" y="27"/>
                    </a:cubicBezTo>
                    <a:cubicBezTo>
                      <a:pt x="34" y="26"/>
                      <a:pt x="24" y="24"/>
                      <a:pt x="6" y="36"/>
                    </a:cubicBezTo>
                    <a:close/>
                  </a:path>
                </a:pathLst>
              </a:custGeom>
              <a:solidFill>
                <a:srgbClr val="8C4C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1" name="Freeform 1352"/>
              <p:cNvSpPr>
                <a:spLocks/>
              </p:cNvSpPr>
              <p:nvPr/>
            </p:nvSpPr>
            <p:spPr bwMode="auto">
              <a:xfrm>
                <a:off x="5780089" y="10947400"/>
                <a:ext cx="88900" cy="84138"/>
              </a:xfrm>
              <a:custGeom>
                <a:avLst/>
                <a:gdLst>
                  <a:gd name="T0" fmla="*/ 37 w 42"/>
                  <a:gd name="T1" fmla="*/ 40 h 40"/>
                  <a:gd name="T2" fmla="*/ 4 w 42"/>
                  <a:gd name="T3" fmla="*/ 18 h 40"/>
                  <a:gd name="T4" fmla="*/ 4 w 42"/>
                  <a:gd name="T5" fmla="*/ 31 h 40"/>
                  <a:gd name="T6" fmla="*/ 37 w 42"/>
                  <a:gd name="T7" fmla="*/ 40 h 40"/>
                </a:gdLst>
                <a:ahLst/>
                <a:cxnLst>
                  <a:cxn ang="0">
                    <a:pos x="T0" y="T1"/>
                  </a:cxn>
                  <a:cxn ang="0">
                    <a:pos x="T2" y="T3"/>
                  </a:cxn>
                  <a:cxn ang="0">
                    <a:pos x="T4" y="T5"/>
                  </a:cxn>
                  <a:cxn ang="0">
                    <a:pos x="T6" y="T7"/>
                  </a:cxn>
                </a:cxnLst>
                <a:rect l="0" t="0" r="r" b="b"/>
                <a:pathLst>
                  <a:path w="42" h="40">
                    <a:moveTo>
                      <a:pt x="37" y="40"/>
                    </a:moveTo>
                    <a:cubicBezTo>
                      <a:pt x="42" y="22"/>
                      <a:pt x="16" y="0"/>
                      <a:pt x="4" y="18"/>
                    </a:cubicBezTo>
                    <a:cubicBezTo>
                      <a:pt x="1" y="29"/>
                      <a:pt x="0" y="33"/>
                      <a:pt x="4" y="31"/>
                    </a:cubicBezTo>
                    <a:cubicBezTo>
                      <a:pt x="9" y="30"/>
                      <a:pt x="19" y="28"/>
                      <a:pt x="37" y="40"/>
                    </a:cubicBezTo>
                    <a:close/>
                  </a:path>
                </a:pathLst>
              </a:custGeom>
              <a:solidFill>
                <a:srgbClr val="8C4C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2" name="Freeform 1353"/>
              <p:cNvSpPr>
                <a:spLocks/>
              </p:cNvSpPr>
              <p:nvPr/>
            </p:nvSpPr>
            <p:spPr bwMode="auto">
              <a:xfrm>
                <a:off x="5556251" y="11075988"/>
                <a:ext cx="28575" cy="53975"/>
              </a:xfrm>
              <a:custGeom>
                <a:avLst/>
                <a:gdLst>
                  <a:gd name="T0" fmla="*/ 13 w 13"/>
                  <a:gd name="T1" fmla="*/ 26 h 26"/>
                  <a:gd name="T2" fmla="*/ 11 w 13"/>
                  <a:gd name="T3" fmla="*/ 26 h 26"/>
                  <a:gd name="T4" fmla="*/ 7 w 13"/>
                  <a:gd name="T5" fmla="*/ 24 h 26"/>
                  <a:gd name="T6" fmla="*/ 5 w 13"/>
                  <a:gd name="T7" fmla="*/ 16 h 26"/>
                  <a:gd name="T8" fmla="*/ 8 w 13"/>
                  <a:gd name="T9" fmla="*/ 12 h 26"/>
                  <a:gd name="T10" fmla="*/ 9 w 13"/>
                  <a:gd name="T11" fmla="*/ 12 h 26"/>
                  <a:gd name="T12" fmla="*/ 9 w 13"/>
                  <a:gd name="T13" fmla="*/ 12 h 26"/>
                  <a:gd name="T14" fmla="*/ 9 w 13"/>
                  <a:gd name="T15" fmla="*/ 12 h 26"/>
                  <a:gd name="T16" fmla="*/ 8 w 13"/>
                  <a:gd name="T17" fmla="*/ 11 h 26"/>
                  <a:gd name="T18" fmla="*/ 6 w 13"/>
                  <a:gd name="T19" fmla="*/ 4 h 26"/>
                  <a:gd name="T20" fmla="*/ 4 w 13"/>
                  <a:gd name="T21" fmla="*/ 3 h 26"/>
                  <a:gd name="T22" fmla="*/ 3 w 13"/>
                  <a:gd name="T23" fmla="*/ 4 h 26"/>
                  <a:gd name="T24" fmla="*/ 1 w 13"/>
                  <a:gd name="T25" fmla="*/ 8 h 26"/>
                  <a:gd name="T26" fmla="*/ 1 w 13"/>
                  <a:gd name="T27" fmla="*/ 9 h 26"/>
                  <a:gd name="T28" fmla="*/ 0 w 13"/>
                  <a:gd name="T29" fmla="*/ 8 h 26"/>
                  <a:gd name="T30" fmla="*/ 0 w 13"/>
                  <a:gd name="T31" fmla="*/ 6 h 26"/>
                  <a:gd name="T32" fmla="*/ 0 w 13"/>
                  <a:gd name="T33" fmla="*/ 3 h 26"/>
                  <a:gd name="T34" fmla="*/ 1 w 13"/>
                  <a:gd name="T35" fmla="*/ 1 h 26"/>
                  <a:gd name="T36" fmla="*/ 4 w 13"/>
                  <a:gd name="T37" fmla="*/ 0 h 26"/>
                  <a:gd name="T38" fmla="*/ 8 w 13"/>
                  <a:gd name="T39" fmla="*/ 2 h 26"/>
                  <a:gd name="T40" fmla="*/ 12 w 13"/>
                  <a:gd name="T41" fmla="*/ 10 h 26"/>
                  <a:gd name="T42" fmla="*/ 12 w 13"/>
                  <a:gd name="T43" fmla="*/ 11 h 26"/>
                  <a:gd name="T44" fmla="*/ 12 w 13"/>
                  <a:gd name="T45" fmla="*/ 13 h 26"/>
                  <a:gd name="T46" fmla="*/ 12 w 13"/>
                  <a:gd name="T47" fmla="*/ 14 h 26"/>
                  <a:gd name="T48" fmla="*/ 12 w 13"/>
                  <a:gd name="T49" fmla="*/ 14 h 26"/>
                  <a:gd name="T50" fmla="*/ 12 w 13"/>
                  <a:gd name="T51" fmla="*/ 14 h 26"/>
                  <a:gd name="T52" fmla="*/ 11 w 13"/>
                  <a:gd name="T53" fmla="*/ 14 h 26"/>
                  <a:gd name="T54" fmla="*/ 10 w 13"/>
                  <a:gd name="T55" fmla="*/ 15 h 26"/>
                  <a:gd name="T56" fmla="*/ 10 w 13"/>
                  <a:gd name="T57" fmla="*/ 15 h 26"/>
                  <a:gd name="T58" fmla="*/ 10 w 13"/>
                  <a:gd name="T59" fmla="*/ 15 h 26"/>
                  <a:gd name="T60" fmla="*/ 8 w 13"/>
                  <a:gd name="T61" fmla="*/ 17 h 26"/>
                  <a:gd name="T62" fmla="*/ 9 w 13"/>
                  <a:gd name="T63" fmla="*/ 22 h 26"/>
                  <a:gd name="T64" fmla="*/ 13 w 13"/>
                  <a:gd name="T6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26">
                    <a:moveTo>
                      <a:pt x="13" y="26"/>
                    </a:moveTo>
                    <a:cubicBezTo>
                      <a:pt x="13" y="26"/>
                      <a:pt x="13" y="26"/>
                      <a:pt x="11" y="26"/>
                    </a:cubicBezTo>
                    <a:cubicBezTo>
                      <a:pt x="10" y="26"/>
                      <a:pt x="9" y="25"/>
                      <a:pt x="7" y="24"/>
                    </a:cubicBezTo>
                    <a:cubicBezTo>
                      <a:pt x="6" y="22"/>
                      <a:pt x="4" y="19"/>
                      <a:pt x="5" y="16"/>
                    </a:cubicBezTo>
                    <a:cubicBezTo>
                      <a:pt x="5" y="15"/>
                      <a:pt x="6" y="13"/>
                      <a:pt x="8" y="12"/>
                    </a:cubicBezTo>
                    <a:cubicBezTo>
                      <a:pt x="9" y="12"/>
                      <a:pt x="9" y="12"/>
                      <a:pt x="9" y="12"/>
                    </a:cubicBezTo>
                    <a:cubicBezTo>
                      <a:pt x="9" y="12"/>
                      <a:pt x="9" y="12"/>
                      <a:pt x="9" y="12"/>
                    </a:cubicBezTo>
                    <a:cubicBezTo>
                      <a:pt x="9" y="12"/>
                      <a:pt x="9" y="12"/>
                      <a:pt x="9" y="12"/>
                    </a:cubicBezTo>
                    <a:cubicBezTo>
                      <a:pt x="9" y="11"/>
                      <a:pt x="9" y="11"/>
                      <a:pt x="8" y="11"/>
                    </a:cubicBezTo>
                    <a:cubicBezTo>
                      <a:pt x="8" y="8"/>
                      <a:pt x="7" y="6"/>
                      <a:pt x="6" y="4"/>
                    </a:cubicBezTo>
                    <a:cubicBezTo>
                      <a:pt x="5" y="3"/>
                      <a:pt x="4" y="3"/>
                      <a:pt x="4" y="3"/>
                    </a:cubicBezTo>
                    <a:cubicBezTo>
                      <a:pt x="4" y="3"/>
                      <a:pt x="3" y="3"/>
                      <a:pt x="3" y="4"/>
                    </a:cubicBezTo>
                    <a:cubicBezTo>
                      <a:pt x="2" y="5"/>
                      <a:pt x="2" y="7"/>
                      <a:pt x="1" y="8"/>
                    </a:cubicBezTo>
                    <a:cubicBezTo>
                      <a:pt x="1" y="9"/>
                      <a:pt x="1" y="9"/>
                      <a:pt x="1" y="9"/>
                    </a:cubicBezTo>
                    <a:cubicBezTo>
                      <a:pt x="1" y="9"/>
                      <a:pt x="0" y="9"/>
                      <a:pt x="0" y="8"/>
                    </a:cubicBezTo>
                    <a:cubicBezTo>
                      <a:pt x="0" y="7"/>
                      <a:pt x="0" y="7"/>
                      <a:pt x="0" y="6"/>
                    </a:cubicBezTo>
                    <a:cubicBezTo>
                      <a:pt x="0" y="5"/>
                      <a:pt x="0" y="4"/>
                      <a:pt x="0" y="3"/>
                    </a:cubicBezTo>
                    <a:cubicBezTo>
                      <a:pt x="1" y="2"/>
                      <a:pt x="1" y="2"/>
                      <a:pt x="1" y="1"/>
                    </a:cubicBezTo>
                    <a:cubicBezTo>
                      <a:pt x="2" y="1"/>
                      <a:pt x="3" y="0"/>
                      <a:pt x="4" y="0"/>
                    </a:cubicBezTo>
                    <a:cubicBezTo>
                      <a:pt x="6" y="0"/>
                      <a:pt x="7" y="1"/>
                      <a:pt x="8" y="2"/>
                    </a:cubicBezTo>
                    <a:cubicBezTo>
                      <a:pt x="10" y="4"/>
                      <a:pt x="11" y="7"/>
                      <a:pt x="12" y="10"/>
                    </a:cubicBezTo>
                    <a:cubicBezTo>
                      <a:pt x="12" y="11"/>
                      <a:pt x="12" y="11"/>
                      <a:pt x="12" y="11"/>
                    </a:cubicBezTo>
                    <a:cubicBezTo>
                      <a:pt x="12" y="12"/>
                      <a:pt x="12" y="13"/>
                      <a:pt x="12" y="13"/>
                    </a:cubicBezTo>
                    <a:cubicBezTo>
                      <a:pt x="12" y="14"/>
                      <a:pt x="12" y="14"/>
                      <a:pt x="12" y="14"/>
                    </a:cubicBezTo>
                    <a:cubicBezTo>
                      <a:pt x="12" y="14"/>
                      <a:pt x="12" y="14"/>
                      <a:pt x="12" y="14"/>
                    </a:cubicBezTo>
                    <a:cubicBezTo>
                      <a:pt x="12" y="14"/>
                      <a:pt x="12" y="14"/>
                      <a:pt x="12" y="14"/>
                    </a:cubicBezTo>
                    <a:cubicBezTo>
                      <a:pt x="11" y="14"/>
                      <a:pt x="11" y="14"/>
                      <a:pt x="11" y="14"/>
                    </a:cubicBezTo>
                    <a:cubicBezTo>
                      <a:pt x="10" y="15"/>
                      <a:pt x="10" y="15"/>
                      <a:pt x="10" y="15"/>
                    </a:cubicBezTo>
                    <a:cubicBezTo>
                      <a:pt x="10" y="15"/>
                      <a:pt x="10" y="15"/>
                      <a:pt x="10" y="15"/>
                    </a:cubicBezTo>
                    <a:cubicBezTo>
                      <a:pt x="10" y="15"/>
                      <a:pt x="10" y="15"/>
                      <a:pt x="10" y="15"/>
                    </a:cubicBezTo>
                    <a:cubicBezTo>
                      <a:pt x="9" y="15"/>
                      <a:pt x="8" y="16"/>
                      <a:pt x="8" y="17"/>
                    </a:cubicBezTo>
                    <a:cubicBezTo>
                      <a:pt x="7" y="19"/>
                      <a:pt x="8" y="21"/>
                      <a:pt x="9" y="22"/>
                    </a:cubicBezTo>
                    <a:cubicBezTo>
                      <a:pt x="11" y="25"/>
                      <a:pt x="13" y="25"/>
                      <a:pt x="13" y="26"/>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3" name="Freeform 1354"/>
              <p:cNvSpPr>
                <a:spLocks/>
              </p:cNvSpPr>
              <p:nvPr/>
            </p:nvSpPr>
            <p:spPr bwMode="auto">
              <a:xfrm>
                <a:off x="5738814" y="11082338"/>
                <a:ext cx="46038" cy="79375"/>
              </a:xfrm>
              <a:custGeom>
                <a:avLst/>
                <a:gdLst>
                  <a:gd name="T0" fmla="*/ 1 w 22"/>
                  <a:gd name="T1" fmla="*/ 0 h 38"/>
                  <a:gd name="T2" fmla="*/ 8 w 22"/>
                  <a:gd name="T3" fmla="*/ 6 h 38"/>
                  <a:gd name="T4" fmla="*/ 15 w 22"/>
                  <a:gd name="T5" fmla="*/ 12 h 38"/>
                  <a:gd name="T6" fmla="*/ 21 w 22"/>
                  <a:gd name="T7" fmla="*/ 22 h 38"/>
                  <a:gd name="T8" fmla="*/ 22 w 22"/>
                  <a:gd name="T9" fmla="*/ 28 h 38"/>
                  <a:gd name="T10" fmla="*/ 19 w 22"/>
                  <a:gd name="T11" fmla="*/ 35 h 38"/>
                  <a:gd name="T12" fmla="*/ 14 w 22"/>
                  <a:gd name="T13" fmla="*/ 37 h 38"/>
                  <a:gd name="T14" fmla="*/ 11 w 22"/>
                  <a:gd name="T15" fmla="*/ 38 h 38"/>
                  <a:gd name="T16" fmla="*/ 9 w 22"/>
                  <a:gd name="T17" fmla="*/ 38 h 38"/>
                  <a:gd name="T18" fmla="*/ 7 w 22"/>
                  <a:gd name="T19" fmla="*/ 38 h 38"/>
                  <a:gd name="T20" fmla="*/ 5 w 22"/>
                  <a:gd name="T21" fmla="*/ 38 h 38"/>
                  <a:gd name="T22" fmla="*/ 2 w 22"/>
                  <a:gd name="T23" fmla="*/ 37 h 38"/>
                  <a:gd name="T24" fmla="*/ 0 w 22"/>
                  <a:gd name="T25" fmla="*/ 37 h 38"/>
                  <a:gd name="T26" fmla="*/ 2 w 22"/>
                  <a:gd name="T27" fmla="*/ 36 h 38"/>
                  <a:gd name="T28" fmla="*/ 5 w 22"/>
                  <a:gd name="T29" fmla="*/ 36 h 38"/>
                  <a:gd name="T30" fmla="*/ 8 w 22"/>
                  <a:gd name="T31" fmla="*/ 35 h 38"/>
                  <a:gd name="T32" fmla="*/ 10 w 22"/>
                  <a:gd name="T33" fmla="*/ 34 h 38"/>
                  <a:gd name="T34" fmla="*/ 12 w 22"/>
                  <a:gd name="T35" fmla="*/ 34 h 38"/>
                  <a:gd name="T36" fmla="*/ 15 w 22"/>
                  <a:gd name="T37" fmla="*/ 31 h 38"/>
                  <a:gd name="T38" fmla="*/ 17 w 22"/>
                  <a:gd name="T39" fmla="*/ 28 h 38"/>
                  <a:gd name="T40" fmla="*/ 16 w 22"/>
                  <a:gd name="T41" fmla="*/ 24 h 38"/>
                  <a:gd name="T42" fmla="*/ 11 w 22"/>
                  <a:gd name="T43" fmla="*/ 15 h 38"/>
                  <a:gd name="T44" fmla="*/ 6 w 22"/>
                  <a:gd name="T45" fmla="*/ 8 h 38"/>
                  <a:gd name="T46" fmla="*/ 1 w 22"/>
                  <a:gd name="T4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38">
                    <a:moveTo>
                      <a:pt x="1" y="0"/>
                    </a:moveTo>
                    <a:cubicBezTo>
                      <a:pt x="1" y="0"/>
                      <a:pt x="4" y="2"/>
                      <a:pt x="8" y="6"/>
                    </a:cubicBezTo>
                    <a:cubicBezTo>
                      <a:pt x="10" y="8"/>
                      <a:pt x="12" y="10"/>
                      <a:pt x="15" y="12"/>
                    </a:cubicBezTo>
                    <a:cubicBezTo>
                      <a:pt x="17" y="15"/>
                      <a:pt x="19" y="18"/>
                      <a:pt x="21" y="22"/>
                    </a:cubicBezTo>
                    <a:cubicBezTo>
                      <a:pt x="21" y="24"/>
                      <a:pt x="22" y="26"/>
                      <a:pt x="22" y="28"/>
                    </a:cubicBezTo>
                    <a:cubicBezTo>
                      <a:pt x="21" y="31"/>
                      <a:pt x="20" y="33"/>
                      <a:pt x="19" y="35"/>
                    </a:cubicBezTo>
                    <a:cubicBezTo>
                      <a:pt x="17" y="36"/>
                      <a:pt x="15" y="37"/>
                      <a:pt x="14" y="37"/>
                    </a:cubicBezTo>
                    <a:cubicBezTo>
                      <a:pt x="13" y="37"/>
                      <a:pt x="12" y="38"/>
                      <a:pt x="11" y="38"/>
                    </a:cubicBezTo>
                    <a:cubicBezTo>
                      <a:pt x="10" y="38"/>
                      <a:pt x="10" y="38"/>
                      <a:pt x="9" y="38"/>
                    </a:cubicBezTo>
                    <a:cubicBezTo>
                      <a:pt x="8" y="38"/>
                      <a:pt x="7" y="38"/>
                      <a:pt x="7" y="38"/>
                    </a:cubicBezTo>
                    <a:cubicBezTo>
                      <a:pt x="6" y="38"/>
                      <a:pt x="6" y="38"/>
                      <a:pt x="5" y="38"/>
                    </a:cubicBezTo>
                    <a:cubicBezTo>
                      <a:pt x="4" y="38"/>
                      <a:pt x="3" y="37"/>
                      <a:pt x="2" y="37"/>
                    </a:cubicBezTo>
                    <a:cubicBezTo>
                      <a:pt x="1" y="37"/>
                      <a:pt x="0" y="37"/>
                      <a:pt x="0" y="37"/>
                    </a:cubicBezTo>
                    <a:cubicBezTo>
                      <a:pt x="0" y="37"/>
                      <a:pt x="1" y="36"/>
                      <a:pt x="2" y="36"/>
                    </a:cubicBezTo>
                    <a:cubicBezTo>
                      <a:pt x="3" y="36"/>
                      <a:pt x="4" y="36"/>
                      <a:pt x="5" y="36"/>
                    </a:cubicBezTo>
                    <a:cubicBezTo>
                      <a:pt x="6" y="35"/>
                      <a:pt x="7" y="35"/>
                      <a:pt x="8" y="35"/>
                    </a:cubicBezTo>
                    <a:cubicBezTo>
                      <a:pt x="9" y="35"/>
                      <a:pt x="10" y="34"/>
                      <a:pt x="10" y="34"/>
                    </a:cubicBezTo>
                    <a:cubicBezTo>
                      <a:pt x="11" y="34"/>
                      <a:pt x="12" y="34"/>
                      <a:pt x="12" y="34"/>
                    </a:cubicBezTo>
                    <a:cubicBezTo>
                      <a:pt x="14" y="33"/>
                      <a:pt x="15" y="32"/>
                      <a:pt x="15" y="31"/>
                    </a:cubicBezTo>
                    <a:cubicBezTo>
                      <a:pt x="16" y="30"/>
                      <a:pt x="17" y="29"/>
                      <a:pt x="17" y="28"/>
                    </a:cubicBezTo>
                    <a:cubicBezTo>
                      <a:pt x="17" y="27"/>
                      <a:pt x="16" y="25"/>
                      <a:pt x="16" y="24"/>
                    </a:cubicBezTo>
                    <a:cubicBezTo>
                      <a:pt x="15" y="21"/>
                      <a:pt x="13" y="18"/>
                      <a:pt x="11" y="15"/>
                    </a:cubicBezTo>
                    <a:cubicBezTo>
                      <a:pt x="9" y="12"/>
                      <a:pt x="7" y="10"/>
                      <a:pt x="6" y="8"/>
                    </a:cubicBezTo>
                    <a:cubicBezTo>
                      <a:pt x="3" y="3"/>
                      <a:pt x="1" y="0"/>
                      <a:pt x="1" y="0"/>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4" name="Freeform 1355"/>
              <p:cNvSpPr>
                <a:spLocks/>
              </p:cNvSpPr>
              <p:nvPr/>
            </p:nvSpPr>
            <p:spPr bwMode="auto">
              <a:xfrm>
                <a:off x="5532439" y="10779125"/>
                <a:ext cx="396875" cy="339725"/>
              </a:xfrm>
              <a:custGeom>
                <a:avLst/>
                <a:gdLst>
                  <a:gd name="T0" fmla="*/ 190 w 190"/>
                  <a:gd name="T1" fmla="*/ 47 h 163"/>
                  <a:gd name="T2" fmla="*/ 167 w 190"/>
                  <a:gd name="T3" fmla="*/ 24 h 163"/>
                  <a:gd name="T4" fmla="*/ 157 w 190"/>
                  <a:gd name="T5" fmla="*/ 26 h 163"/>
                  <a:gd name="T6" fmla="*/ 134 w 190"/>
                  <a:gd name="T7" fmla="*/ 7 h 163"/>
                  <a:gd name="T8" fmla="*/ 116 w 190"/>
                  <a:gd name="T9" fmla="*/ 17 h 163"/>
                  <a:gd name="T10" fmla="*/ 99 w 190"/>
                  <a:gd name="T11" fmla="*/ 10 h 163"/>
                  <a:gd name="T12" fmla="*/ 89 w 190"/>
                  <a:gd name="T13" fmla="*/ 12 h 163"/>
                  <a:gd name="T14" fmla="*/ 64 w 190"/>
                  <a:gd name="T15" fmla="*/ 0 h 163"/>
                  <a:gd name="T16" fmla="*/ 30 w 190"/>
                  <a:gd name="T17" fmla="*/ 27 h 163"/>
                  <a:gd name="T18" fmla="*/ 11 w 190"/>
                  <a:gd name="T19" fmla="*/ 49 h 163"/>
                  <a:gd name="T20" fmla="*/ 14 w 190"/>
                  <a:gd name="T21" fmla="*/ 60 h 163"/>
                  <a:gd name="T22" fmla="*/ 0 w 190"/>
                  <a:gd name="T23" fmla="*/ 81 h 163"/>
                  <a:gd name="T24" fmla="*/ 9 w 190"/>
                  <a:gd name="T25" fmla="*/ 99 h 163"/>
                  <a:gd name="T26" fmla="*/ 7 w 190"/>
                  <a:gd name="T27" fmla="*/ 107 h 163"/>
                  <a:gd name="T28" fmla="*/ 19 w 190"/>
                  <a:gd name="T29" fmla="*/ 121 h 163"/>
                  <a:gd name="T30" fmla="*/ 26 w 190"/>
                  <a:gd name="T31" fmla="*/ 135 h 163"/>
                  <a:gd name="T32" fmla="*/ 33 w 190"/>
                  <a:gd name="T33" fmla="*/ 162 h 163"/>
                  <a:gd name="T34" fmla="*/ 40 w 190"/>
                  <a:gd name="T35" fmla="*/ 161 h 163"/>
                  <a:gd name="T36" fmla="*/ 37 w 190"/>
                  <a:gd name="T37" fmla="*/ 134 h 163"/>
                  <a:gd name="T38" fmla="*/ 40 w 190"/>
                  <a:gd name="T39" fmla="*/ 120 h 163"/>
                  <a:gd name="T40" fmla="*/ 44 w 190"/>
                  <a:gd name="T41" fmla="*/ 105 h 163"/>
                  <a:gd name="T42" fmla="*/ 51 w 190"/>
                  <a:gd name="T43" fmla="*/ 90 h 163"/>
                  <a:gd name="T44" fmla="*/ 47 w 190"/>
                  <a:gd name="T45" fmla="*/ 78 h 163"/>
                  <a:gd name="T46" fmla="*/ 103 w 190"/>
                  <a:gd name="T47" fmla="*/ 82 h 163"/>
                  <a:gd name="T48" fmla="*/ 120 w 190"/>
                  <a:gd name="T49" fmla="*/ 89 h 163"/>
                  <a:gd name="T50" fmla="*/ 141 w 190"/>
                  <a:gd name="T51" fmla="*/ 75 h 163"/>
                  <a:gd name="T52" fmla="*/ 155 w 190"/>
                  <a:gd name="T53" fmla="*/ 67 h 163"/>
                  <a:gd name="T54" fmla="*/ 162 w 190"/>
                  <a:gd name="T55" fmla="*/ 70 h 163"/>
                  <a:gd name="T56" fmla="*/ 162 w 190"/>
                  <a:gd name="T57" fmla="*/ 70 h 163"/>
                  <a:gd name="T58" fmla="*/ 169 w 190"/>
                  <a:gd name="T59" fmla="*/ 78 h 163"/>
                  <a:gd name="T60" fmla="*/ 166 w 190"/>
                  <a:gd name="T61" fmla="*/ 85 h 163"/>
                  <a:gd name="T62" fmla="*/ 172 w 190"/>
                  <a:gd name="T63" fmla="*/ 96 h 163"/>
                  <a:gd name="T64" fmla="*/ 181 w 190"/>
                  <a:gd name="T65" fmla="*/ 87 h 163"/>
                  <a:gd name="T66" fmla="*/ 176 w 190"/>
                  <a:gd name="T67" fmla="*/ 77 h 163"/>
                  <a:gd name="T68" fmla="*/ 179 w 190"/>
                  <a:gd name="T69" fmla="*/ 70 h 163"/>
                  <a:gd name="T70" fmla="*/ 178 w 190"/>
                  <a:gd name="T71" fmla="*/ 67 h 163"/>
                  <a:gd name="T72" fmla="*/ 190 w 190"/>
                  <a:gd name="T73" fmla="*/ 4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0" h="163">
                    <a:moveTo>
                      <a:pt x="190" y="47"/>
                    </a:moveTo>
                    <a:cubicBezTo>
                      <a:pt x="190" y="34"/>
                      <a:pt x="180" y="24"/>
                      <a:pt x="167" y="24"/>
                    </a:cubicBezTo>
                    <a:cubicBezTo>
                      <a:pt x="163" y="24"/>
                      <a:pt x="160" y="25"/>
                      <a:pt x="157" y="26"/>
                    </a:cubicBezTo>
                    <a:cubicBezTo>
                      <a:pt x="155" y="15"/>
                      <a:pt x="146" y="7"/>
                      <a:pt x="134" y="7"/>
                    </a:cubicBezTo>
                    <a:cubicBezTo>
                      <a:pt x="127" y="7"/>
                      <a:pt x="120" y="11"/>
                      <a:pt x="116" y="17"/>
                    </a:cubicBezTo>
                    <a:cubicBezTo>
                      <a:pt x="112" y="12"/>
                      <a:pt x="106" y="10"/>
                      <a:pt x="99" y="10"/>
                    </a:cubicBezTo>
                    <a:cubicBezTo>
                      <a:pt x="96" y="10"/>
                      <a:pt x="92" y="11"/>
                      <a:pt x="89" y="12"/>
                    </a:cubicBezTo>
                    <a:cubicBezTo>
                      <a:pt x="83" y="5"/>
                      <a:pt x="74" y="0"/>
                      <a:pt x="64" y="0"/>
                    </a:cubicBezTo>
                    <a:cubicBezTo>
                      <a:pt x="47" y="0"/>
                      <a:pt x="34" y="12"/>
                      <a:pt x="30" y="27"/>
                    </a:cubicBezTo>
                    <a:cubicBezTo>
                      <a:pt x="19" y="28"/>
                      <a:pt x="11" y="38"/>
                      <a:pt x="11" y="49"/>
                    </a:cubicBezTo>
                    <a:cubicBezTo>
                      <a:pt x="11" y="53"/>
                      <a:pt x="12" y="57"/>
                      <a:pt x="14" y="60"/>
                    </a:cubicBezTo>
                    <a:cubicBezTo>
                      <a:pt x="5" y="63"/>
                      <a:pt x="0" y="71"/>
                      <a:pt x="0" y="81"/>
                    </a:cubicBezTo>
                    <a:cubicBezTo>
                      <a:pt x="0" y="88"/>
                      <a:pt x="4" y="95"/>
                      <a:pt x="9" y="99"/>
                    </a:cubicBezTo>
                    <a:cubicBezTo>
                      <a:pt x="8" y="102"/>
                      <a:pt x="7" y="104"/>
                      <a:pt x="7" y="107"/>
                    </a:cubicBezTo>
                    <a:cubicBezTo>
                      <a:pt x="7" y="114"/>
                      <a:pt x="12" y="120"/>
                      <a:pt x="19" y="121"/>
                    </a:cubicBezTo>
                    <a:cubicBezTo>
                      <a:pt x="22" y="128"/>
                      <a:pt x="25" y="133"/>
                      <a:pt x="26" y="135"/>
                    </a:cubicBezTo>
                    <a:cubicBezTo>
                      <a:pt x="30" y="142"/>
                      <a:pt x="33" y="162"/>
                      <a:pt x="33" y="162"/>
                    </a:cubicBezTo>
                    <a:cubicBezTo>
                      <a:pt x="33" y="162"/>
                      <a:pt x="39" y="163"/>
                      <a:pt x="40" y="161"/>
                    </a:cubicBezTo>
                    <a:cubicBezTo>
                      <a:pt x="42" y="159"/>
                      <a:pt x="39" y="142"/>
                      <a:pt x="37" y="134"/>
                    </a:cubicBezTo>
                    <a:cubicBezTo>
                      <a:pt x="36" y="129"/>
                      <a:pt x="39" y="124"/>
                      <a:pt x="40" y="120"/>
                    </a:cubicBezTo>
                    <a:cubicBezTo>
                      <a:pt x="40" y="118"/>
                      <a:pt x="43" y="112"/>
                      <a:pt x="44" y="105"/>
                    </a:cubicBezTo>
                    <a:cubicBezTo>
                      <a:pt x="48" y="101"/>
                      <a:pt x="51" y="96"/>
                      <a:pt x="51" y="90"/>
                    </a:cubicBezTo>
                    <a:cubicBezTo>
                      <a:pt x="51" y="86"/>
                      <a:pt x="50" y="82"/>
                      <a:pt x="47" y="78"/>
                    </a:cubicBezTo>
                    <a:cubicBezTo>
                      <a:pt x="63" y="83"/>
                      <a:pt x="89" y="89"/>
                      <a:pt x="103" y="82"/>
                    </a:cubicBezTo>
                    <a:cubicBezTo>
                      <a:pt x="107" y="86"/>
                      <a:pt x="113" y="89"/>
                      <a:pt x="120" y="89"/>
                    </a:cubicBezTo>
                    <a:cubicBezTo>
                      <a:pt x="129" y="89"/>
                      <a:pt x="137" y="83"/>
                      <a:pt x="141" y="75"/>
                    </a:cubicBezTo>
                    <a:cubicBezTo>
                      <a:pt x="146" y="73"/>
                      <a:pt x="150" y="71"/>
                      <a:pt x="155" y="67"/>
                    </a:cubicBezTo>
                    <a:cubicBezTo>
                      <a:pt x="157" y="68"/>
                      <a:pt x="160" y="69"/>
                      <a:pt x="162" y="70"/>
                    </a:cubicBezTo>
                    <a:cubicBezTo>
                      <a:pt x="162" y="70"/>
                      <a:pt x="162" y="70"/>
                      <a:pt x="162" y="70"/>
                    </a:cubicBezTo>
                    <a:cubicBezTo>
                      <a:pt x="162" y="74"/>
                      <a:pt x="165" y="78"/>
                      <a:pt x="169" y="78"/>
                    </a:cubicBezTo>
                    <a:cubicBezTo>
                      <a:pt x="167" y="80"/>
                      <a:pt x="166" y="82"/>
                      <a:pt x="166" y="85"/>
                    </a:cubicBezTo>
                    <a:cubicBezTo>
                      <a:pt x="165" y="90"/>
                      <a:pt x="168" y="95"/>
                      <a:pt x="172" y="96"/>
                    </a:cubicBezTo>
                    <a:cubicBezTo>
                      <a:pt x="176" y="96"/>
                      <a:pt x="180" y="92"/>
                      <a:pt x="181" y="87"/>
                    </a:cubicBezTo>
                    <a:cubicBezTo>
                      <a:pt x="182" y="82"/>
                      <a:pt x="179" y="78"/>
                      <a:pt x="176" y="77"/>
                    </a:cubicBezTo>
                    <a:cubicBezTo>
                      <a:pt x="178" y="75"/>
                      <a:pt x="179" y="73"/>
                      <a:pt x="179" y="70"/>
                    </a:cubicBezTo>
                    <a:cubicBezTo>
                      <a:pt x="179" y="69"/>
                      <a:pt x="179" y="68"/>
                      <a:pt x="178" y="67"/>
                    </a:cubicBezTo>
                    <a:cubicBezTo>
                      <a:pt x="185" y="63"/>
                      <a:pt x="190" y="56"/>
                      <a:pt x="190" y="47"/>
                    </a:cubicBezTo>
                    <a:close/>
                  </a:path>
                </a:pathLst>
              </a:custGeom>
              <a:solidFill>
                <a:srgbClr val="8C4C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5" name="Freeform 1356"/>
              <p:cNvSpPr>
                <a:spLocks/>
              </p:cNvSpPr>
              <p:nvPr/>
            </p:nvSpPr>
            <p:spPr bwMode="auto">
              <a:xfrm>
                <a:off x="5753101" y="11220450"/>
                <a:ext cx="50800" cy="33338"/>
              </a:xfrm>
              <a:custGeom>
                <a:avLst/>
                <a:gdLst>
                  <a:gd name="T0" fmla="*/ 15 w 24"/>
                  <a:gd name="T1" fmla="*/ 3 h 16"/>
                  <a:gd name="T2" fmla="*/ 2 w 24"/>
                  <a:gd name="T3" fmla="*/ 8 h 16"/>
                  <a:gd name="T4" fmla="*/ 23 w 24"/>
                  <a:gd name="T5" fmla="*/ 1 h 16"/>
                  <a:gd name="T6" fmla="*/ 15 w 24"/>
                  <a:gd name="T7" fmla="*/ 3 h 16"/>
                </a:gdLst>
                <a:ahLst/>
                <a:cxnLst>
                  <a:cxn ang="0">
                    <a:pos x="T0" y="T1"/>
                  </a:cxn>
                  <a:cxn ang="0">
                    <a:pos x="T2" y="T3"/>
                  </a:cxn>
                  <a:cxn ang="0">
                    <a:pos x="T4" y="T5"/>
                  </a:cxn>
                  <a:cxn ang="0">
                    <a:pos x="T6" y="T7"/>
                  </a:cxn>
                </a:cxnLst>
                <a:rect l="0" t="0" r="r" b="b"/>
                <a:pathLst>
                  <a:path w="24" h="16">
                    <a:moveTo>
                      <a:pt x="15" y="3"/>
                    </a:moveTo>
                    <a:cubicBezTo>
                      <a:pt x="7" y="7"/>
                      <a:pt x="0" y="5"/>
                      <a:pt x="2" y="8"/>
                    </a:cubicBezTo>
                    <a:cubicBezTo>
                      <a:pt x="13" y="16"/>
                      <a:pt x="24" y="4"/>
                      <a:pt x="23" y="1"/>
                    </a:cubicBezTo>
                    <a:cubicBezTo>
                      <a:pt x="22" y="0"/>
                      <a:pt x="20" y="1"/>
                      <a:pt x="15" y="3"/>
                    </a:cubicBezTo>
                    <a:close/>
                  </a:path>
                </a:pathLst>
              </a:custGeom>
              <a:solidFill>
                <a:srgbClr val="A585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6" name="Freeform 1357"/>
              <p:cNvSpPr>
                <a:spLocks/>
              </p:cNvSpPr>
              <p:nvPr/>
            </p:nvSpPr>
            <p:spPr bwMode="auto">
              <a:xfrm>
                <a:off x="5694364" y="11183938"/>
                <a:ext cx="112713" cy="52388"/>
              </a:xfrm>
              <a:custGeom>
                <a:avLst/>
                <a:gdLst>
                  <a:gd name="T0" fmla="*/ 2 w 54"/>
                  <a:gd name="T1" fmla="*/ 2 h 25"/>
                  <a:gd name="T2" fmla="*/ 52 w 54"/>
                  <a:gd name="T3" fmla="*/ 12 h 25"/>
                  <a:gd name="T4" fmla="*/ 50 w 54"/>
                  <a:gd name="T5" fmla="*/ 0 h 25"/>
                  <a:gd name="T6" fmla="*/ 2 w 54"/>
                  <a:gd name="T7" fmla="*/ 2 h 25"/>
                </a:gdLst>
                <a:ahLst/>
                <a:cxnLst>
                  <a:cxn ang="0">
                    <a:pos x="T0" y="T1"/>
                  </a:cxn>
                  <a:cxn ang="0">
                    <a:pos x="T2" y="T3"/>
                  </a:cxn>
                  <a:cxn ang="0">
                    <a:pos x="T4" y="T5"/>
                  </a:cxn>
                  <a:cxn ang="0">
                    <a:pos x="T6" y="T7"/>
                  </a:cxn>
                </a:cxnLst>
                <a:rect l="0" t="0" r="r" b="b"/>
                <a:pathLst>
                  <a:path w="54" h="25">
                    <a:moveTo>
                      <a:pt x="2" y="2"/>
                    </a:moveTo>
                    <a:cubicBezTo>
                      <a:pt x="0" y="19"/>
                      <a:pt x="22" y="25"/>
                      <a:pt x="52" y="12"/>
                    </a:cubicBezTo>
                    <a:cubicBezTo>
                      <a:pt x="54" y="11"/>
                      <a:pt x="48" y="3"/>
                      <a:pt x="50" y="0"/>
                    </a:cubicBezTo>
                    <a:cubicBezTo>
                      <a:pt x="36" y="2"/>
                      <a:pt x="14" y="5"/>
                      <a:pt x="2" y="2"/>
                    </a:cubicBezTo>
                    <a:close/>
                  </a:path>
                </a:pathLst>
              </a:custGeom>
              <a:solidFill>
                <a:srgbClr val="0C05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7" name="Freeform 1358"/>
              <p:cNvSpPr>
                <a:spLocks/>
              </p:cNvSpPr>
              <p:nvPr/>
            </p:nvSpPr>
            <p:spPr bwMode="auto">
              <a:xfrm>
                <a:off x="5700714" y="11182350"/>
                <a:ext cx="104775" cy="34925"/>
              </a:xfrm>
              <a:custGeom>
                <a:avLst/>
                <a:gdLst>
                  <a:gd name="T0" fmla="*/ 19 w 50"/>
                  <a:gd name="T1" fmla="*/ 5 h 17"/>
                  <a:gd name="T2" fmla="*/ 0 w 50"/>
                  <a:gd name="T3" fmla="*/ 4 h 17"/>
                  <a:gd name="T4" fmla="*/ 50 w 50"/>
                  <a:gd name="T5" fmla="*/ 4 h 17"/>
                  <a:gd name="T6" fmla="*/ 49 w 50"/>
                  <a:gd name="T7" fmla="*/ 0 h 17"/>
                  <a:gd name="T8" fmla="*/ 19 w 50"/>
                  <a:gd name="T9" fmla="*/ 5 h 17"/>
                </a:gdLst>
                <a:ahLst/>
                <a:cxnLst>
                  <a:cxn ang="0">
                    <a:pos x="T0" y="T1"/>
                  </a:cxn>
                  <a:cxn ang="0">
                    <a:pos x="T2" y="T3"/>
                  </a:cxn>
                  <a:cxn ang="0">
                    <a:pos x="T4" y="T5"/>
                  </a:cxn>
                  <a:cxn ang="0">
                    <a:pos x="T6" y="T7"/>
                  </a:cxn>
                  <a:cxn ang="0">
                    <a:pos x="T8" y="T9"/>
                  </a:cxn>
                </a:cxnLst>
                <a:rect l="0" t="0" r="r" b="b"/>
                <a:pathLst>
                  <a:path w="50" h="17">
                    <a:moveTo>
                      <a:pt x="19" y="5"/>
                    </a:moveTo>
                    <a:cubicBezTo>
                      <a:pt x="0" y="4"/>
                      <a:pt x="0" y="4"/>
                      <a:pt x="0" y="4"/>
                    </a:cubicBezTo>
                    <a:cubicBezTo>
                      <a:pt x="2" y="17"/>
                      <a:pt x="50" y="7"/>
                      <a:pt x="50" y="4"/>
                    </a:cubicBezTo>
                    <a:cubicBezTo>
                      <a:pt x="49" y="2"/>
                      <a:pt x="50" y="4"/>
                      <a:pt x="49" y="0"/>
                    </a:cubicBezTo>
                    <a:lnTo>
                      <a:pt x="19" y="5"/>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8" name="Freeform 1359"/>
              <p:cNvSpPr>
                <a:spLocks/>
              </p:cNvSpPr>
              <p:nvPr/>
            </p:nvSpPr>
            <p:spPr bwMode="auto">
              <a:xfrm>
                <a:off x="5684839" y="11152188"/>
                <a:ext cx="122238" cy="44450"/>
              </a:xfrm>
              <a:custGeom>
                <a:avLst/>
                <a:gdLst>
                  <a:gd name="T0" fmla="*/ 58 w 59"/>
                  <a:gd name="T1" fmla="*/ 15 h 21"/>
                  <a:gd name="T2" fmla="*/ 35 w 59"/>
                  <a:gd name="T3" fmla="*/ 20 h 21"/>
                  <a:gd name="T4" fmla="*/ 20 w 59"/>
                  <a:gd name="T5" fmla="*/ 21 h 21"/>
                  <a:gd name="T6" fmla="*/ 15 w 59"/>
                  <a:gd name="T7" fmla="*/ 21 h 21"/>
                  <a:gd name="T8" fmla="*/ 11 w 59"/>
                  <a:gd name="T9" fmla="*/ 20 h 21"/>
                  <a:gd name="T10" fmla="*/ 4 w 59"/>
                  <a:gd name="T11" fmla="*/ 14 h 21"/>
                  <a:gd name="T12" fmla="*/ 0 w 59"/>
                  <a:gd name="T13" fmla="*/ 5 h 21"/>
                  <a:gd name="T14" fmla="*/ 0 w 59"/>
                  <a:gd name="T15" fmla="*/ 2 h 21"/>
                  <a:gd name="T16" fmla="*/ 2 w 59"/>
                  <a:gd name="T17" fmla="*/ 0 h 21"/>
                  <a:gd name="T18" fmla="*/ 4 w 59"/>
                  <a:gd name="T19" fmla="*/ 2 h 21"/>
                  <a:gd name="T20" fmla="*/ 4 w 59"/>
                  <a:gd name="T21" fmla="*/ 5 h 21"/>
                  <a:gd name="T22" fmla="*/ 6 w 59"/>
                  <a:gd name="T23" fmla="*/ 12 h 21"/>
                  <a:gd name="T24" fmla="*/ 12 w 59"/>
                  <a:gd name="T25" fmla="*/ 17 h 21"/>
                  <a:gd name="T26" fmla="*/ 15 w 59"/>
                  <a:gd name="T27" fmla="*/ 17 h 21"/>
                  <a:gd name="T28" fmla="*/ 34 w 59"/>
                  <a:gd name="T29" fmla="*/ 17 h 21"/>
                  <a:gd name="T30" fmla="*/ 57 w 59"/>
                  <a:gd name="T31" fmla="*/ 12 h 21"/>
                  <a:gd name="T32" fmla="*/ 59 w 59"/>
                  <a:gd name="T33" fmla="*/ 12 h 21"/>
                  <a:gd name="T34" fmla="*/ 58 w 59"/>
                  <a:gd name="T35"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21">
                    <a:moveTo>
                      <a:pt x="58" y="15"/>
                    </a:moveTo>
                    <a:cubicBezTo>
                      <a:pt x="51" y="18"/>
                      <a:pt x="43" y="20"/>
                      <a:pt x="35" y="20"/>
                    </a:cubicBezTo>
                    <a:cubicBezTo>
                      <a:pt x="29" y="21"/>
                      <a:pt x="24" y="21"/>
                      <a:pt x="20" y="21"/>
                    </a:cubicBezTo>
                    <a:cubicBezTo>
                      <a:pt x="18" y="21"/>
                      <a:pt x="16" y="21"/>
                      <a:pt x="15" y="21"/>
                    </a:cubicBezTo>
                    <a:cubicBezTo>
                      <a:pt x="13" y="21"/>
                      <a:pt x="12" y="20"/>
                      <a:pt x="11" y="20"/>
                    </a:cubicBezTo>
                    <a:cubicBezTo>
                      <a:pt x="8" y="19"/>
                      <a:pt x="5" y="17"/>
                      <a:pt x="4" y="14"/>
                    </a:cubicBezTo>
                    <a:cubicBezTo>
                      <a:pt x="2" y="12"/>
                      <a:pt x="1" y="9"/>
                      <a:pt x="0" y="5"/>
                    </a:cubicBezTo>
                    <a:cubicBezTo>
                      <a:pt x="0" y="4"/>
                      <a:pt x="0" y="3"/>
                      <a:pt x="0" y="2"/>
                    </a:cubicBezTo>
                    <a:cubicBezTo>
                      <a:pt x="0" y="1"/>
                      <a:pt x="1" y="0"/>
                      <a:pt x="2" y="0"/>
                    </a:cubicBezTo>
                    <a:cubicBezTo>
                      <a:pt x="3" y="0"/>
                      <a:pt x="4" y="1"/>
                      <a:pt x="4" y="2"/>
                    </a:cubicBezTo>
                    <a:cubicBezTo>
                      <a:pt x="4" y="3"/>
                      <a:pt x="4" y="4"/>
                      <a:pt x="4" y="5"/>
                    </a:cubicBezTo>
                    <a:cubicBezTo>
                      <a:pt x="4" y="8"/>
                      <a:pt x="5" y="10"/>
                      <a:pt x="6" y="12"/>
                    </a:cubicBezTo>
                    <a:cubicBezTo>
                      <a:pt x="8" y="14"/>
                      <a:pt x="9" y="16"/>
                      <a:pt x="12" y="17"/>
                    </a:cubicBezTo>
                    <a:cubicBezTo>
                      <a:pt x="13" y="17"/>
                      <a:pt x="14" y="17"/>
                      <a:pt x="15" y="17"/>
                    </a:cubicBezTo>
                    <a:cubicBezTo>
                      <a:pt x="19" y="18"/>
                      <a:pt x="27" y="18"/>
                      <a:pt x="34" y="17"/>
                    </a:cubicBezTo>
                    <a:cubicBezTo>
                      <a:pt x="42" y="16"/>
                      <a:pt x="50" y="14"/>
                      <a:pt x="57" y="12"/>
                    </a:cubicBezTo>
                    <a:cubicBezTo>
                      <a:pt x="58" y="11"/>
                      <a:pt x="59" y="12"/>
                      <a:pt x="59" y="12"/>
                    </a:cubicBezTo>
                    <a:cubicBezTo>
                      <a:pt x="59" y="13"/>
                      <a:pt x="59" y="14"/>
                      <a:pt x="58" y="15"/>
                    </a:cubicBezTo>
                    <a:close/>
                  </a:path>
                </a:pathLst>
              </a:custGeom>
              <a:solidFill>
                <a:srgbClr val="A585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9" name="Freeform 1360"/>
              <p:cNvSpPr>
                <a:spLocks/>
              </p:cNvSpPr>
              <p:nvPr/>
            </p:nvSpPr>
            <p:spPr bwMode="auto">
              <a:xfrm>
                <a:off x="5665789" y="11050588"/>
                <a:ext cx="50800" cy="39688"/>
              </a:xfrm>
              <a:custGeom>
                <a:avLst/>
                <a:gdLst>
                  <a:gd name="T0" fmla="*/ 1 w 24"/>
                  <a:gd name="T1" fmla="*/ 19 h 19"/>
                  <a:gd name="T2" fmla="*/ 2 w 24"/>
                  <a:gd name="T3" fmla="*/ 13 h 19"/>
                  <a:gd name="T4" fmla="*/ 5 w 24"/>
                  <a:gd name="T5" fmla="*/ 7 h 19"/>
                  <a:gd name="T6" fmla="*/ 12 w 24"/>
                  <a:gd name="T7" fmla="*/ 1 h 19"/>
                  <a:gd name="T8" fmla="*/ 18 w 24"/>
                  <a:gd name="T9" fmla="*/ 1 h 19"/>
                  <a:gd name="T10" fmla="*/ 22 w 24"/>
                  <a:gd name="T11" fmla="*/ 4 h 19"/>
                  <a:gd name="T12" fmla="*/ 24 w 24"/>
                  <a:gd name="T13" fmla="*/ 11 h 19"/>
                  <a:gd name="T14" fmla="*/ 22 w 24"/>
                  <a:gd name="T15" fmla="*/ 17 h 19"/>
                  <a:gd name="T16" fmla="*/ 19 w 24"/>
                  <a:gd name="T17" fmla="*/ 12 h 19"/>
                  <a:gd name="T18" fmla="*/ 17 w 24"/>
                  <a:gd name="T19" fmla="*/ 8 h 19"/>
                  <a:gd name="T20" fmla="*/ 16 w 24"/>
                  <a:gd name="T21" fmla="*/ 7 h 19"/>
                  <a:gd name="T22" fmla="*/ 14 w 24"/>
                  <a:gd name="T23" fmla="*/ 7 h 19"/>
                  <a:gd name="T24" fmla="*/ 10 w 24"/>
                  <a:gd name="T25" fmla="*/ 11 h 19"/>
                  <a:gd name="T26" fmla="*/ 6 w 24"/>
                  <a:gd name="T27" fmla="*/ 15 h 19"/>
                  <a:gd name="T28" fmla="*/ 1 w 24"/>
                  <a:gd name="T2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9">
                    <a:moveTo>
                      <a:pt x="1" y="19"/>
                    </a:moveTo>
                    <a:cubicBezTo>
                      <a:pt x="0" y="18"/>
                      <a:pt x="1" y="16"/>
                      <a:pt x="2" y="13"/>
                    </a:cubicBezTo>
                    <a:cubicBezTo>
                      <a:pt x="3" y="11"/>
                      <a:pt x="4" y="9"/>
                      <a:pt x="5" y="7"/>
                    </a:cubicBezTo>
                    <a:cubicBezTo>
                      <a:pt x="7" y="5"/>
                      <a:pt x="8" y="3"/>
                      <a:pt x="12" y="1"/>
                    </a:cubicBezTo>
                    <a:cubicBezTo>
                      <a:pt x="13" y="1"/>
                      <a:pt x="15" y="0"/>
                      <a:pt x="18" y="1"/>
                    </a:cubicBezTo>
                    <a:cubicBezTo>
                      <a:pt x="20" y="2"/>
                      <a:pt x="21" y="3"/>
                      <a:pt x="22" y="4"/>
                    </a:cubicBezTo>
                    <a:cubicBezTo>
                      <a:pt x="23" y="7"/>
                      <a:pt x="24" y="9"/>
                      <a:pt x="24" y="11"/>
                    </a:cubicBezTo>
                    <a:cubicBezTo>
                      <a:pt x="24" y="15"/>
                      <a:pt x="22" y="17"/>
                      <a:pt x="22" y="17"/>
                    </a:cubicBezTo>
                    <a:cubicBezTo>
                      <a:pt x="21" y="17"/>
                      <a:pt x="20" y="15"/>
                      <a:pt x="19" y="12"/>
                    </a:cubicBezTo>
                    <a:cubicBezTo>
                      <a:pt x="19" y="11"/>
                      <a:pt x="18" y="9"/>
                      <a:pt x="17" y="8"/>
                    </a:cubicBezTo>
                    <a:cubicBezTo>
                      <a:pt x="17" y="7"/>
                      <a:pt x="16" y="7"/>
                      <a:pt x="16" y="7"/>
                    </a:cubicBezTo>
                    <a:cubicBezTo>
                      <a:pt x="15" y="7"/>
                      <a:pt x="15" y="7"/>
                      <a:pt x="14" y="7"/>
                    </a:cubicBezTo>
                    <a:cubicBezTo>
                      <a:pt x="13" y="8"/>
                      <a:pt x="11" y="9"/>
                      <a:pt x="10" y="11"/>
                    </a:cubicBezTo>
                    <a:cubicBezTo>
                      <a:pt x="8" y="12"/>
                      <a:pt x="7" y="14"/>
                      <a:pt x="6" y="15"/>
                    </a:cubicBezTo>
                    <a:cubicBezTo>
                      <a:pt x="4" y="18"/>
                      <a:pt x="2" y="19"/>
                      <a:pt x="1" y="19"/>
                    </a:cubicBezTo>
                    <a:close/>
                  </a:path>
                </a:pathLst>
              </a:custGeom>
              <a:solidFill>
                <a:srgbClr val="2B18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0" name="Freeform 1361"/>
              <p:cNvSpPr>
                <a:spLocks/>
              </p:cNvSpPr>
              <p:nvPr/>
            </p:nvSpPr>
            <p:spPr bwMode="auto">
              <a:xfrm>
                <a:off x="5783264" y="11045825"/>
                <a:ext cx="49213" cy="36513"/>
              </a:xfrm>
              <a:custGeom>
                <a:avLst/>
                <a:gdLst>
                  <a:gd name="T0" fmla="*/ 1 w 24"/>
                  <a:gd name="T1" fmla="*/ 17 h 17"/>
                  <a:gd name="T2" fmla="*/ 3 w 24"/>
                  <a:gd name="T3" fmla="*/ 11 h 17"/>
                  <a:gd name="T4" fmla="*/ 6 w 24"/>
                  <a:gd name="T5" fmla="*/ 6 h 17"/>
                  <a:gd name="T6" fmla="*/ 13 w 24"/>
                  <a:gd name="T7" fmla="*/ 0 h 17"/>
                  <a:gd name="T8" fmla="*/ 19 w 24"/>
                  <a:gd name="T9" fmla="*/ 1 h 17"/>
                  <a:gd name="T10" fmla="*/ 23 w 24"/>
                  <a:gd name="T11" fmla="*/ 4 h 17"/>
                  <a:gd name="T12" fmla="*/ 24 w 24"/>
                  <a:gd name="T13" fmla="*/ 11 h 17"/>
                  <a:gd name="T14" fmla="*/ 22 w 24"/>
                  <a:gd name="T15" fmla="*/ 17 h 17"/>
                  <a:gd name="T16" fmla="*/ 20 w 24"/>
                  <a:gd name="T17" fmla="*/ 12 h 17"/>
                  <a:gd name="T18" fmla="*/ 18 w 24"/>
                  <a:gd name="T19" fmla="*/ 7 h 17"/>
                  <a:gd name="T20" fmla="*/ 17 w 24"/>
                  <a:gd name="T21" fmla="*/ 6 h 17"/>
                  <a:gd name="T22" fmla="*/ 15 w 24"/>
                  <a:gd name="T23" fmla="*/ 6 h 17"/>
                  <a:gd name="T24" fmla="*/ 10 w 24"/>
                  <a:gd name="T25" fmla="*/ 10 h 17"/>
                  <a:gd name="T26" fmla="*/ 6 w 24"/>
                  <a:gd name="T27" fmla="*/ 13 h 17"/>
                  <a:gd name="T28" fmla="*/ 1 w 24"/>
                  <a:gd name="T2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7">
                    <a:moveTo>
                      <a:pt x="1" y="17"/>
                    </a:moveTo>
                    <a:cubicBezTo>
                      <a:pt x="0" y="16"/>
                      <a:pt x="1" y="14"/>
                      <a:pt x="3" y="11"/>
                    </a:cubicBezTo>
                    <a:cubicBezTo>
                      <a:pt x="3" y="9"/>
                      <a:pt x="5" y="7"/>
                      <a:pt x="6" y="6"/>
                    </a:cubicBezTo>
                    <a:cubicBezTo>
                      <a:pt x="8" y="4"/>
                      <a:pt x="10" y="2"/>
                      <a:pt x="13" y="0"/>
                    </a:cubicBezTo>
                    <a:cubicBezTo>
                      <a:pt x="15" y="0"/>
                      <a:pt x="17" y="0"/>
                      <a:pt x="19" y="1"/>
                    </a:cubicBezTo>
                    <a:cubicBezTo>
                      <a:pt x="21" y="1"/>
                      <a:pt x="22" y="3"/>
                      <a:pt x="23" y="4"/>
                    </a:cubicBezTo>
                    <a:cubicBezTo>
                      <a:pt x="24" y="7"/>
                      <a:pt x="24" y="10"/>
                      <a:pt x="24" y="11"/>
                    </a:cubicBezTo>
                    <a:cubicBezTo>
                      <a:pt x="24" y="15"/>
                      <a:pt x="22" y="17"/>
                      <a:pt x="22" y="17"/>
                    </a:cubicBezTo>
                    <a:cubicBezTo>
                      <a:pt x="21" y="17"/>
                      <a:pt x="20" y="15"/>
                      <a:pt x="20" y="12"/>
                    </a:cubicBezTo>
                    <a:cubicBezTo>
                      <a:pt x="19" y="10"/>
                      <a:pt x="19" y="8"/>
                      <a:pt x="18" y="7"/>
                    </a:cubicBezTo>
                    <a:cubicBezTo>
                      <a:pt x="18" y="7"/>
                      <a:pt x="17" y="6"/>
                      <a:pt x="17" y="6"/>
                    </a:cubicBezTo>
                    <a:cubicBezTo>
                      <a:pt x="16" y="6"/>
                      <a:pt x="16" y="6"/>
                      <a:pt x="15" y="6"/>
                    </a:cubicBezTo>
                    <a:cubicBezTo>
                      <a:pt x="14" y="7"/>
                      <a:pt x="12" y="8"/>
                      <a:pt x="10" y="10"/>
                    </a:cubicBezTo>
                    <a:cubicBezTo>
                      <a:pt x="9" y="11"/>
                      <a:pt x="7" y="12"/>
                      <a:pt x="6" y="13"/>
                    </a:cubicBezTo>
                    <a:cubicBezTo>
                      <a:pt x="4" y="16"/>
                      <a:pt x="2" y="17"/>
                      <a:pt x="1" y="17"/>
                    </a:cubicBezTo>
                    <a:close/>
                  </a:path>
                </a:pathLst>
              </a:custGeom>
              <a:solidFill>
                <a:srgbClr val="2B18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1" name="Freeform 1362"/>
              <p:cNvSpPr>
                <a:spLocks noEditPoints="1"/>
              </p:cNvSpPr>
              <p:nvPr/>
            </p:nvSpPr>
            <p:spPr bwMode="auto">
              <a:xfrm>
                <a:off x="5591176" y="11020425"/>
                <a:ext cx="301625" cy="104775"/>
              </a:xfrm>
              <a:custGeom>
                <a:avLst/>
                <a:gdLst>
                  <a:gd name="T0" fmla="*/ 53 w 145"/>
                  <a:gd name="T1" fmla="*/ 6 h 50"/>
                  <a:gd name="T2" fmla="*/ 62 w 145"/>
                  <a:gd name="T3" fmla="*/ 18 h 50"/>
                  <a:gd name="T4" fmla="*/ 56 w 145"/>
                  <a:gd name="T5" fmla="*/ 35 h 50"/>
                  <a:gd name="T6" fmla="*/ 30 w 145"/>
                  <a:gd name="T7" fmla="*/ 47 h 50"/>
                  <a:gd name="T8" fmla="*/ 20 w 145"/>
                  <a:gd name="T9" fmla="*/ 45 h 50"/>
                  <a:gd name="T10" fmla="*/ 15 w 145"/>
                  <a:gd name="T11" fmla="*/ 7 h 50"/>
                  <a:gd name="T12" fmla="*/ 30 w 145"/>
                  <a:gd name="T13" fmla="*/ 3 h 50"/>
                  <a:gd name="T14" fmla="*/ 84 w 145"/>
                  <a:gd name="T15" fmla="*/ 11 h 50"/>
                  <a:gd name="T16" fmla="*/ 88 w 145"/>
                  <a:gd name="T17" fmla="*/ 8 h 50"/>
                  <a:gd name="T18" fmla="*/ 133 w 145"/>
                  <a:gd name="T19" fmla="*/ 11 h 50"/>
                  <a:gd name="T20" fmla="*/ 133 w 145"/>
                  <a:gd name="T21" fmla="*/ 35 h 50"/>
                  <a:gd name="T22" fmla="*/ 108 w 145"/>
                  <a:gd name="T23" fmla="*/ 47 h 50"/>
                  <a:gd name="T24" fmla="*/ 93 w 145"/>
                  <a:gd name="T25" fmla="*/ 42 h 50"/>
                  <a:gd name="T26" fmla="*/ 91 w 145"/>
                  <a:gd name="T27" fmla="*/ 40 h 50"/>
                  <a:gd name="T28" fmla="*/ 83 w 145"/>
                  <a:gd name="T29" fmla="*/ 18 h 50"/>
                  <a:gd name="T30" fmla="*/ 0 w 145"/>
                  <a:gd name="T31" fmla="*/ 12 h 50"/>
                  <a:gd name="T32" fmla="*/ 2 w 145"/>
                  <a:gd name="T33" fmla="*/ 14 h 50"/>
                  <a:gd name="T34" fmla="*/ 5 w 145"/>
                  <a:gd name="T35" fmla="*/ 24 h 50"/>
                  <a:gd name="T36" fmla="*/ 10 w 145"/>
                  <a:gd name="T37" fmla="*/ 40 h 50"/>
                  <a:gd name="T38" fmla="*/ 13 w 145"/>
                  <a:gd name="T39" fmla="*/ 43 h 50"/>
                  <a:gd name="T40" fmla="*/ 30 w 145"/>
                  <a:gd name="T41" fmla="*/ 50 h 50"/>
                  <a:gd name="T42" fmla="*/ 65 w 145"/>
                  <a:gd name="T43" fmla="*/ 23 h 50"/>
                  <a:gd name="T44" fmla="*/ 71 w 145"/>
                  <a:gd name="T45" fmla="*/ 16 h 50"/>
                  <a:gd name="T46" fmla="*/ 79 w 145"/>
                  <a:gd name="T47" fmla="*/ 23 h 50"/>
                  <a:gd name="T48" fmla="*/ 95 w 145"/>
                  <a:gd name="T49" fmla="*/ 47 h 50"/>
                  <a:gd name="T50" fmla="*/ 130 w 145"/>
                  <a:gd name="T51" fmla="*/ 45 h 50"/>
                  <a:gd name="T52" fmla="*/ 135 w 145"/>
                  <a:gd name="T53" fmla="*/ 38 h 50"/>
                  <a:gd name="T54" fmla="*/ 144 w 145"/>
                  <a:gd name="T55" fmla="*/ 13 h 50"/>
                  <a:gd name="T56" fmla="*/ 139 w 145"/>
                  <a:gd name="T57" fmla="*/ 3 h 50"/>
                  <a:gd name="T58" fmla="*/ 99 w 145"/>
                  <a:gd name="T59" fmla="*/ 1 h 50"/>
                  <a:gd name="T60" fmla="*/ 73 w 145"/>
                  <a:gd name="T61" fmla="*/ 6 h 50"/>
                  <a:gd name="T62" fmla="*/ 47 w 145"/>
                  <a:gd name="T63" fmla="*/ 1 h 50"/>
                  <a:gd name="T64" fmla="*/ 6 w 145"/>
                  <a:gd name="T65"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5" h="50">
                    <a:moveTo>
                      <a:pt x="30" y="3"/>
                    </a:moveTo>
                    <a:cubicBezTo>
                      <a:pt x="38" y="3"/>
                      <a:pt x="45" y="3"/>
                      <a:pt x="53" y="6"/>
                    </a:cubicBezTo>
                    <a:cubicBezTo>
                      <a:pt x="56" y="7"/>
                      <a:pt x="59" y="9"/>
                      <a:pt x="61" y="12"/>
                    </a:cubicBezTo>
                    <a:cubicBezTo>
                      <a:pt x="62" y="14"/>
                      <a:pt x="62" y="16"/>
                      <a:pt x="62" y="18"/>
                    </a:cubicBezTo>
                    <a:cubicBezTo>
                      <a:pt x="62" y="22"/>
                      <a:pt x="60" y="27"/>
                      <a:pt x="59" y="31"/>
                    </a:cubicBezTo>
                    <a:cubicBezTo>
                      <a:pt x="58" y="32"/>
                      <a:pt x="57" y="34"/>
                      <a:pt x="56" y="35"/>
                    </a:cubicBezTo>
                    <a:cubicBezTo>
                      <a:pt x="52" y="42"/>
                      <a:pt x="45" y="47"/>
                      <a:pt x="36" y="47"/>
                    </a:cubicBezTo>
                    <a:cubicBezTo>
                      <a:pt x="30" y="47"/>
                      <a:pt x="30" y="47"/>
                      <a:pt x="30" y="47"/>
                    </a:cubicBezTo>
                    <a:cubicBezTo>
                      <a:pt x="29" y="47"/>
                      <a:pt x="28" y="47"/>
                      <a:pt x="27" y="47"/>
                    </a:cubicBezTo>
                    <a:cubicBezTo>
                      <a:pt x="25" y="47"/>
                      <a:pt x="22" y="46"/>
                      <a:pt x="20" y="45"/>
                    </a:cubicBezTo>
                    <a:cubicBezTo>
                      <a:pt x="16" y="43"/>
                      <a:pt x="13" y="40"/>
                      <a:pt x="11" y="36"/>
                    </a:cubicBezTo>
                    <a:cubicBezTo>
                      <a:pt x="8" y="28"/>
                      <a:pt x="8" y="12"/>
                      <a:pt x="15" y="7"/>
                    </a:cubicBezTo>
                    <a:cubicBezTo>
                      <a:pt x="16" y="6"/>
                      <a:pt x="17" y="6"/>
                      <a:pt x="18" y="5"/>
                    </a:cubicBezTo>
                    <a:cubicBezTo>
                      <a:pt x="21" y="4"/>
                      <a:pt x="26" y="3"/>
                      <a:pt x="30" y="3"/>
                    </a:cubicBezTo>
                    <a:close/>
                    <a:moveTo>
                      <a:pt x="83" y="18"/>
                    </a:moveTo>
                    <a:cubicBezTo>
                      <a:pt x="83" y="15"/>
                      <a:pt x="83" y="13"/>
                      <a:pt x="84" y="11"/>
                    </a:cubicBezTo>
                    <a:cubicBezTo>
                      <a:pt x="85" y="10"/>
                      <a:pt x="85" y="10"/>
                      <a:pt x="87" y="9"/>
                    </a:cubicBezTo>
                    <a:cubicBezTo>
                      <a:pt x="87" y="8"/>
                      <a:pt x="87" y="8"/>
                      <a:pt x="88" y="8"/>
                    </a:cubicBezTo>
                    <a:cubicBezTo>
                      <a:pt x="95" y="3"/>
                      <a:pt x="104" y="4"/>
                      <a:pt x="113" y="4"/>
                    </a:cubicBezTo>
                    <a:cubicBezTo>
                      <a:pt x="120" y="4"/>
                      <a:pt x="130" y="5"/>
                      <a:pt x="133" y="11"/>
                    </a:cubicBezTo>
                    <a:cubicBezTo>
                      <a:pt x="135" y="14"/>
                      <a:pt x="134" y="16"/>
                      <a:pt x="135" y="19"/>
                    </a:cubicBezTo>
                    <a:cubicBezTo>
                      <a:pt x="135" y="24"/>
                      <a:pt x="134" y="31"/>
                      <a:pt x="133" y="35"/>
                    </a:cubicBezTo>
                    <a:cubicBezTo>
                      <a:pt x="130" y="43"/>
                      <a:pt x="125" y="46"/>
                      <a:pt x="117" y="47"/>
                    </a:cubicBezTo>
                    <a:cubicBezTo>
                      <a:pt x="115" y="47"/>
                      <a:pt x="110" y="48"/>
                      <a:pt x="108" y="47"/>
                    </a:cubicBezTo>
                    <a:cubicBezTo>
                      <a:pt x="107" y="47"/>
                      <a:pt x="106" y="47"/>
                      <a:pt x="104" y="47"/>
                    </a:cubicBezTo>
                    <a:cubicBezTo>
                      <a:pt x="100" y="46"/>
                      <a:pt x="97" y="45"/>
                      <a:pt x="93" y="42"/>
                    </a:cubicBezTo>
                    <a:cubicBezTo>
                      <a:pt x="92" y="40"/>
                      <a:pt x="92" y="40"/>
                      <a:pt x="92" y="40"/>
                    </a:cubicBezTo>
                    <a:cubicBezTo>
                      <a:pt x="91" y="40"/>
                      <a:pt x="91" y="40"/>
                      <a:pt x="91" y="40"/>
                    </a:cubicBezTo>
                    <a:cubicBezTo>
                      <a:pt x="87" y="36"/>
                      <a:pt x="85" y="31"/>
                      <a:pt x="84" y="26"/>
                    </a:cubicBezTo>
                    <a:cubicBezTo>
                      <a:pt x="83" y="24"/>
                      <a:pt x="83" y="20"/>
                      <a:pt x="83" y="18"/>
                    </a:cubicBezTo>
                    <a:close/>
                    <a:moveTo>
                      <a:pt x="0" y="6"/>
                    </a:moveTo>
                    <a:cubicBezTo>
                      <a:pt x="0" y="12"/>
                      <a:pt x="0" y="12"/>
                      <a:pt x="0" y="12"/>
                    </a:cubicBezTo>
                    <a:cubicBezTo>
                      <a:pt x="0" y="13"/>
                      <a:pt x="0" y="13"/>
                      <a:pt x="1" y="14"/>
                    </a:cubicBezTo>
                    <a:cubicBezTo>
                      <a:pt x="1" y="14"/>
                      <a:pt x="1" y="14"/>
                      <a:pt x="2" y="14"/>
                    </a:cubicBezTo>
                    <a:cubicBezTo>
                      <a:pt x="4" y="16"/>
                      <a:pt x="4" y="18"/>
                      <a:pt x="5" y="20"/>
                    </a:cubicBezTo>
                    <a:cubicBezTo>
                      <a:pt x="5" y="21"/>
                      <a:pt x="5" y="22"/>
                      <a:pt x="5" y="24"/>
                    </a:cubicBezTo>
                    <a:cubicBezTo>
                      <a:pt x="6" y="26"/>
                      <a:pt x="6" y="28"/>
                      <a:pt x="7" y="31"/>
                    </a:cubicBezTo>
                    <a:cubicBezTo>
                      <a:pt x="8" y="34"/>
                      <a:pt x="8" y="37"/>
                      <a:pt x="10" y="40"/>
                    </a:cubicBezTo>
                    <a:cubicBezTo>
                      <a:pt x="11" y="41"/>
                      <a:pt x="11" y="42"/>
                      <a:pt x="12" y="42"/>
                    </a:cubicBezTo>
                    <a:cubicBezTo>
                      <a:pt x="12" y="43"/>
                      <a:pt x="13" y="43"/>
                      <a:pt x="13" y="43"/>
                    </a:cubicBezTo>
                    <a:cubicBezTo>
                      <a:pt x="15" y="45"/>
                      <a:pt x="14" y="45"/>
                      <a:pt x="17" y="46"/>
                    </a:cubicBezTo>
                    <a:cubicBezTo>
                      <a:pt x="20" y="48"/>
                      <a:pt x="26" y="50"/>
                      <a:pt x="30" y="50"/>
                    </a:cubicBezTo>
                    <a:cubicBezTo>
                      <a:pt x="37" y="50"/>
                      <a:pt x="42" y="49"/>
                      <a:pt x="48" y="46"/>
                    </a:cubicBezTo>
                    <a:cubicBezTo>
                      <a:pt x="57" y="42"/>
                      <a:pt x="62" y="32"/>
                      <a:pt x="65" y="23"/>
                    </a:cubicBezTo>
                    <a:cubicBezTo>
                      <a:pt x="65" y="22"/>
                      <a:pt x="66" y="21"/>
                      <a:pt x="66" y="20"/>
                    </a:cubicBezTo>
                    <a:cubicBezTo>
                      <a:pt x="67" y="18"/>
                      <a:pt x="69" y="16"/>
                      <a:pt x="71" y="16"/>
                    </a:cubicBezTo>
                    <a:cubicBezTo>
                      <a:pt x="74" y="16"/>
                      <a:pt x="76" y="16"/>
                      <a:pt x="78" y="20"/>
                    </a:cubicBezTo>
                    <a:cubicBezTo>
                      <a:pt x="78" y="21"/>
                      <a:pt x="79" y="22"/>
                      <a:pt x="79" y="23"/>
                    </a:cubicBezTo>
                    <a:cubicBezTo>
                      <a:pt x="81" y="28"/>
                      <a:pt x="83" y="34"/>
                      <a:pt x="86" y="38"/>
                    </a:cubicBezTo>
                    <a:cubicBezTo>
                      <a:pt x="88" y="41"/>
                      <a:pt x="91" y="45"/>
                      <a:pt x="95" y="47"/>
                    </a:cubicBezTo>
                    <a:cubicBezTo>
                      <a:pt x="102" y="50"/>
                      <a:pt x="107" y="50"/>
                      <a:pt x="114" y="50"/>
                    </a:cubicBezTo>
                    <a:cubicBezTo>
                      <a:pt x="119" y="50"/>
                      <a:pt x="126" y="48"/>
                      <a:pt x="130" y="45"/>
                    </a:cubicBezTo>
                    <a:cubicBezTo>
                      <a:pt x="132" y="43"/>
                      <a:pt x="131" y="44"/>
                      <a:pt x="132" y="43"/>
                    </a:cubicBezTo>
                    <a:cubicBezTo>
                      <a:pt x="133" y="42"/>
                      <a:pt x="135" y="39"/>
                      <a:pt x="135" y="38"/>
                    </a:cubicBezTo>
                    <a:cubicBezTo>
                      <a:pt x="138" y="30"/>
                      <a:pt x="139" y="21"/>
                      <a:pt x="140" y="17"/>
                    </a:cubicBezTo>
                    <a:cubicBezTo>
                      <a:pt x="142" y="13"/>
                      <a:pt x="144" y="15"/>
                      <a:pt x="144" y="13"/>
                    </a:cubicBezTo>
                    <a:cubicBezTo>
                      <a:pt x="144" y="12"/>
                      <a:pt x="145" y="5"/>
                      <a:pt x="144" y="5"/>
                    </a:cubicBezTo>
                    <a:cubicBezTo>
                      <a:pt x="144" y="4"/>
                      <a:pt x="140" y="3"/>
                      <a:pt x="139" y="3"/>
                    </a:cubicBezTo>
                    <a:cubicBezTo>
                      <a:pt x="122" y="1"/>
                      <a:pt x="122" y="1"/>
                      <a:pt x="122" y="1"/>
                    </a:cubicBezTo>
                    <a:cubicBezTo>
                      <a:pt x="115" y="0"/>
                      <a:pt x="107" y="0"/>
                      <a:pt x="99" y="1"/>
                    </a:cubicBezTo>
                    <a:cubicBezTo>
                      <a:pt x="92" y="2"/>
                      <a:pt x="89" y="3"/>
                      <a:pt x="82" y="5"/>
                    </a:cubicBezTo>
                    <a:cubicBezTo>
                      <a:pt x="79" y="5"/>
                      <a:pt x="76" y="6"/>
                      <a:pt x="73" y="6"/>
                    </a:cubicBezTo>
                    <a:cubicBezTo>
                      <a:pt x="66" y="6"/>
                      <a:pt x="62" y="5"/>
                      <a:pt x="55" y="3"/>
                    </a:cubicBezTo>
                    <a:cubicBezTo>
                      <a:pt x="52" y="2"/>
                      <a:pt x="50" y="2"/>
                      <a:pt x="47" y="1"/>
                    </a:cubicBezTo>
                    <a:cubicBezTo>
                      <a:pt x="38" y="0"/>
                      <a:pt x="32" y="1"/>
                      <a:pt x="23" y="1"/>
                    </a:cubicBezTo>
                    <a:cubicBezTo>
                      <a:pt x="6" y="3"/>
                      <a:pt x="6" y="3"/>
                      <a:pt x="6" y="3"/>
                    </a:cubicBezTo>
                    <a:cubicBezTo>
                      <a:pt x="1" y="3"/>
                      <a:pt x="0" y="2"/>
                      <a:pt x="0" y="6"/>
                    </a:cubicBezTo>
                    <a:close/>
                  </a:path>
                </a:pathLst>
              </a:custGeom>
              <a:solidFill>
                <a:srgbClr val="2B18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2" name="Freeform 1363"/>
              <p:cNvSpPr>
                <a:spLocks/>
              </p:cNvSpPr>
              <p:nvPr/>
            </p:nvSpPr>
            <p:spPr bwMode="auto">
              <a:xfrm>
                <a:off x="5791201" y="11995150"/>
                <a:ext cx="125413" cy="139700"/>
              </a:xfrm>
              <a:custGeom>
                <a:avLst/>
                <a:gdLst>
                  <a:gd name="T0" fmla="*/ 52 w 60"/>
                  <a:gd name="T1" fmla="*/ 57 h 67"/>
                  <a:gd name="T2" fmla="*/ 12 w 60"/>
                  <a:gd name="T3" fmla="*/ 65 h 67"/>
                  <a:gd name="T4" fmla="*/ 0 w 60"/>
                  <a:gd name="T5" fmla="*/ 56 h 67"/>
                  <a:gd name="T6" fmla="*/ 0 w 60"/>
                  <a:gd name="T7" fmla="*/ 12 h 67"/>
                  <a:gd name="T8" fmla="*/ 60 w 60"/>
                  <a:gd name="T9" fmla="*/ 0 h 67"/>
                  <a:gd name="T10" fmla="*/ 60 w 60"/>
                  <a:gd name="T11" fmla="*/ 48 h 67"/>
                  <a:gd name="T12" fmla="*/ 52 w 60"/>
                  <a:gd name="T13" fmla="*/ 57 h 67"/>
                </a:gdLst>
                <a:ahLst/>
                <a:cxnLst>
                  <a:cxn ang="0">
                    <a:pos x="T0" y="T1"/>
                  </a:cxn>
                  <a:cxn ang="0">
                    <a:pos x="T2" y="T3"/>
                  </a:cxn>
                  <a:cxn ang="0">
                    <a:pos x="T4" y="T5"/>
                  </a:cxn>
                  <a:cxn ang="0">
                    <a:pos x="T6" y="T7"/>
                  </a:cxn>
                  <a:cxn ang="0">
                    <a:pos x="T8" y="T9"/>
                  </a:cxn>
                  <a:cxn ang="0">
                    <a:pos x="T10" y="T11"/>
                  </a:cxn>
                  <a:cxn ang="0">
                    <a:pos x="T12" y="T13"/>
                  </a:cxn>
                </a:cxnLst>
                <a:rect l="0" t="0" r="r" b="b"/>
                <a:pathLst>
                  <a:path w="60" h="67">
                    <a:moveTo>
                      <a:pt x="52" y="57"/>
                    </a:moveTo>
                    <a:cubicBezTo>
                      <a:pt x="12" y="65"/>
                      <a:pt x="12" y="65"/>
                      <a:pt x="12" y="65"/>
                    </a:cubicBezTo>
                    <a:cubicBezTo>
                      <a:pt x="6" y="67"/>
                      <a:pt x="0" y="62"/>
                      <a:pt x="0" y="56"/>
                    </a:cubicBezTo>
                    <a:cubicBezTo>
                      <a:pt x="0" y="12"/>
                      <a:pt x="0" y="12"/>
                      <a:pt x="0" y="12"/>
                    </a:cubicBezTo>
                    <a:cubicBezTo>
                      <a:pt x="60" y="0"/>
                      <a:pt x="60" y="0"/>
                      <a:pt x="60" y="0"/>
                    </a:cubicBezTo>
                    <a:cubicBezTo>
                      <a:pt x="60" y="48"/>
                      <a:pt x="60" y="48"/>
                      <a:pt x="60" y="48"/>
                    </a:cubicBezTo>
                    <a:cubicBezTo>
                      <a:pt x="60" y="52"/>
                      <a:pt x="57" y="56"/>
                      <a:pt x="52" y="57"/>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3" name="Freeform 1364"/>
              <p:cNvSpPr>
                <a:spLocks/>
              </p:cNvSpPr>
              <p:nvPr/>
            </p:nvSpPr>
            <p:spPr bwMode="auto">
              <a:xfrm>
                <a:off x="5780089" y="11976100"/>
                <a:ext cx="147638" cy="60325"/>
              </a:xfrm>
              <a:custGeom>
                <a:avLst/>
                <a:gdLst>
                  <a:gd name="T0" fmla="*/ 93 w 93"/>
                  <a:gd name="T1" fmla="*/ 18 h 38"/>
                  <a:gd name="T2" fmla="*/ 0 w 93"/>
                  <a:gd name="T3" fmla="*/ 38 h 38"/>
                  <a:gd name="T4" fmla="*/ 0 w 93"/>
                  <a:gd name="T5" fmla="*/ 18 h 38"/>
                  <a:gd name="T6" fmla="*/ 93 w 93"/>
                  <a:gd name="T7" fmla="*/ 0 h 38"/>
                  <a:gd name="T8" fmla="*/ 93 w 93"/>
                  <a:gd name="T9" fmla="*/ 18 h 38"/>
                </a:gdLst>
                <a:ahLst/>
                <a:cxnLst>
                  <a:cxn ang="0">
                    <a:pos x="T0" y="T1"/>
                  </a:cxn>
                  <a:cxn ang="0">
                    <a:pos x="T2" y="T3"/>
                  </a:cxn>
                  <a:cxn ang="0">
                    <a:pos x="T4" y="T5"/>
                  </a:cxn>
                  <a:cxn ang="0">
                    <a:pos x="T6" y="T7"/>
                  </a:cxn>
                  <a:cxn ang="0">
                    <a:pos x="T8" y="T9"/>
                  </a:cxn>
                </a:cxnLst>
                <a:rect l="0" t="0" r="r" b="b"/>
                <a:pathLst>
                  <a:path w="93" h="38">
                    <a:moveTo>
                      <a:pt x="93" y="18"/>
                    </a:moveTo>
                    <a:lnTo>
                      <a:pt x="0" y="38"/>
                    </a:lnTo>
                    <a:lnTo>
                      <a:pt x="0" y="18"/>
                    </a:lnTo>
                    <a:lnTo>
                      <a:pt x="93" y="0"/>
                    </a:lnTo>
                    <a:lnTo>
                      <a:pt x="93" y="18"/>
                    </a:lnTo>
                    <a:close/>
                  </a:path>
                </a:pathLst>
              </a:custGeom>
              <a:solidFill>
                <a:srgbClr val="D1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4" name="Freeform 1365"/>
              <p:cNvSpPr>
                <a:spLocks/>
              </p:cNvSpPr>
              <p:nvPr/>
            </p:nvSpPr>
            <p:spPr bwMode="auto">
              <a:xfrm>
                <a:off x="5578476" y="11995150"/>
                <a:ext cx="125413" cy="139700"/>
              </a:xfrm>
              <a:custGeom>
                <a:avLst/>
                <a:gdLst>
                  <a:gd name="T0" fmla="*/ 7 w 60"/>
                  <a:gd name="T1" fmla="*/ 57 h 67"/>
                  <a:gd name="T2" fmla="*/ 48 w 60"/>
                  <a:gd name="T3" fmla="*/ 65 h 67"/>
                  <a:gd name="T4" fmla="*/ 60 w 60"/>
                  <a:gd name="T5" fmla="*/ 56 h 67"/>
                  <a:gd name="T6" fmla="*/ 60 w 60"/>
                  <a:gd name="T7" fmla="*/ 12 h 67"/>
                  <a:gd name="T8" fmla="*/ 0 w 60"/>
                  <a:gd name="T9" fmla="*/ 0 h 67"/>
                  <a:gd name="T10" fmla="*/ 0 w 60"/>
                  <a:gd name="T11" fmla="*/ 48 h 67"/>
                  <a:gd name="T12" fmla="*/ 7 w 60"/>
                  <a:gd name="T13" fmla="*/ 57 h 67"/>
                </a:gdLst>
                <a:ahLst/>
                <a:cxnLst>
                  <a:cxn ang="0">
                    <a:pos x="T0" y="T1"/>
                  </a:cxn>
                  <a:cxn ang="0">
                    <a:pos x="T2" y="T3"/>
                  </a:cxn>
                  <a:cxn ang="0">
                    <a:pos x="T4" y="T5"/>
                  </a:cxn>
                  <a:cxn ang="0">
                    <a:pos x="T6" y="T7"/>
                  </a:cxn>
                  <a:cxn ang="0">
                    <a:pos x="T8" y="T9"/>
                  </a:cxn>
                  <a:cxn ang="0">
                    <a:pos x="T10" y="T11"/>
                  </a:cxn>
                  <a:cxn ang="0">
                    <a:pos x="T12" y="T13"/>
                  </a:cxn>
                </a:cxnLst>
                <a:rect l="0" t="0" r="r" b="b"/>
                <a:pathLst>
                  <a:path w="60" h="67">
                    <a:moveTo>
                      <a:pt x="7" y="57"/>
                    </a:moveTo>
                    <a:cubicBezTo>
                      <a:pt x="48" y="65"/>
                      <a:pt x="48" y="65"/>
                      <a:pt x="48" y="65"/>
                    </a:cubicBezTo>
                    <a:cubicBezTo>
                      <a:pt x="54" y="67"/>
                      <a:pt x="60" y="62"/>
                      <a:pt x="60" y="56"/>
                    </a:cubicBezTo>
                    <a:cubicBezTo>
                      <a:pt x="60" y="12"/>
                      <a:pt x="60" y="12"/>
                      <a:pt x="60" y="12"/>
                    </a:cubicBezTo>
                    <a:cubicBezTo>
                      <a:pt x="0" y="0"/>
                      <a:pt x="0" y="0"/>
                      <a:pt x="0" y="0"/>
                    </a:cubicBezTo>
                    <a:cubicBezTo>
                      <a:pt x="0" y="48"/>
                      <a:pt x="0" y="48"/>
                      <a:pt x="0" y="48"/>
                    </a:cubicBezTo>
                    <a:cubicBezTo>
                      <a:pt x="0" y="52"/>
                      <a:pt x="3" y="56"/>
                      <a:pt x="7" y="57"/>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5" name="Freeform 1366"/>
              <p:cNvSpPr>
                <a:spLocks/>
              </p:cNvSpPr>
              <p:nvPr/>
            </p:nvSpPr>
            <p:spPr bwMode="auto">
              <a:xfrm>
                <a:off x="5565776" y="11976100"/>
                <a:ext cx="147638" cy="60325"/>
              </a:xfrm>
              <a:custGeom>
                <a:avLst/>
                <a:gdLst>
                  <a:gd name="T0" fmla="*/ 0 w 93"/>
                  <a:gd name="T1" fmla="*/ 18 h 38"/>
                  <a:gd name="T2" fmla="*/ 93 w 93"/>
                  <a:gd name="T3" fmla="*/ 38 h 38"/>
                  <a:gd name="T4" fmla="*/ 93 w 93"/>
                  <a:gd name="T5" fmla="*/ 18 h 38"/>
                  <a:gd name="T6" fmla="*/ 0 w 93"/>
                  <a:gd name="T7" fmla="*/ 0 h 38"/>
                  <a:gd name="T8" fmla="*/ 0 w 93"/>
                  <a:gd name="T9" fmla="*/ 18 h 38"/>
                </a:gdLst>
                <a:ahLst/>
                <a:cxnLst>
                  <a:cxn ang="0">
                    <a:pos x="T0" y="T1"/>
                  </a:cxn>
                  <a:cxn ang="0">
                    <a:pos x="T2" y="T3"/>
                  </a:cxn>
                  <a:cxn ang="0">
                    <a:pos x="T4" y="T5"/>
                  </a:cxn>
                  <a:cxn ang="0">
                    <a:pos x="T6" y="T7"/>
                  </a:cxn>
                  <a:cxn ang="0">
                    <a:pos x="T8" y="T9"/>
                  </a:cxn>
                </a:cxnLst>
                <a:rect l="0" t="0" r="r" b="b"/>
                <a:pathLst>
                  <a:path w="93" h="38">
                    <a:moveTo>
                      <a:pt x="0" y="18"/>
                    </a:moveTo>
                    <a:lnTo>
                      <a:pt x="93" y="38"/>
                    </a:lnTo>
                    <a:lnTo>
                      <a:pt x="93" y="18"/>
                    </a:lnTo>
                    <a:lnTo>
                      <a:pt x="0" y="0"/>
                    </a:lnTo>
                    <a:lnTo>
                      <a:pt x="0" y="18"/>
                    </a:lnTo>
                    <a:close/>
                  </a:path>
                </a:pathLst>
              </a:custGeom>
              <a:solidFill>
                <a:srgbClr val="D1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76" name="กลุ่ม 212"/>
            <p:cNvGrpSpPr/>
            <p:nvPr/>
          </p:nvGrpSpPr>
          <p:grpSpPr>
            <a:xfrm rot="2860967">
              <a:off x="8565169" y="1982853"/>
              <a:ext cx="1100582" cy="1861052"/>
              <a:chOff x="10737851" y="7862888"/>
              <a:chExt cx="457200" cy="773112"/>
            </a:xfrm>
          </p:grpSpPr>
          <p:sp>
            <p:nvSpPr>
              <p:cNvPr id="77" name="Oval 1390"/>
              <p:cNvSpPr>
                <a:spLocks noChangeArrowheads="1"/>
              </p:cNvSpPr>
              <p:nvPr/>
            </p:nvSpPr>
            <p:spPr bwMode="auto">
              <a:xfrm>
                <a:off x="10737851" y="8178800"/>
                <a:ext cx="457200" cy="457200"/>
              </a:xfrm>
              <a:prstGeom prst="ellipse">
                <a:avLst/>
              </a:prstGeom>
              <a:solidFill>
                <a:srgbClr val="BBE4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8" name="Freeform 1391"/>
              <p:cNvSpPr>
                <a:spLocks/>
              </p:cNvSpPr>
              <p:nvPr/>
            </p:nvSpPr>
            <p:spPr bwMode="auto">
              <a:xfrm>
                <a:off x="10775951" y="8382000"/>
                <a:ext cx="384175" cy="217488"/>
              </a:xfrm>
              <a:custGeom>
                <a:avLst/>
                <a:gdLst>
                  <a:gd name="T0" fmla="*/ 0 w 184"/>
                  <a:gd name="T1" fmla="*/ 0 h 104"/>
                  <a:gd name="T2" fmla="*/ 0 w 184"/>
                  <a:gd name="T3" fmla="*/ 12 h 104"/>
                  <a:gd name="T4" fmla="*/ 92 w 184"/>
                  <a:gd name="T5" fmla="*/ 104 h 104"/>
                  <a:gd name="T6" fmla="*/ 184 w 184"/>
                  <a:gd name="T7" fmla="*/ 12 h 104"/>
                  <a:gd name="T8" fmla="*/ 183 w 184"/>
                  <a:gd name="T9" fmla="*/ 0 h 104"/>
                  <a:gd name="T10" fmla="*/ 0 w 184"/>
                  <a:gd name="T11" fmla="*/ 0 h 104"/>
                </a:gdLst>
                <a:ahLst/>
                <a:cxnLst>
                  <a:cxn ang="0">
                    <a:pos x="T0" y="T1"/>
                  </a:cxn>
                  <a:cxn ang="0">
                    <a:pos x="T2" y="T3"/>
                  </a:cxn>
                  <a:cxn ang="0">
                    <a:pos x="T4" y="T5"/>
                  </a:cxn>
                  <a:cxn ang="0">
                    <a:pos x="T6" y="T7"/>
                  </a:cxn>
                  <a:cxn ang="0">
                    <a:pos x="T8" y="T9"/>
                  </a:cxn>
                  <a:cxn ang="0">
                    <a:pos x="T10" y="T11"/>
                  </a:cxn>
                </a:cxnLst>
                <a:rect l="0" t="0" r="r" b="b"/>
                <a:pathLst>
                  <a:path w="184" h="104">
                    <a:moveTo>
                      <a:pt x="0" y="0"/>
                    </a:moveTo>
                    <a:cubicBezTo>
                      <a:pt x="0" y="4"/>
                      <a:pt x="0" y="8"/>
                      <a:pt x="0" y="12"/>
                    </a:cubicBezTo>
                    <a:cubicBezTo>
                      <a:pt x="0" y="63"/>
                      <a:pt x="41" y="104"/>
                      <a:pt x="92" y="104"/>
                    </a:cubicBezTo>
                    <a:cubicBezTo>
                      <a:pt x="142" y="104"/>
                      <a:pt x="184" y="63"/>
                      <a:pt x="184" y="12"/>
                    </a:cubicBezTo>
                    <a:cubicBezTo>
                      <a:pt x="184" y="8"/>
                      <a:pt x="184" y="4"/>
                      <a:pt x="183" y="0"/>
                    </a:cubicBezTo>
                    <a:lnTo>
                      <a:pt x="0" y="0"/>
                    </a:lnTo>
                    <a:close/>
                  </a:path>
                </a:pathLst>
              </a:custGeom>
              <a:solidFill>
                <a:srgbClr val="F057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9" name="Freeform 1392"/>
              <p:cNvSpPr>
                <a:spLocks/>
              </p:cNvSpPr>
              <p:nvPr/>
            </p:nvSpPr>
            <p:spPr bwMode="auto">
              <a:xfrm>
                <a:off x="10888663" y="7915275"/>
                <a:ext cx="158750" cy="298450"/>
              </a:xfrm>
              <a:custGeom>
                <a:avLst/>
                <a:gdLst>
                  <a:gd name="T0" fmla="*/ 38 w 76"/>
                  <a:gd name="T1" fmla="*/ 143 h 143"/>
                  <a:gd name="T2" fmla="*/ 38 w 76"/>
                  <a:gd name="T3" fmla="*/ 143 h 143"/>
                  <a:gd name="T4" fmla="*/ 0 w 76"/>
                  <a:gd name="T5" fmla="*/ 133 h 143"/>
                  <a:gd name="T6" fmla="*/ 0 w 76"/>
                  <a:gd name="T7" fmla="*/ 12 h 143"/>
                  <a:gd name="T8" fmla="*/ 38 w 76"/>
                  <a:gd name="T9" fmla="*/ 0 h 143"/>
                  <a:gd name="T10" fmla="*/ 38 w 76"/>
                  <a:gd name="T11" fmla="*/ 0 h 143"/>
                  <a:gd name="T12" fmla="*/ 76 w 76"/>
                  <a:gd name="T13" fmla="*/ 12 h 143"/>
                  <a:gd name="T14" fmla="*/ 76 w 76"/>
                  <a:gd name="T15" fmla="*/ 133 h 143"/>
                  <a:gd name="T16" fmla="*/ 38 w 76"/>
                  <a:gd name="T1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43">
                    <a:moveTo>
                      <a:pt x="38" y="143"/>
                    </a:moveTo>
                    <a:cubicBezTo>
                      <a:pt x="38" y="143"/>
                      <a:pt x="38" y="143"/>
                      <a:pt x="38" y="143"/>
                    </a:cubicBezTo>
                    <a:cubicBezTo>
                      <a:pt x="17" y="143"/>
                      <a:pt x="0" y="133"/>
                      <a:pt x="0" y="133"/>
                    </a:cubicBezTo>
                    <a:cubicBezTo>
                      <a:pt x="0" y="12"/>
                      <a:pt x="0" y="12"/>
                      <a:pt x="0" y="12"/>
                    </a:cubicBezTo>
                    <a:cubicBezTo>
                      <a:pt x="0" y="12"/>
                      <a:pt x="17" y="0"/>
                      <a:pt x="38" y="0"/>
                    </a:cubicBezTo>
                    <a:cubicBezTo>
                      <a:pt x="38" y="0"/>
                      <a:pt x="38" y="0"/>
                      <a:pt x="38" y="0"/>
                    </a:cubicBezTo>
                    <a:cubicBezTo>
                      <a:pt x="58" y="0"/>
                      <a:pt x="76" y="12"/>
                      <a:pt x="76" y="12"/>
                    </a:cubicBezTo>
                    <a:cubicBezTo>
                      <a:pt x="76" y="133"/>
                      <a:pt x="76" y="133"/>
                      <a:pt x="76" y="133"/>
                    </a:cubicBezTo>
                    <a:cubicBezTo>
                      <a:pt x="76" y="133"/>
                      <a:pt x="58" y="143"/>
                      <a:pt x="38" y="143"/>
                    </a:cubicBezTo>
                    <a:close/>
                  </a:path>
                </a:pathLst>
              </a:custGeom>
              <a:solidFill>
                <a:srgbClr val="90D4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0" name="Oval 1393"/>
              <p:cNvSpPr>
                <a:spLocks noChangeArrowheads="1"/>
              </p:cNvSpPr>
              <p:nvPr/>
            </p:nvSpPr>
            <p:spPr bwMode="auto">
              <a:xfrm>
                <a:off x="10841038" y="7862888"/>
                <a:ext cx="252413" cy="104775"/>
              </a:xfrm>
              <a:prstGeom prst="ellipse">
                <a:avLst/>
              </a:prstGeom>
              <a:solidFill>
                <a:srgbClr val="BBE4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1" name="Oval 1394"/>
              <p:cNvSpPr>
                <a:spLocks noChangeArrowheads="1"/>
              </p:cNvSpPr>
              <p:nvPr/>
            </p:nvSpPr>
            <p:spPr bwMode="auto">
              <a:xfrm>
                <a:off x="10898188" y="7899400"/>
                <a:ext cx="136525" cy="15875"/>
              </a:xfrm>
              <a:prstGeom prst="ellipse">
                <a:avLst/>
              </a:prstGeom>
              <a:solidFill>
                <a:srgbClr val="6E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2" name="Oval 1395"/>
              <p:cNvSpPr>
                <a:spLocks noChangeArrowheads="1"/>
              </p:cNvSpPr>
              <p:nvPr/>
            </p:nvSpPr>
            <p:spPr bwMode="auto">
              <a:xfrm>
                <a:off x="10775951" y="8339138"/>
                <a:ext cx="382588" cy="84138"/>
              </a:xfrm>
              <a:prstGeom prst="ellipse">
                <a:avLst/>
              </a:prstGeom>
              <a:solidFill>
                <a:srgbClr val="F377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3" name="Freeform 1396"/>
              <p:cNvSpPr>
                <a:spLocks/>
              </p:cNvSpPr>
              <p:nvPr/>
            </p:nvSpPr>
            <p:spPr bwMode="auto">
              <a:xfrm>
                <a:off x="10777538" y="8229600"/>
                <a:ext cx="117475" cy="122238"/>
              </a:xfrm>
              <a:custGeom>
                <a:avLst/>
                <a:gdLst>
                  <a:gd name="T0" fmla="*/ 48 w 56"/>
                  <a:gd name="T1" fmla="*/ 0 h 59"/>
                  <a:gd name="T2" fmla="*/ 44 w 56"/>
                  <a:gd name="T3" fmla="*/ 1 h 59"/>
                  <a:gd name="T4" fmla="*/ 1 w 56"/>
                  <a:gd name="T5" fmla="*/ 49 h 59"/>
                  <a:gd name="T6" fmla="*/ 5 w 56"/>
                  <a:gd name="T7" fmla="*/ 58 h 59"/>
                  <a:gd name="T8" fmla="*/ 8 w 56"/>
                  <a:gd name="T9" fmla="*/ 59 h 59"/>
                  <a:gd name="T10" fmla="*/ 14 w 56"/>
                  <a:gd name="T11" fmla="*/ 54 h 59"/>
                  <a:gd name="T12" fmla="*/ 51 w 56"/>
                  <a:gd name="T13" fmla="*/ 13 h 59"/>
                  <a:gd name="T14" fmla="*/ 54 w 56"/>
                  <a:gd name="T15" fmla="*/ 3 h 59"/>
                  <a:gd name="T16" fmla="*/ 48 w 56"/>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9">
                    <a:moveTo>
                      <a:pt x="48" y="0"/>
                    </a:moveTo>
                    <a:cubicBezTo>
                      <a:pt x="47" y="0"/>
                      <a:pt x="45" y="0"/>
                      <a:pt x="44" y="1"/>
                    </a:cubicBezTo>
                    <a:cubicBezTo>
                      <a:pt x="25" y="12"/>
                      <a:pt x="10" y="29"/>
                      <a:pt x="1" y="49"/>
                    </a:cubicBezTo>
                    <a:cubicBezTo>
                      <a:pt x="0" y="52"/>
                      <a:pt x="1" y="57"/>
                      <a:pt x="5" y="58"/>
                    </a:cubicBezTo>
                    <a:cubicBezTo>
                      <a:pt x="6" y="58"/>
                      <a:pt x="7" y="59"/>
                      <a:pt x="8" y="59"/>
                    </a:cubicBezTo>
                    <a:cubicBezTo>
                      <a:pt x="10" y="59"/>
                      <a:pt x="13" y="57"/>
                      <a:pt x="14" y="54"/>
                    </a:cubicBezTo>
                    <a:cubicBezTo>
                      <a:pt x="22" y="37"/>
                      <a:pt x="35" y="22"/>
                      <a:pt x="51" y="13"/>
                    </a:cubicBezTo>
                    <a:cubicBezTo>
                      <a:pt x="55" y="11"/>
                      <a:pt x="56" y="7"/>
                      <a:pt x="54" y="3"/>
                    </a:cubicBezTo>
                    <a:cubicBezTo>
                      <a:pt x="53" y="1"/>
                      <a:pt x="50" y="0"/>
                      <a:pt x="48" y="0"/>
                    </a:cubicBezTo>
                  </a:path>
                </a:pathLst>
              </a:custGeom>
              <a:solidFill>
                <a:srgbClr val="D5E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84" name="กลุ่ม 220"/>
            <p:cNvGrpSpPr/>
            <p:nvPr/>
          </p:nvGrpSpPr>
          <p:grpSpPr>
            <a:xfrm rot="1636920">
              <a:off x="8578107" y="1717177"/>
              <a:ext cx="519814" cy="1053723"/>
              <a:chOff x="5037139" y="12546013"/>
              <a:chExt cx="468313" cy="949325"/>
            </a:xfrm>
          </p:grpSpPr>
          <p:sp>
            <p:nvSpPr>
              <p:cNvPr id="85" name="Rectangle 1402"/>
              <p:cNvSpPr>
                <a:spLocks noChangeArrowheads="1"/>
              </p:cNvSpPr>
              <p:nvPr/>
            </p:nvSpPr>
            <p:spPr bwMode="auto">
              <a:xfrm>
                <a:off x="5118101" y="12546013"/>
                <a:ext cx="307975" cy="165100"/>
              </a:xfrm>
              <a:prstGeom prst="rect">
                <a:avLst/>
              </a:prstGeom>
              <a:solidFill>
                <a:srgbClr val="D1CC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6" name="Rectangle 1403"/>
              <p:cNvSpPr>
                <a:spLocks noChangeArrowheads="1"/>
              </p:cNvSpPr>
              <p:nvPr/>
            </p:nvSpPr>
            <p:spPr bwMode="auto">
              <a:xfrm>
                <a:off x="5118101" y="12647613"/>
                <a:ext cx="307975" cy="63500"/>
              </a:xfrm>
              <a:prstGeom prst="rect">
                <a:avLst/>
              </a:prstGeom>
              <a:solidFill>
                <a:srgbClr val="9491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7" name="Freeform 1404"/>
              <p:cNvSpPr>
                <a:spLocks/>
              </p:cNvSpPr>
              <p:nvPr/>
            </p:nvSpPr>
            <p:spPr bwMode="auto">
              <a:xfrm>
                <a:off x="5037139" y="12695238"/>
                <a:ext cx="468313" cy="800100"/>
              </a:xfrm>
              <a:custGeom>
                <a:avLst/>
                <a:gdLst>
                  <a:gd name="T0" fmla="*/ 152 w 224"/>
                  <a:gd name="T1" fmla="*/ 383 h 383"/>
                  <a:gd name="T2" fmla="*/ 72 w 224"/>
                  <a:gd name="T3" fmla="*/ 383 h 383"/>
                  <a:gd name="T4" fmla="*/ 0 w 224"/>
                  <a:gd name="T5" fmla="*/ 311 h 383"/>
                  <a:gd name="T6" fmla="*/ 0 w 224"/>
                  <a:gd name="T7" fmla="*/ 37 h 383"/>
                  <a:gd name="T8" fmla="*/ 37 w 224"/>
                  <a:gd name="T9" fmla="*/ 0 h 383"/>
                  <a:gd name="T10" fmla="*/ 188 w 224"/>
                  <a:gd name="T11" fmla="*/ 0 h 383"/>
                  <a:gd name="T12" fmla="*/ 224 w 224"/>
                  <a:gd name="T13" fmla="*/ 37 h 383"/>
                  <a:gd name="T14" fmla="*/ 224 w 224"/>
                  <a:gd name="T15" fmla="*/ 311 h 383"/>
                  <a:gd name="T16" fmla="*/ 152 w 224"/>
                  <a:gd name="T17" fmla="*/ 383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383">
                    <a:moveTo>
                      <a:pt x="152" y="383"/>
                    </a:moveTo>
                    <a:cubicBezTo>
                      <a:pt x="72" y="383"/>
                      <a:pt x="72" y="383"/>
                      <a:pt x="72" y="383"/>
                    </a:cubicBezTo>
                    <a:cubicBezTo>
                      <a:pt x="33" y="383"/>
                      <a:pt x="0" y="351"/>
                      <a:pt x="0" y="311"/>
                    </a:cubicBezTo>
                    <a:cubicBezTo>
                      <a:pt x="0" y="37"/>
                      <a:pt x="0" y="37"/>
                      <a:pt x="0" y="37"/>
                    </a:cubicBezTo>
                    <a:cubicBezTo>
                      <a:pt x="0" y="16"/>
                      <a:pt x="17" y="0"/>
                      <a:pt x="37" y="0"/>
                    </a:cubicBezTo>
                    <a:cubicBezTo>
                      <a:pt x="188" y="0"/>
                      <a:pt x="188" y="0"/>
                      <a:pt x="188" y="0"/>
                    </a:cubicBezTo>
                    <a:cubicBezTo>
                      <a:pt x="208" y="0"/>
                      <a:pt x="224" y="16"/>
                      <a:pt x="224" y="37"/>
                    </a:cubicBezTo>
                    <a:cubicBezTo>
                      <a:pt x="224" y="311"/>
                      <a:pt x="224" y="311"/>
                      <a:pt x="224" y="311"/>
                    </a:cubicBezTo>
                    <a:cubicBezTo>
                      <a:pt x="224" y="351"/>
                      <a:pt x="192" y="383"/>
                      <a:pt x="152" y="383"/>
                    </a:cubicBezTo>
                    <a:close/>
                  </a:path>
                </a:pathLst>
              </a:custGeom>
              <a:solidFill>
                <a:srgbClr val="EAEA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8" name="Rectangle 1405"/>
              <p:cNvSpPr>
                <a:spLocks noChangeArrowheads="1"/>
              </p:cNvSpPr>
              <p:nvPr/>
            </p:nvSpPr>
            <p:spPr bwMode="auto">
              <a:xfrm>
                <a:off x="5037139" y="12834938"/>
                <a:ext cx="468313" cy="515938"/>
              </a:xfrm>
              <a:prstGeom prst="rect">
                <a:avLst/>
              </a:prstGeom>
              <a:solidFill>
                <a:srgbClr val="D1CC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9" name="Freeform 1406"/>
              <p:cNvSpPr>
                <a:spLocks/>
              </p:cNvSpPr>
              <p:nvPr/>
            </p:nvSpPr>
            <p:spPr bwMode="auto">
              <a:xfrm>
                <a:off x="5053014" y="12873038"/>
                <a:ext cx="436563" cy="438150"/>
              </a:xfrm>
              <a:custGeom>
                <a:avLst/>
                <a:gdLst>
                  <a:gd name="T0" fmla="*/ 191 w 209"/>
                  <a:gd name="T1" fmla="*/ 139 h 210"/>
                  <a:gd name="T2" fmla="*/ 138 w 209"/>
                  <a:gd name="T3" fmla="*/ 191 h 210"/>
                  <a:gd name="T4" fmla="*/ 71 w 209"/>
                  <a:gd name="T5" fmla="*/ 191 h 210"/>
                  <a:gd name="T6" fmla="*/ 18 w 209"/>
                  <a:gd name="T7" fmla="*/ 139 h 210"/>
                  <a:gd name="T8" fmla="*/ 18 w 209"/>
                  <a:gd name="T9" fmla="*/ 71 h 210"/>
                  <a:gd name="T10" fmla="*/ 71 w 209"/>
                  <a:gd name="T11" fmla="*/ 19 h 210"/>
                  <a:gd name="T12" fmla="*/ 138 w 209"/>
                  <a:gd name="T13" fmla="*/ 19 h 210"/>
                  <a:gd name="T14" fmla="*/ 191 w 209"/>
                  <a:gd name="T15" fmla="*/ 71 h 210"/>
                  <a:gd name="T16" fmla="*/ 191 w 209"/>
                  <a:gd name="T17" fmla="*/ 13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9" h="210">
                    <a:moveTo>
                      <a:pt x="191" y="139"/>
                    </a:moveTo>
                    <a:cubicBezTo>
                      <a:pt x="138" y="191"/>
                      <a:pt x="138" y="191"/>
                      <a:pt x="138" y="191"/>
                    </a:cubicBezTo>
                    <a:cubicBezTo>
                      <a:pt x="119" y="210"/>
                      <a:pt x="89" y="210"/>
                      <a:pt x="71" y="191"/>
                    </a:cubicBezTo>
                    <a:cubicBezTo>
                      <a:pt x="18" y="139"/>
                      <a:pt x="18" y="139"/>
                      <a:pt x="18" y="139"/>
                    </a:cubicBezTo>
                    <a:cubicBezTo>
                      <a:pt x="0" y="120"/>
                      <a:pt x="0" y="90"/>
                      <a:pt x="18" y="71"/>
                    </a:cubicBezTo>
                    <a:cubicBezTo>
                      <a:pt x="71" y="19"/>
                      <a:pt x="71" y="19"/>
                      <a:pt x="71" y="19"/>
                    </a:cubicBezTo>
                    <a:cubicBezTo>
                      <a:pt x="89" y="0"/>
                      <a:pt x="119" y="0"/>
                      <a:pt x="138" y="19"/>
                    </a:cubicBezTo>
                    <a:cubicBezTo>
                      <a:pt x="191" y="71"/>
                      <a:pt x="191" y="71"/>
                      <a:pt x="191" y="71"/>
                    </a:cubicBezTo>
                    <a:cubicBezTo>
                      <a:pt x="209" y="90"/>
                      <a:pt x="209" y="120"/>
                      <a:pt x="191" y="139"/>
                    </a:cubicBezTo>
                    <a:close/>
                  </a:path>
                </a:pathLst>
              </a:custGeom>
              <a:solidFill>
                <a:srgbClr val="EAEA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90" name="กลุ่ม 226"/>
            <p:cNvGrpSpPr/>
            <p:nvPr/>
          </p:nvGrpSpPr>
          <p:grpSpPr>
            <a:xfrm rot="20498067">
              <a:off x="6635701" y="4037426"/>
              <a:ext cx="2999570" cy="2287174"/>
              <a:chOff x="3178176" y="14203363"/>
              <a:chExt cx="889000" cy="677863"/>
            </a:xfrm>
          </p:grpSpPr>
          <p:sp>
            <p:nvSpPr>
              <p:cNvPr id="91" name="Freeform 1521"/>
              <p:cNvSpPr>
                <a:spLocks/>
              </p:cNvSpPr>
              <p:nvPr/>
            </p:nvSpPr>
            <p:spPr bwMode="auto">
              <a:xfrm>
                <a:off x="3560763" y="14319251"/>
                <a:ext cx="73025" cy="179388"/>
              </a:xfrm>
              <a:custGeom>
                <a:avLst/>
                <a:gdLst>
                  <a:gd name="T0" fmla="*/ 35 w 35"/>
                  <a:gd name="T1" fmla="*/ 68 h 86"/>
                  <a:gd name="T2" fmla="*/ 18 w 35"/>
                  <a:gd name="T3" fmla="*/ 86 h 86"/>
                  <a:gd name="T4" fmla="*/ 0 w 35"/>
                  <a:gd name="T5" fmla="*/ 68 h 86"/>
                  <a:gd name="T6" fmla="*/ 0 w 35"/>
                  <a:gd name="T7" fmla="*/ 18 h 86"/>
                  <a:gd name="T8" fmla="*/ 18 w 35"/>
                  <a:gd name="T9" fmla="*/ 0 h 86"/>
                  <a:gd name="T10" fmla="*/ 35 w 35"/>
                  <a:gd name="T11" fmla="*/ 18 h 86"/>
                  <a:gd name="T12" fmla="*/ 35 w 35"/>
                  <a:gd name="T13" fmla="*/ 68 h 86"/>
                </a:gdLst>
                <a:ahLst/>
                <a:cxnLst>
                  <a:cxn ang="0">
                    <a:pos x="T0" y="T1"/>
                  </a:cxn>
                  <a:cxn ang="0">
                    <a:pos x="T2" y="T3"/>
                  </a:cxn>
                  <a:cxn ang="0">
                    <a:pos x="T4" y="T5"/>
                  </a:cxn>
                  <a:cxn ang="0">
                    <a:pos x="T6" y="T7"/>
                  </a:cxn>
                  <a:cxn ang="0">
                    <a:pos x="T8" y="T9"/>
                  </a:cxn>
                  <a:cxn ang="0">
                    <a:pos x="T10" y="T11"/>
                  </a:cxn>
                  <a:cxn ang="0">
                    <a:pos x="T12" y="T13"/>
                  </a:cxn>
                </a:cxnLst>
                <a:rect l="0" t="0" r="r" b="b"/>
                <a:pathLst>
                  <a:path w="35" h="86">
                    <a:moveTo>
                      <a:pt x="35" y="68"/>
                    </a:moveTo>
                    <a:cubicBezTo>
                      <a:pt x="35" y="78"/>
                      <a:pt x="27" y="86"/>
                      <a:pt x="18" y="86"/>
                    </a:cubicBezTo>
                    <a:cubicBezTo>
                      <a:pt x="8" y="86"/>
                      <a:pt x="0" y="78"/>
                      <a:pt x="0" y="68"/>
                    </a:cubicBezTo>
                    <a:cubicBezTo>
                      <a:pt x="0" y="18"/>
                      <a:pt x="0" y="18"/>
                      <a:pt x="0" y="18"/>
                    </a:cubicBezTo>
                    <a:cubicBezTo>
                      <a:pt x="0" y="8"/>
                      <a:pt x="8" y="0"/>
                      <a:pt x="18" y="0"/>
                    </a:cubicBezTo>
                    <a:cubicBezTo>
                      <a:pt x="27" y="0"/>
                      <a:pt x="35" y="8"/>
                      <a:pt x="35" y="18"/>
                    </a:cubicBezTo>
                    <a:lnTo>
                      <a:pt x="35" y="68"/>
                    </a:lnTo>
                    <a:close/>
                  </a:path>
                </a:pathLst>
              </a:custGeom>
              <a:solidFill>
                <a:srgbClr val="F15A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2" name="Freeform 1522"/>
              <p:cNvSpPr>
                <a:spLocks/>
              </p:cNvSpPr>
              <p:nvPr/>
            </p:nvSpPr>
            <p:spPr bwMode="auto">
              <a:xfrm>
                <a:off x="3587751" y="14203363"/>
                <a:ext cx="19050" cy="98425"/>
              </a:xfrm>
              <a:custGeom>
                <a:avLst/>
                <a:gdLst>
                  <a:gd name="T0" fmla="*/ 5 w 9"/>
                  <a:gd name="T1" fmla="*/ 0 h 47"/>
                  <a:gd name="T2" fmla="*/ 0 w 9"/>
                  <a:gd name="T3" fmla="*/ 4 h 47"/>
                  <a:gd name="T4" fmla="*/ 0 w 9"/>
                  <a:gd name="T5" fmla="*/ 42 h 47"/>
                  <a:gd name="T6" fmla="*/ 5 w 9"/>
                  <a:gd name="T7" fmla="*/ 47 h 47"/>
                  <a:gd name="T8" fmla="*/ 9 w 9"/>
                  <a:gd name="T9" fmla="*/ 42 h 47"/>
                  <a:gd name="T10" fmla="*/ 9 w 9"/>
                  <a:gd name="T11" fmla="*/ 4 h 47"/>
                  <a:gd name="T12" fmla="*/ 5 w 9"/>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9" h="47">
                    <a:moveTo>
                      <a:pt x="5" y="0"/>
                    </a:moveTo>
                    <a:cubicBezTo>
                      <a:pt x="2" y="0"/>
                      <a:pt x="0" y="2"/>
                      <a:pt x="0" y="4"/>
                    </a:cubicBezTo>
                    <a:cubicBezTo>
                      <a:pt x="0" y="42"/>
                      <a:pt x="0" y="42"/>
                      <a:pt x="0" y="42"/>
                    </a:cubicBezTo>
                    <a:cubicBezTo>
                      <a:pt x="0" y="45"/>
                      <a:pt x="2" y="47"/>
                      <a:pt x="5" y="47"/>
                    </a:cubicBezTo>
                    <a:cubicBezTo>
                      <a:pt x="7" y="47"/>
                      <a:pt x="9" y="45"/>
                      <a:pt x="9" y="42"/>
                    </a:cubicBezTo>
                    <a:cubicBezTo>
                      <a:pt x="9" y="4"/>
                      <a:pt x="9" y="4"/>
                      <a:pt x="9" y="4"/>
                    </a:cubicBezTo>
                    <a:cubicBezTo>
                      <a:pt x="9" y="2"/>
                      <a:pt x="7" y="0"/>
                      <a:pt x="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3" name="Freeform 1523"/>
              <p:cNvSpPr>
                <a:spLocks/>
              </p:cNvSpPr>
              <p:nvPr/>
            </p:nvSpPr>
            <p:spPr bwMode="auto">
              <a:xfrm>
                <a:off x="3465513" y="14243051"/>
                <a:ext cx="76200" cy="76200"/>
              </a:xfrm>
              <a:custGeom>
                <a:avLst/>
                <a:gdLst>
                  <a:gd name="T0" fmla="*/ 5 w 37"/>
                  <a:gd name="T1" fmla="*/ 0 h 36"/>
                  <a:gd name="T2" fmla="*/ 2 w 37"/>
                  <a:gd name="T3" fmla="*/ 2 h 36"/>
                  <a:gd name="T4" fmla="*/ 2 w 37"/>
                  <a:gd name="T5" fmla="*/ 8 h 36"/>
                  <a:gd name="T6" fmla="*/ 29 w 37"/>
                  <a:gd name="T7" fmla="*/ 35 h 36"/>
                  <a:gd name="T8" fmla="*/ 32 w 37"/>
                  <a:gd name="T9" fmla="*/ 36 h 36"/>
                  <a:gd name="T10" fmla="*/ 35 w 37"/>
                  <a:gd name="T11" fmla="*/ 35 h 36"/>
                  <a:gd name="T12" fmla="*/ 35 w 37"/>
                  <a:gd name="T13" fmla="*/ 29 h 36"/>
                  <a:gd name="T14" fmla="*/ 8 w 37"/>
                  <a:gd name="T15" fmla="*/ 2 h 36"/>
                  <a:gd name="T16" fmla="*/ 5 w 37"/>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6">
                    <a:moveTo>
                      <a:pt x="5" y="0"/>
                    </a:moveTo>
                    <a:cubicBezTo>
                      <a:pt x="4" y="0"/>
                      <a:pt x="3" y="1"/>
                      <a:pt x="2" y="2"/>
                    </a:cubicBezTo>
                    <a:cubicBezTo>
                      <a:pt x="0" y="3"/>
                      <a:pt x="0" y="6"/>
                      <a:pt x="2" y="8"/>
                    </a:cubicBezTo>
                    <a:cubicBezTo>
                      <a:pt x="29" y="35"/>
                      <a:pt x="29" y="35"/>
                      <a:pt x="29" y="35"/>
                    </a:cubicBezTo>
                    <a:cubicBezTo>
                      <a:pt x="30" y="36"/>
                      <a:pt x="31" y="36"/>
                      <a:pt x="32" y="36"/>
                    </a:cubicBezTo>
                    <a:cubicBezTo>
                      <a:pt x="33" y="36"/>
                      <a:pt x="34" y="36"/>
                      <a:pt x="35" y="35"/>
                    </a:cubicBezTo>
                    <a:cubicBezTo>
                      <a:pt x="37" y="33"/>
                      <a:pt x="37" y="30"/>
                      <a:pt x="35" y="29"/>
                    </a:cubicBezTo>
                    <a:cubicBezTo>
                      <a:pt x="8" y="2"/>
                      <a:pt x="8" y="2"/>
                      <a:pt x="8" y="2"/>
                    </a:cubicBezTo>
                    <a:cubicBezTo>
                      <a:pt x="7" y="1"/>
                      <a:pt x="6" y="0"/>
                      <a:pt x="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4" name="Freeform 1524"/>
              <p:cNvSpPr>
                <a:spLocks/>
              </p:cNvSpPr>
              <p:nvPr/>
            </p:nvSpPr>
            <p:spPr bwMode="auto">
              <a:xfrm>
                <a:off x="3652838" y="14243051"/>
                <a:ext cx="77788" cy="76200"/>
              </a:xfrm>
              <a:custGeom>
                <a:avLst/>
                <a:gdLst>
                  <a:gd name="T0" fmla="*/ 32 w 37"/>
                  <a:gd name="T1" fmla="*/ 0 h 36"/>
                  <a:gd name="T2" fmla="*/ 29 w 37"/>
                  <a:gd name="T3" fmla="*/ 2 h 36"/>
                  <a:gd name="T4" fmla="*/ 2 w 37"/>
                  <a:gd name="T5" fmla="*/ 29 h 36"/>
                  <a:gd name="T6" fmla="*/ 2 w 37"/>
                  <a:gd name="T7" fmla="*/ 35 h 36"/>
                  <a:gd name="T8" fmla="*/ 5 w 37"/>
                  <a:gd name="T9" fmla="*/ 36 h 36"/>
                  <a:gd name="T10" fmla="*/ 8 w 37"/>
                  <a:gd name="T11" fmla="*/ 35 h 36"/>
                  <a:gd name="T12" fmla="*/ 35 w 37"/>
                  <a:gd name="T13" fmla="*/ 8 h 36"/>
                  <a:gd name="T14" fmla="*/ 35 w 37"/>
                  <a:gd name="T15" fmla="*/ 2 h 36"/>
                  <a:gd name="T16" fmla="*/ 32 w 37"/>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6">
                    <a:moveTo>
                      <a:pt x="32" y="0"/>
                    </a:moveTo>
                    <a:cubicBezTo>
                      <a:pt x="31" y="0"/>
                      <a:pt x="30" y="1"/>
                      <a:pt x="29" y="2"/>
                    </a:cubicBezTo>
                    <a:cubicBezTo>
                      <a:pt x="2" y="29"/>
                      <a:pt x="2" y="29"/>
                      <a:pt x="2" y="29"/>
                    </a:cubicBezTo>
                    <a:cubicBezTo>
                      <a:pt x="0" y="30"/>
                      <a:pt x="0" y="33"/>
                      <a:pt x="2" y="35"/>
                    </a:cubicBezTo>
                    <a:cubicBezTo>
                      <a:pt x="3" y="36"/>
                      <a:pt x="4" y="36"/>
                      <a:pt x="5" y="36"/>
                    </a:cubicBezTo>
                    <a:cubicBezTo>
                      <a:pt x="6" y="36"/>
                      <a:pt x="8" y="36"/>
                      <a:pt x="8" y="35"/>
                    </a:cubicBezTo>
                    <a:cubicBezTo>
                      <a:pt x="35" y="8"/>
                      <a:pt x="35" y="8"/>
                      <a:pt x="35" y="8"/>
                    </a:cubicBezTo>
                    <a:cubicBezTo>
                      <a:pt x="37" y="6"/>
                      <a:pt x="37" y="3"/>
                      <a:pt x="35" y="2"/>
                    </a:cubicBezTo>
                    <a:cubicBezTo>
                      <a:pt x="35" y="1"/>
                      <a:pt x="33" y="0"/>
                      <a:pt x="3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5" name="Freeform 1525"/>
              <p:cNvSpPr>
                <a:spLocks/>
              </p:cNvSpPr>
              <p:nvPr/>
            </p:nvSpPr>
            <p:spPr bwMode="auto">
              <a:xfrm>
                <a:off x="3690938" y="14478001"/>
                <a:ext cx="376238" cy="317500"/>
              </a:xfrm>
              <a:custGeom>
                <a:avLst/>
                <a:gdLst>
                  <a:gd name="T0" fmla="*/ 25 w 237"/>
                  <a:gd name="T1" fmla="*/ 200 h 200"/>
                  <a:gd name="T2" fmla="*/ 237 w 237"/>
                  <a:gd name="T3" fmla="*/ 200 h 200"/>
                  <a:gd name="T4" fmla="*/ 237 w 237"/>
                  <a:gd name="T5" fmla="*/ 114 h 200"/>
                  <a:gd name="T6" fmla="*/ 164 w 237"/>
                  <a:gd name="T7" fmla="*/ 87 h 200"/>
                  <a:gd name="T8" fmla="*/ 105 w 237"/>
                  <a:gd name="T9" fmla="*/ 0 h 200"/>
                  <a:gd name="T10" fmla="*/ 0 w 237"/>
                  <a:gd name="T11" fmla="*/ 0 h 200"/>
                  <a:gd name="T12" fmla="*/ 0 w 237"/>
                  <a:gd name="T13" fmla="*/ 200 h 200"/>
                  <a:gd name="T14" fmla="*/ 25 w 237"/>
                  <a:gd name="T15" fmla="*/ 200 h 2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200">
                    <a:moveTo>
                      <a:pt x="25" y="200"/>
                    </a:moveTo>
                    <a:lnTo>
                      <a:pt x="237" y="200"/>
                    </a:lnTo>
                    <a:lnTo>
                      <a:pt x="237" y="114"/>
                    </a:lnTo>
                    <a:lnTo>
                      <a:pt x="164" y="87"/>
                    </a:lnTo>
                    <a:lnTo>
                      <a:pt x="105" y="0"/>
                    </a:lnTo>
                    <a:lnTo>
                      <a:pt x="0" y="0"/>
                    </a:lnTo>
                    <a:lnTo>
                      <a:pt x="0" y="200"/>
                    </a:lnTo>
                    <a:lnTo>
                      <a:pt x="25" y="200"/>
                    </a:lnTo>
                    <a:close/>
                  </a:path>
                </a:pathLst>
              </a:custGeom>
              <a:solidFill>
                <a:srgbClr val="F15A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6" name="Freeform 1526"/>
              <p:cNvSpPr>
                <a:spLocks/>
              </p:cNvSpPr>
              <p:nvPr/>
            </p:nvSpPr>
            <p:spPr bwMode="auto">
              <a:xfrm>
                <a:off x="3768726" y="14512926"/>
                <a:ext cx="136525" cy="100013"/>
              </a:xfrm>
              <a:custGeom>
                <a:avLst/>
                <a:gdLst>
                  <a:gd name="T0" fmla="*/ 0 w 86"/>
                  <a:gd name="T1" fmla="*/ 0 h 63"/>
                  <a:gd name="T2" fmla="*/ 0 w 86"/>
                  <a:gd name="T3" fmla="*/ 63 h 63"/>
                  <a:gd name="T4" fmla="*/ 86 w 86"/>
                  <a:gd name="T5" fmla="*/ 63 h 63"/>
                  <a:gd name="T6" fmla="*/ 43 w 86"/>
                  <a:gd name="T7" fmla="*/ 0 h 63"/>
                  <a:gd name="T8" fmla="*/ 0 w 86"/>
                  <a:gd name="T9" fmla="*/ 0 h 63"/>
                </a:gdLst>
                <a:ahLst/>
                <a:cxnLst>
                  <a:cxn ang="0">
                    <a:pos x="T0" y="T1"/>
                  </a:cxn>
                  <a:cxn ang="0">
                    <a:pos x="T2" y="T3"/>
                  </a:cxn>
                  <a:cxn ang="0">
                    <a:pos x="T4" y="T5"/>
                  </a:cxn>
                  <a:cxn ang="0">
                    <a:pos x="T6" y="T7"/>
                  </a:cxn>
                  <a:cxn ang="0">
                    <a:pos x="T8" y="T9"/>
                  </a:cxn>
                </a:cxnLst>
                <a:rect l="0" t="0" r="r" b="b"/>
                <a:pathLst>
                  <a:path w="86" h="63">
                    <a:moveTo>
                      <a:pt x="0" y="0"/>
                    </a:moveTo>
                    <a:lnTo>
                      <a:pt x="0" y="63"/>
                    </a:lnTo>
                    <a:lnTo>
                      <a:pt x="86" y="63"/>
                    </a:lnTo>
                    <a:lnTo>
                      <a:pt x="4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7" name="Rectangle 1527"/>
              <p:cNvSpPr>
                <a:spLocks noChangeArrowheads="1"/>
              </p:cNvSpPr>
              <p:nvPr/>
            </p:nvSpPr>
            <p:spPr bwMode="auto">
              <a:xfrm>
                <a:off x="3178176" y="14398626"/>
                <a:ext cx="552450" cy="396875"/>
              </a:xfrm>
              <a:prstGeom prst="rect">
                <a:avLst/>
              </a:prstGeom>
              <a:solidFill>
                <a:srgbClr val="FBE4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8" name="Rectangle 1528"/>
              <p:cNvSpPr>
                <a:spLocks noChangeArrowheads="1"/>
              </p:cNvSpPr>
              <p:nvPr/>
            </p:nvSpPr>
            <p:spPr bwMode="auto">
              <a:xfrm>
                <a:off x="3178176" y="14643101"/>
                <a:ext cx="561975" cy="152400"/>
              </a:xfrm>
              <a:prstGeom prst="rect">
                <a:avLst/>
              </a:prstGeom>
              <a:solidFill>
                <a:srgbClr val="F15A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9" name="Oval 1529"/>
              <p:cNvSpPr>
                <a:spLocks noChangeArrowheads="1"/>
              </p:cNvSpPr>
              <p:nvPr/>
            </p:nvSpPr>
            <p:spPr bwMode="auto">
              <a:xfrm>
                <a:off x="3300413" y="14695488"/>
                <a:ext cx="182563" cy="185738"/>
              </a:xfrm>
              <a:prstGeom prst="ellipse">
                <a:avLst/>
              </a:prstGeom>
              <a:solidFill>
                <a:srgbClr val="3F46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0" name="Oval 1530"/>
              <p:cNvSpPr>
                <a:spLocks noChangeArrowheads="1"/>
              </p:cNvSpPr>
              <p:nvPr/>
            </p:nvSpPr>
            <p:spPr bwMode="auto">
              <a:xfrm>
                <a:off x="3346451" y="14743113"/>
                <a:ext cx="92075" cy="88900"/>
              </a:xfrm>
              <a:prstGeom prst="ellipse">
                <a:avLst/>
              </a:prstGeom>
              <a:solidFill>
                <a:srgbClr val="C2D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1" name="Oval 1531"/>
              <p:cNvSpPr>
                <a:spLocks noChangeArrowheads="1"/>
              </p:cNvSpPr>
              <p:nvPr/>
            </p:nvSpPr>
            <p:spPr bwMode="auto">
              <a:xfrm>
                <a:off x="3370263" y="14765338"/>
                <a:ext cx="42863" cy="44450"/>
              </a:xfrm>
              <a:prstGeom prst="ellipse">
                <a:avLst/>
              </a:prstGeom>
              <a:solidFill>
                <a:srgbClr val="3F46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2" name="Oval 1532"/>
              <p:cNvSpPr>
                <a:spLocks noChangeArrowheads="1"/>
              </p:cNvSpPr>
              <p:nvPr/>
            </p:nvSpPr>
            <p:spPr bwMode="auto">
              <a:xfrm>
                <a:off x="3306763" y="14427201"/>
                <a:ext cx="171450" cy="171450"/>
              </a:xfrm>
              <a:prstGeom prst="ellipse">
                <a:avLst/>
              </a:prstGeom>
              <a:solidFill>
                <a:srgbClr val="F15A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3" name="Freeform 1533"/>
              <p:cNvSpPr>
                <a:spLocks/>
              </p:cNvSpPr>
              <p:nvPr/>
            </p:nvSpPr>
            <p:spPr bwMode="auto">
              <a:xfrm>
                <a:off x="3340101" y="14460538"/>
                <a:ext cx="103188" cy="104775"/>
              </a:xfrm>
              <a:custGeom>
                <a:avLst/>
                <a:gdLst>
                  <a:gd name="T0" fmla="*/ 65 w 65"/>
                  <a:gd name="T1" fmla="*/ 23 h 66"/>
                  <a:gd name="T2" fmla="*/ 43 w 65"/>
                  <a:gd name="T3" fmla="*/ 23 h 66"/>
                  <a:gd name="T4" fmla="*/ 43 w 65"/>
                  <a:gd name="T5" fmla="*/ 0 h 66"/>
                  <a:gd name="T6" fmla="*/ 22 w 65"/>
                  <a:gd name="T7" fmla="*/ 0 h 66"/>
                  <a:gd name="T8" fmla="*/ 22 w 65"/>
                  <a:gd name="T9" fmla="*/ 23 h 66"/>
                  <a:gd name="T10" fmla="*/ 0 w 65"/>
                  <a:gd name="T11" fmla="*/ 23 h 66"/>
                  <a:gd name="T12" fmla="*/ 0 w 65"/>
                  <a:gd name="T13" fmla="*/ 44 h 66"/>
                  <a:gd name="T14" fmla="*/ 22 w 65"/>
                  <a:gd name="T15" fmla="*/ 44 h 66"/>
                  <a:gd name="T16" fmla="*/ 22 w 65"/>
                  <a:gd name="T17" fmla="*/ 66 h 66"/>
                  <a:gd name="T18" fmla="*/ 43 w 65"/>
                  <a:gd name="T19" fmla="*/ 66 h 66"/>
                  <a:gd name="T20" fmla="*/ 43 w 65"/>
                  <a:gd name="T21" fmla="*/ 44 h 66"/>
                  <a:gd name="T22" fmla="*/ 65 w 65"/>
                  <a:gd name="T23" fmla="*/ 44 h 66"/>
                  <a:gd name="T24" fmla="*/ 65 w 65"/>
                  <a:gd name="T25" fmla="*/ 2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6">
                    <a:moveTo>
                      <a:pt x="65" y="23"/>
                    </a:moveTo>
                    <a:lnTo>
                      <a:pt x="43" y="23"/>
                    </a:lnTo>
                    <a:lnTo>
                      <a:pt x="43" y="0"/>
                    </a:lnTo>
                    <a:lnTo>
                      <a:pt x="22" y="0"/>
                    </a:lnTo>
                    <a:lnTo>
                      <a:pt x="22" y="23"/>
                    </a:lnTo>
                    <a:lnTo>
                      <a:pt x="0" y="23"/>
                    </a:lnTo>
                    <a:lnTo>
                      <a:pt x="0" y="44"/>
                    </a:lnTo>
                    <a:lnTo>
                      <a:pt x="22" y="44"/>
                    </a:lnTo>
                    <a:lnTo>
                      <a:pt x="22" y="66"/>
                    </a:lnTo>
                    <a:lnTo>
                      <a:pt x="43" y="66"/>
                    </a:lnTo>
                    <a:lnTo>
                      <a:pt x="43" y="44"/>
                    </a:lnTo>
                    <a:lnTo>
                      <a:pt x="65" y="44"/>
                    </a:lnTo>
                    <a:lnTo>
                      <a:pt x="65"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4" name="Oval 1534"/>
              <p:cNvSpPr>
                <a:spLocks noChangeArrowheads="1"/>
              </p:cNvSpPr>
              <p:nvPr/>
            </p:nvSpPr>
            <p:spPr bwMode="auto">
              <a:xfrm>
                <a:off x="3819526" y="14695488"/>
                <a:ext cx="184150" cy="185738"/>
              </a:xfrm>
              <a:prstGeom prst="ellipse">
                <a:avLst/>
              </a:prstGeom>
              <a:solidFill>
                <a:srgbClr val="3F46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5" name="Oval 1535"/>
              <p:cNvSpPr>
                <a:spLocks noChangeArrowheads="1"/>
              </p:cNvSpPr>
              <p:nvPr/>
            </p:nvSpPr>
            <p:spPr bwMode="auto">
              <a:xfrm>
                <a:off x="3865563" y="14743113"/>
                <a:ext cx="92075" cy="88900"/>
              </a:xfrm>
              <a:prstGeom prst="ellipse">
                <a:avLst/>
              </a:prstGeom>
              <a:solidFill>
                <a:srgbClr val="C2D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6" name="Oval 1536"/>
              <p:cNvSpPr>
                <a:spLocks noChangeArrowheads="1"/>
              </p:cNvSpPr>
              <p:nvPr/>
            </p:nvSpPr>
            <p:spPr bwMode="auto">
              <a:xfrm>
                <a:off x="3889376" y="14765338"/>
                <a:ext cx="44450" cy="44450"/>
              </a:xfrm>
              <a:prstGeom prst="ellipse">
                <a:avLst/>
              </a:prstGeom>
              <a:solidFill>
                <a:srgbClr val="3F46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107" name="กลุ่ม 243"/>
            <p:cNvGrpSpPr/>
            <p:nvPr/>
          </p:nvGrpSpPr>
          <p:grpSpPr>
            <a:xfrm rot="19610118">
              <a:off x="2809896" y="4792276"/>
              <a:ext cx="1623809" cy="1221450"/>
              <a:chOff x="3360738" y="13447713"/>
              <a:chExt cx="538163" cy="404813"/>
            </a:xfrm>
          </p:grpSpPr>
          <p:sp>
            <p:nvSpPr>
              <p:cNvPr id="108" name="Freeform 1553"/>
              <p:cNvSpPr>
                <a:spLocks/>
              </p:cNvSpPr>
              <p:nvPr/>
            </p:nvSpPr>
            <p:spPr bwMode="auto">
              <a:xfrm>
                <a:off x="3394076" y="13447713"/>
                <a:ext cx="493713" cy="314325"/>
              </a:xfrm>
              <a:custGeom>
                <a:avLst/>
                <a:gdLst>
                  <a:gd name="T0" fmla="*/ 222 w 236"/>
                  <a:gd name="T1" fmla="*/ 19 h 151"/>
                  <a:gd name="T2" fmla="*/ 119 w 236"/>
                  <a:gd name="T3" fmla="*/ 19 h 151"/>
                  <a:gd name="T4" fmla="*/ 105 w 236"/>
                  <a:gd name="T5" fmla="*/ 9 h 151"/>
                  <a:gd name="T6" fmla="*/ 88 w 236"/>
                  <a:gd name="T7" fmla="*/ 0 h 151"/>
                  <a:gd name="T8" fmla="*/ 14 w 236"/>
                  <a:gd name="T9" fmla="*/ 0 h 151"/>
                  <a:gd name="T10" fmla="*/ 0 w 236"/>
                  <a:gd name="T11" fmla="*/ 12 h 151"/>
                  <a:gd name="T12" fmla="*/ 2 w 236"/>
                  <a:gd name="T13" fmla="*/ 38 h 151"/>
                  <a:gd name="T14" fmla="*/ 2 w 236"/>
                  <a:gd name="T15" fmla="*/ 38 h 151"/>
                  <a:gd name="T16" fmla="*/ 7 w 236"/>
                  <a:gd name="T17" fmla="*/ 138 h 151"/>
                  <a:gd name="T18" fmla="*/ 17 w 236"/>
                  <a:gd name="T19" fmla="*/ 151 h 151"/>
                  <a:gd name="T20" fmla="*/ 119 w 236"/>
                  <a:gd name="T21" fmla="*/ 151 h 151"/>
                  <a:gd name="T22" fmla="*/ 220 w 236"/>
                  <a:gd name="T23" fmla="*/ 151 h 151"/>
                  <a:gd name="T24" fmla="*/ 230 w 236"/>
                  <a:gd name="T25" fmla="*/ 138 h 151"/>
                  <a:gd name="T26" fmla="*/ 236 w 236"/>
                  <a:gd name="T27" fmla="*/ 28 h 151"/>
                  <a:gd name="T28" fmla="*/ 222 w 236"/>
                  <a:gd name="T29" fmla="*/ 1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6" h="151">
                    <a:moveTo>
                      <a:pt x="222" y="19"/>
                    </a:moveTo>
                    <a:cubicBezTo>
                      <a:pt x="213" y="19"/>
                      <a:pt x="121" y="19"/>
                      <a:pt x="119" y="19"/>
                    </a:cubicBezTo>
                    <a:cubicBezTo>
                      <a:pt x="109" y="18"/>
                      <a:pt x="107" y="15"/>
                      <a:pt x="105" y="9"/>
                    </a:cubicBezTo>
                    <a:cubicBezTo>
                      <a:pt x="103" y="2"/>
                      <a:pt x="101" y="0"/>
                      <a:pt x="88" y="0"/>
                    </a:cubicBezTo>
                    <a:cubicBezTo>
                      <a:pt x="74" y="0"/>
                      <a:pt x="28" y="0"/>
                      <a:pt x="14" y="0"/>
                    </a:cubicBezTo>
                    <a:cubicBezTo>
                      <a:pt x="1" y="0"/>
                      <a:pt x="0" y="7"/>
                      <a:pt x="0" y="12"/>
                    </a:cubicBezTo>
                    <a:cubicBezTo>
                      <a:pt x="1" y="18"/>
                      <a:pt x="2" y="38"/>
                      <a:pt x="2" y="38"/>
                    </a:cubicBezTo>
                    <a:cubicBezTo>
                      <a:pt x="2" y="38"/>
                      <a:pt x="2" y="38"/>
                      <a:pt x="2" y="38"/>
                    </a:cubicBezTo>
                    <a:cubicBezTo>
                      <a:pt x="3" y="64"/>
                      <a:pt x="7" y="128"/>
                      <a:pt x="7" y="138"/>
                    </a:cubicBezTo>
                    <a:cubicBezTo>
                      <a:pt x="7" y="150"/>
                      <a:pt x="11" y="151"/>
                      <a:pt x="17" y="151"/>
                    </a:cubicBezTo>
                    <a:cubicBezTo>
                      <a:pt x="23" y="151"/>
                      <a:pt x="119" y="151"/>
                      <a:pt x="119" y="151"/>
                    </a:cubicBezTo>
                    <a:cubicBezTo>
                      <a:pt x="119" y="151"/>
                      <a:pt x="214" y="151"/>
                      <a:pt x="220" y="151"/>
                    </a:cubicBezTo>
                    <a:cubicBezTo>
                      <a:pt x="226" y="151"/>
                      <a:pt x="230" y="150"/>
                      <a:pt x="230" y="138"/>
                    </a:cubicBezTo>
                    <a:cubicBezTo>
                      <a:pt x="230" y="126"/>
                      <a:pt x="236" y="35"/>
                      <a:pt x="236" y="28"/>
                    </a:cubicBezTo>
                    <a:cubicBezTo>
                      <a:pt x="235" y="21"/>
                      <a:pt x="230" y="19"/>
                      <a:pt x="222" y="19"/>
                    </a:cubicBezTo>
                    <a:close/>
                  </a:path>
                </a:pathLst>
              </a:custGeom>
              <a:solidFill>
                <a:srgbClr val="DC92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9" name="Freeform 1554"/>
              <p:cNvSpPr>
                <a:spLocks/>
              </p:cNvSpPr>
              <p:nvPr/>
            </p:nvSpPr>
            <p:spPr bwMode="auto">
              <a:xfrm>
                <a:off x="3360738" y="13522326"/>
                <a:ext cx="508000" cy="317500"/>
              </a:xfrm>
              <a:custGeom>
                <a:avLst/>
                <a:gdLst>
                  <a:gd name="T0" fmla="*/ 320 w 320"/>
                  <a:gd name="T1" fmla="*/ 200 h 200"/>
                  <a:gd name="T2" fmla="*/ 12 w 320"/>
                  <a:gd name="T3" fmla="*/ 200 h 200"/>
                  <a:gd name="T4" fmla="*/ 0 w 320"/>
                  <a:gd name="T5" fmla="*/ 0 h 200"/>
                  <a:gd name="T6" fmla="*/ 320 w 320"/>
                  <a:gd name="T7" fmla="*/ 0 h 200"/>
                  <a:gd name="T8" fmla="*/ 320 w 320"/>
                  <a:gd name="T9" fmla="*/ 200 h 200"/>
                </a:gdLst>
                <a:ahLst/>
                <a:cxnLst>
                  <a:cxn ang="0">
                    <a:pos x="T0" y="T1"/>
                  </a:cxn>
                  <a:cxn ang="0">
                    <a:pos x="T2" y="T3"/>
                  </a:cxn>
                  <a:cxn ang="0">
                    <a:pos x="T4" y="T5"/>
                  </a:cxn>
                  <a:cxn ang="0">
                    <a:pos x="T6" y="T7"/>
                  </a:cxn>
                  <a:cxn ang="0">
                    <a:pos x="T8" y="T9"/>
                  </a:cxn>
                </a:cxnLst>
                <a:rect l="0" t="0" r="r" b="b"/>
                <a:pathLst>
                  <a:path w="320" h="200">
                    <a:moveTo>
                      <a:pt x="320" y="200"/>
                    </a:moveTo>
                    <a:lnTo>
                      <a:pt x="12" y="200"/>
                    </a:lnTo>
                    <a:lnTo>
                      <a:pt x="0" y="0"/>
                    </a:lnTo>
                    <a:lnTo>
                      <a:pt x="320" y="0"/>
                    </a:lnTo>
                    <a:lnTo>
                      <a:pt x="320" y="200"/>
                    </a:lnTo>
                    <a:close/>
                  </a:path>
                </a:pathLst>
              </a:custGeom>
              <a:solidFill>
                <a:srgbClr val="FBE7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0" name="Freeform 1555"/>
              <p:cNvSpPr>
                <a:spLocks/>
              </p:cNvSpPr>
              <p:nvPr/>
            </p:nvSpPr>
            <p:spPr bwMode="auto">
              <a:xfrm>
                <a:off x="3381376" y="13541376"/>
                <a:ext cx="517525" cy="311150"/>
              </a:xfrm>
              <a:custGeom>
                <a:avLst/>
                <a:gdLst>
                  <a:gd name="T0" fmla="*/ 232 w 248"/>
                  <a:gd name="T1" fmla="*/ 0 h 149"/>
                  <a:gd name="T2" fmla="*/ 124 w 248"/>
                  <a:gd name="T3" fmla="*/ 0 h 149"/>
                  <a:gd name="T4" fmla="*/ 15 w 248"/>
                  <a:gd name="T5" fmla="*/ 0 h 149"/>
                  <a:gd name="T6" fmla="*/ 1 w 248"/>
                  <a:gd name="T7" fmla="*/ 10 h 149"/>
                  <a:gd name="T8" fmla="*/ 6 w 248"/>
                  <a:gd name="T9" fmla="*/ 134 h 149"/>
                  <a:gd name="T10" fmla="*/ 17 w 248"/>
                  <a:gd name="T11" fmla="*/ 149 h 149"/>
                  <a:gd name="T12" fmla="*/ 124 w 248"/>
                  <a:gd name="T13" fmla="*/ 149 h 149"/>
                  <a:gd name="T14" fmla="*/ 231 w 248"/>
                  <a:gd name="T15" fmla="*/ 149 h 149"/>
                  <a:gd name="T16" fmla="*/ 241 w 248"/>
                  <a:gd name="T17" fmla="*/ 134 h 149"/>
                  <a:gd name="T18" fmla="*/ 247 w 248"/>
                  <a:gd name="T19" fmla="*/ 10 h 149"/>
                  <a:gd name="T20" fmla="*/ 232 w 248"/>
                  <a:gd name="T2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149">
                    <a:moveTo>
                      <a:pt x="232" y="0"/>
                    </a:moveTo>
                    <a:cubicBezTo>
                      <a:pt x="224" y="0"/>
                      <a:pt x="124" y="0"/>
                      <a:pt x="124" y="0"/>
                    </a:cubicBezTo>
                    <a:cubicBezTo>
                      <a:pt x="124" y="0"/>
                      <a:pt x="24" y="0"/>
                      <a:pt x="15" y="0"/>
                    </a:cubicBezTo>
                    <a:cubicBezTo>
                      <a:pt x="6" y="0"/>
                      <a:pt x="0" y="3"/>
                      <a:pt x="1" y="10"/>
                    </a:cubicBezTo>
                    <a:cubicBezTo>
                      <a:pt x="1" y="18"/>
                      <a:pt x="6" y="121"/>
                      <a:pt x="6" y="134"/>
                    </a:cubicBezTo>
                    <a:cubicBezTo>
                      <a:pt x="7" y="148"/>
                      <a:pt x="11" y="149"/>
                      <a:pt x="17" y="149"/>
                    </a:cubicBezTo>
                    <a:cubicBezTo>
                      <a:pt x="23" y="149"/>
                      <a:pt x="124" y="149"/>
                      <a:pt x="124" y="149"/>
                    </a:cubicBezTo>
                    <a:cubicBezTo>
                      <a:pt x="124" y="149"/>
                      <a:pt x="224" y="149"/>
                      <a:pt x="231" y="149"/>
                    </a:cubicBezTo>
                    <a:cubicBezTo>
                      <a:pt x="237" y="149"/>
                      <a:pt x="241" y="148"/>
                      <a:pt x="241" y="134"/>
                    </a:cubicBezTo>
                    <a:cubicBezTo>
                      <a:pt x="242" y="121"/>
                      <a:pt x="247" y="18"/>
                      <a:pt x="247" y="10"/>
                    </a:cubicBezTo>
                    <a:cubicBezTo>
                      <a:pt x="248" y="3"/>
                      <a:pt x="241" y="0"/>
                      <a:pt x="232" y="0"/>
                    </a:cubicBezTo>
                    <a:close/>
                  </a:path>
                </a:pathLst>
              </a:custGeom>
              <a:solidFill>
                <a:srgbClr val="F7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1" name="Oval 1556"/>
              <p:cNvSpPr>
                <a:spLocks noChangeArrowheads="1"/>
              </p:cNvSpPr>
              <p:nvPr/>
            </p:nvSpPr>
            <p:spPr bwMode="auto">
              <a:xfrm>
                <a:off x="3540126" y="13603288"/>
                <a:ext cx="200025" cy="201613"/>
              </a:xfrm>
              <a:prstGeom prst="ellipse">
                <a:avLst/>
              </a:prstGeom>
              <a:solidFill>
                <a:srgbClr val="F15A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2" name="Freeform 1557"/>
              <p:cNvSpPr>
                <a:spLocks/>
              </p:cNvSpPr>
              <p:nvPr/>
            </p:nvSpPr>
            <p:spPr bwMode="auto">
              <a:xfrm>
                <a:off x="3578226" y="13641388"/>
                <a:ext cx="125413" cy="125413"/>
              </a:xfrm>
              <a:custGeom>
                <a:avLst/>
                <a:gdLst>
                  <a:gd name="T0" fmla="*/ 79 w 79"/>
                  <a:gd name="T1" fmla="*/ 26 h 79"/>
                  <a:gd name="T2" fmla="*/ 52 w 79"/>
                  <a:gd name="T3" fmla="*/ 26 h 79"/>
                  <a:gd name="T4" fmla="*/ 52 w 79"/>
                  <a:gd name="T5" fmla="*/ 0 h 79"/>
                  <a:gd name="T6" fmla="*/ 26 w 79"/>
                  <a:gd name="T7" fmla="*/ 0 h 79"/>
                  <a:gd name="T8" fmla="*/ 26 w 79"/>
                  <a:gd name="T9" fmla="*/ 26 h 79"/>
                  <a:gd name="T10" fmla="*/ 0 w 79"/>
                  <a:gd name="T11" fmla="*/ 26 h 79"/>
                  <a:gd name="T12" fmla="*/ 0 w 79"/>
                  <a:gd name="T13" fmla="*/ 53 h 79"/>
                  <a:gd name="T14" fmla="*/ 26 w 79"/>
                  <a:gd name="T15" fmla="*/ 53 h 79"/>
                  <a:gd name="T16" fmla="*/ 26 w 79"/>
                  <a:gd name="T17" fmla="*/ 79 h 79"/>
                  <a:gd name="T18" fmla="*/ 52 w 79"/>
                  <a:gd name="T19" fmla="*/ 79 h 79"/>
                  <a:gd name="T20" fmla="*/ 52 w 79"/>
                  <a:gd name="T21" fmla="*/ 53 h 79"/>
                  <a:gd name="T22" fmla="*/ 79 w 79"/>
                  <a:gd name="T23" fmla="*/ 53 h 79"/>
                  <a:gd name="T24" fmla="*/ 79 w 79"/>
                  <a:gd name="T25" fmla="*/ 2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79">
                    <a:moveTo>
                      <a:pt x="79" y="26"/>
                    </a:moveTo>
                    <a:lnTo>
                      <a:pt x="52" y="26"/>
                    </a:lnTo>
                    <a:lnTo>
                      <a:pt x="52" y="0"/>
                    </a:lnTo>
                    <a:lnTo>
                      <a:pt x="26" y="0"/>
                    </a:lnTo>
                    <a:lnTo>
                      <a:pt x="26" y="26"/>
                    </a:lnTo>
                    <a:lnTo>
                      <a:pt x="0" y="26"/>
                    </a:lnTo>
                    <a:lnTo>
                      <a:pt x="0" y="53"/>
                    </a:lnTo>
                    <a:lnTo>
                      <a:pt x="26" y="53"/>
                    </a:lnTo>
                    <a:lnTo>
                      <a:pt x="26" y="79"/>
                    </a:lnTo>
                    <a:lnTo>
                      <a:pt x="52" y="79"/>
                    </a:lnTo>
                    <a:lnTo>
                      <a:pt x="52" y="53"/>
                    </a:lnTo>
                    <a:lnTo>
                      <a:pt x="79" y="53"/>
                    </a:lnTo>
                    <a:lnTo>
                      <a:pt x="79" y="26"/>
                    </a:lnTo>
                    <a:close/>
                  </a:path>
                </a:pathLst>
              </a:custGeom>
              <a:solidFill>
                <a:srgbClr val="FBE7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113" name="กลุ่ม 249"/>
            <p:cNvGrpSpPr/>
            <p:nvPr/>
          </p:nvGrpSpPr>
          <p:grpSpPr>
            <a:xfrm>
              <a:off x="4544456" y="1658416"/>
              <a:ext cx="572112" cy="408256"/>
              <a:chOff x="5743576" y="13282613"/>
              <a:chExt cx="327025" cy="233363"/>
            </a:xfrm>
          </p:grpSpPr>
          <p:sp>
            <p:nvSpPr>
              <p:cNvPr id="114" name="Freeform 1413"/>
              <p:cNvSpPr>
                <a:spLocks/>
              </p:cNvSpPr>
              <p:nvPr/>
            </p:nvSpPr>
            <p:spPr bwMode="auto">
              <a:xfrm>
                <a:off x="5762626" y="13282613"/>
                <a:ext cx="285750" cy="233363"/>
              </a:xfrm>
              <a:custGeom>
                <a:avLst/>
                <a:gdLst>
                  <a:gd name="T0" fmla="*/ 1 w 137"/>
                  <a:gd name="T1" fmla="*/ 39 h 112"/>
                  <a:gd name="T2" fmla="*/ 1 w 137"/>
                  <a:gd name="T3" fmla="*/ 40 h 112"/>
                  <a:gd name="T4" fmla="*/ 1 w 137"/>
                  <a:gd name="T5" fmla="*/ 41 h 112"/>
                  <a:gd name="T6" fmla="*/ 1 w 137"/>
                  <a:gd name="T7" fmla="*/ 42 h 112"/>
                  <a:gd name="T8" fmla="*/ 1 w 137"/>
                  <a:gd name="T9" fmla="*/ 42 h 112"/>
                  <a:gd name="T10" fmla="*/ 1 w 137"/>
                  <a:gd name="T11" fmla="*/ 43 h 112"/>
                  <a:gd name="T12" fmla="*/ 1 w 137"/>
                  <a:gd name="T13" fmla="*/ 44 h 112"/>
                  <a:gd name="T14" fmla="*/ 1 w 137"/>
                  <a:gd name="T15" fmla="*/ 45 h 112"/>
                  <a:gd name="T16" fmla="*/ 1 w 137"/>
                  <a:gd name="T17" fmla="*/ 46 h 112"/>
                  <a:gd name="T18" fmla="*/ 1 w 137"/>
                  <a:gd name="T19" fmla="*/ 47 h 112"/>
                  <a:gd name="T20" fmla="*/ 1 w 137"/>
                  <a:gd name="T21" fmla="*/ 48 h 112"/>
                  <a:gd name="T22" fmla="*/ 1 w 137"/>
                  <a:gd name="T23" fmla="*/ 49 h 112"/>
                  <a:gd name="T24" fmla="*/ 1 w 137"/>
                  <a:gd name="T25" fmla="*/ 50 h 112"/>
                  <a:gd name="T26" fmla="*/ 1 w 137"/>
                  <a:gd name="T27" fmla="*/ 51 h 112"/>
                  <a:gd name="T28" fmla="*/ 1 w 137"/>
                  <a:gd name="T29" fmla="*/ 52 h 112"/>
                  <a:gd name="T30" fmla="*/ 1 w 137"/>
                  <a:gd name="T31" fmla="*/ 53 h 112"/>
                  <a:gd name="T32" fmla="*/ 1 w 137"/>
                  <a:gd name="T33" fmla="*/ 54 h 112"/>
                  <a:gd name="T34" fmla="*/ 1 w 137"/>
                  <a:gd name="T35" fmla="*/ 55 h 112"/>
                  <a:gd name="T36" fmla="*/ 1 w 137"/>
                  <a:gd name="T37" fmla="*/ 56 h 112"/>
                  <a:gd name="T38" fmla="*/ 1 w 137"/>
                  <a:gd name="T39" fmla="*/ 57 h 112"/>
                  <a:gd name="T40" fmla="*/ 1 w 137"/>
                  <a:gd name="T41" fmla="*/ 58 h 112"/>
                  <a:gd name="T42" fmla="*/ 1 w 137"/>
                  <a:gd name="T43" fmla="*/ 59 h 112"/>
                  <a:gd name="T44" fmla="*/ 1 w 137"/>
                  <a:gd name="T45" fmla="*/ 60 h 112"/>
                  <a:gd name="T46" fmla="*/ 1 w 137"/>
                  <a:gd name="T47" fmla="*/ 61 h 112"/>
                  <a:gd name="T48" fmla="*/ 1 w 137"/>
                  <a:gd name="T49" fmla="*/ 62 h 112"/>
                  <a:gd name="T50" fmla="*/ 1 w 137"/>
                  <a:gd name="T51" fmla="*/ 63 h 112"/>
                  <a:gd name="T52" fmla="*/ 1 w 137"/>
                  <a:gd name="T53" fmla="*/ 64 h 112"/>
                  <a:gd name="T54" fmla="*/ 1 w 137"/>
                  <a:gd name="T55" fmla="*/ 65 h 112"/>
                  <a:gd name="T56" fmla="*/ 1 w 137"/>
                  <a:gd name="T57" fmla="*/ 66 h 112"/>
                  <a:gd name="T58" fmla="*/ 1 w 137"/>
                  <a:gd name="T59" fmla="*/ 67 h 112"/>
                  <a:gd name="T60" fmla="*/ 10 w 137"/>
                  <a:gd name="T61" fmla="*/ 87 h 112"/>
                  <a:gd name="T62" fmla="*/ 137 w 137"/>
                  <a:gd name="T63" fmla="*/ 67 h 112"/>
                  <a:gd name="T64" fmla="*/ 137 w 137"/>
                  <a:gd name="T65" fmla="*/ 66 h 112"/>
                  <a:gd name="T66" fmla="*/ 137 w 137"/>
                  <a:gd name="T67" fmla="*/ 65 h 112"/>
                  <a:gd name="T68" fmla="*/ 137 w 137"/>
                  <a:gd name="T69" fmla="*/ 64 h 112"/>
                  <a:gd name="T70" fmla="*/ 137 w 137"/>
                  <a:gd name="T71" fmla="*/ 63 h 112"/>
                  <a:gd name="T72" fmla="*/ 137 w 137"/>
                  <a:gd name="T73" fmla="*/ 62 h 112"/>
                  <a:gd name="T74" fmla="*/ 137 w 137"/>
                  <a:gd name="T75" fmla="*/ 61 h 112"/>
                  <a:gd name="T76" fmla="*/ 137 w 137"/>
                  <a:gd name="T77" fmla="*/ 60 h 112"/>
                  <a:gd name="T78" fmla="*/ 137 w 137"/>
                  <a:gd name="T79" fmla="*/ 59 h 112"/>
                  <a:gd name="T80" fmla="*/ 137 w 137"/>
                  <a:gd name="T81" fmla="*/ 58 h 112"/>
                  <a:gd name="T82" fmla="*/ 137 w 137"/>
                  <a:gd name="T83" fmla="*/ 57 h 112"/>
                  <a:gd name="T84" fmla="*/ 137 w 137"/>
                  <a:gd name="T85" fmla="*/ 56 h 112"/>
                  <a:gd name="T86" fmla="*/ 137 w 137"/>
                  <a:gd name="T87" fmla="*/ 55 h 112"/>
                  <a:gd name="T88" fmla="*/ 137 w 137"/>
                  <a:gd name="T89" fmla="*/ 54 h 112"/>
                  <a:gd name="T90" fmla="*/ 137 w 137"/>
                  <a:gd name="T91" fmla="*/ 53 h 112"/>
                  <a:gd name="T92" fmla="*/ 137 w 137"/>
                  <a:gd name="T93" fmla="*/ 52 h 112"/>
                  <a:gd name="T94" fmla="*/ 137 w 137"/>
                  <a:gd name="T95" fmla="*/ 51 h 112"/>
                  <a:gd name="T96" fmla="*/ 137 w 137"/>
                  <a:gd name="T97" fmla="*/ 50 h 112"/>
                  <a:gd name="T98" fmla="*/ 137 w 137"/>
                  <a:gd name="T99" fmla="*/ 49 h 112"/>
                  <a:gd name="T100" fmla="*/ 137 w 137"/>
                  <a:gd name="T101" fmla="*/ 48 h 112"/>
                  <a:gd name="T102" fmla="*/ 137 w 137"/>
                  <a:gd name="T103" fmla="*/ 47 h 112"/>
                  <a:gd name="T104" fmla="*/ 137 w 137"/>
                  <a:gd name="T105" fmla="*/ 46 h 112"/>
                  <a:gd name="T106" fmla="*/ 137 w 137"/>
                  <a:gd name="T107" fmla="*/ 45 h 112"/>
                  <a:gd name="T108" fmla="*/ 137 w 137"/>
                  <a:gd name="T109" fmla="*/ 44 h 112"/>
                  <a:gd name="T110" fmla="*/ 137 w 137"/>
                  <a:gd name="T111" fmla="*/ 43 h 112"/>
                  <a:gd name="T112" fmla="*/ 137 w 137"/>
                  <a:gd name="T113" fmla="*/ 42 h 112"/>
                  <a:gd name="T114" fmla="*/ 137 w 137"/>
                  <a:gd name="T115" fmla="*/ 41 h 112"/>
                  <a:gd name="T116" fmla="*/ 137 w 137"/>
                  <a:gd name="T117" fmla="*/ 40 h 112"/>
                  <a:gd name="T118" fmla="*/ 137 w 137"/>
                  <a:gd name="T119" fmla="*/ 39 h 112"/>
                  <a:gd name="T120" fmla="*/ 137 w 137"/>
                  <a:gd name="T121" fmla="*/ 3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7" h="112">
                    <a:moveTo>
                      <a:pt x="137" y="38"/>
                    </a:moveTo>
                    <a:cubicBezTo>
                      <a:pt x="137" y="23"/>
                      <a:pt x="120" y="11"/>
                      <a:pt x="97" y="6"/>
                    </a:cubicBezTo>
                    <a:cubicBezTo>
                      <a:pt x="74" y="0"/>
                      <a:pt x="46" y="3"/>
                      <a:pt x="26" y="11"/>
                    </a:cubicBezTo>
                    <a:cubicBezTo>
                      <a:pt x="12" y="17"/>
                      <a:pt x="2" y="28"/>
                      <a:pt x="1" y="38"/>
                    </a:cubicBezTo>
                    <a:cubicBezTo>
                      <a:pt x="1" y="39"/>
                      <a:pt x="1" y="39"/>
                      <a:pt x="1" y="39"/>
                    </a:cubicBezTo>
                    <a:cubicBezTo>
                      <a:pt x="1" y="39"/>
                      <a:pt x="1" y="39"/>
                      <a:pt x="1" y="39"/>
                    </a:cubicBezTo>
                    <a:cubicBezTo>
                      <a:pt x="1" y="39"/>
                      <a:pt x="1" y="39"/>
                      <a:pt x="1" y="39"/>
                    </a:cubicBezTo>
                    <a:cubicBezTo>
                      <a:pt x="1" y="39"/>
                      <a:pt x="1" y="39"/>
                      <a:pt x="1" y="39"/>
                    </a:cubicBezTo>
                    <a:cubicBezTo>
                      <a:pt x="1" y="39"/>
                      <a:pt x="1" y="39"/>
                      <a:pt x="1" y="39"/>
                    </a:cubicBezTo>
                    <a:cubicBezTo>
                      <a:pt x="1" y="40"/>
                      <a:pt x="1" y="40"/>
                      <a:pt x="1" y="40"/>
                    </a:cubicBezTo>
                    <a:cubicBezTo>
                      <a:pt x="1" y="40"/>
                      <a:pt x="1" y="40"/>
                      <a:pt x="1" y="40"/>
                    </a:cubicBezTo>
                    <a:cubicBezTo>
                      <a:pt x="1" y="40"/>
                      <a:pt x="1" y="40"/>
                      <a:pt x="1" y="40"/>
                    </a:cubicBezTo>
                    <a:cubicBezTo>
                      <a:pt x="1" y="40"/>
                      <a:pt x="1" y="40"/>
                      <a:pt x="1" y="40"/>
                    </a:cubicBezTo>
                    <a:cubicBezTo>
                      <a:pt x="1" y="40"/>
                      <a:pt x="1" y="40"/>
                      <a:pt x="1" y="40"/>
                    </a:cubicBezTo>
                    <a:cubicBezTo>
                      <a:pt x="1" y="41"/>
                      <a:pt x="1" y="41"/>
                      <a:pt x="1" y="41"/>
                    </a:cubicBezTo>
                    <a:cubicBezTo>
                      <a:pt x="1" y="41"/>
                      <a:pt x="1" y="41"/>
                      <a:pt x="1" y="41"/>
                    </a:cubicBezTo>
                    <a:cubicBezTo>
                      <a:pt x="1" y="41"/>
                      <a:pt x="1" y="41"/>
                      <a:pt x="1" y="41"/>
                    </a:cubicBezTo>
                    <a:cubicBezTo>
                      <a:pt x="1" y="41"/>
                      <a:pt x="1" y="41"/>
                      <a:pt x="1" y="41"/>
                    </a:cubicBezTo>
                    <a:cubicBezTo>
                      <a:pt x="1" y="41"/>
                      <a:pt x="1" y="41"/>
                      <a:pt x="1" y="41"/>
                    </a:cubicBezTo>
                    <a:cubicBezTo>
                      <a:pt x="1" y="42"/>
                      <a:pt x="1" y="42"/>
                      <a:pt x="1" y="42"/>
                    </a:cubicBezTo>
                    <a:cubicBezTo>
                      <a:pt x="1" y="42"/>
                      <a:pt x="1" y="42"/>
                      <a:pt x="1" y="42"/>
                    </a:cubicBezTo>
                    <a:cubicBezTo>
                      <a:pt x="1" y="42"/>
                      <a:pt x="1" y="42"/>
                      <a:pt x="1" y="42"/>
                    </a:cubicBezTo>
                    <a:cubicBezTo>
                      <a:pt x="1" y="42"/>
                      <a:pt x="1" y="42"/>
                      <a:pt x="1" y="42"/>
                    </a:cubicBezTo>
                    <a:cubicBezTo>
                      <a:pt x="1" y="42"/>
                      <a:pt x="1" y="42"/>
                      <a:pt x="1" y="42"/>
                    </a:cubicBezTo>
                    <a:cubicBezTo>
                      <a:pt x="1" y="42"/>
                      <a:pt x="1" y="42"/>
                      <a:pt x="1" y="42"/>
                    </a:cubicBezTo>
                    <a:cubicBezTo>
                      <a:pt x="1" y="43"/>
                      <a:pt x="1" y="43"/>
                      <a:pt x="1" y="43"/>
                    </a:cubicBezTo>
                    <a:cubicBezTo>
                      <a:pt x="1" y="43"/>
                      <a:pt x="1" y="43"/>
                      <a:pt x="1" y="43"/>
                    </a:cubicBezTo>
                    <a:cubicBezTo>
                      <a:pt x="1" y="43"/>
                      <a:pt x="1" y="43"/>
                      <a:pt x="1" y="43"/>
                    </a:cubicBezTo>
                    <a:cubicBezTo>
                      <a:pt x="1" y="43"/>
                      <a:pt x="1" y="43"/>
                      <a:pt x="1" y="43"/>
                    </a:cubicBezTo>
                    <a:cubicBezTo>
                      <a:pt x="1" y="43"/>
                      <a:pt x="1" y="43"/>
                      <a:pt x="1" y="43"/>
                    </a:cubicBezTo>
                    <a:cubicBezTo>
                      <a:pt x="1" y="44"/>
                      <a:pt x="1" y="44"/>
                      <a:pt x="1" y="44"/>
                    </a:cubicBezTo>
                    <a:cubicBezTo>
                      <a:pt x="1" y="44"/>
                      <a:pt x="1" y="44"/>
                      <a:pt x="1" y="44"/>
                    </a:cubicBezTo>
                    <a:cubicBezTo>
                      <a:pt x="1" y="44"/>
                      <a:pt x="1" y="44"/>
                      <a:pt x="1" y="44"/>
                    </a:cubicBezTo>
                    <a:cubicBezTo>
                      <a:pt x="1" y="44"/>
                      <a:pt x="1" y="44"/>
                      <a:pt x="1" y="44"/>
                    </a:cubicBezTo>
                    <a:cubicBezTo>
                      <a:pt x="1" y="44"/>
                      <a:pt x="1" y="44"/>
                      <a:pt x="1" y="44"/>
                    </a:cubicBezTo>
                    <a:cubicBezTo>
                      <a:pt x="1" y="45"/>
                      <a:pt x="1" y="45"/>
                      <a:pt x="1" y="45"/>
                    </a:cubicBezTo>
                    <a:cubicBezTo>
                      <a:pt x="1" y="45"/>
                      <a:pt x="1" y="45"/>
                      <a:pt x="1" y="45"/>
                    </a:cubicBezTo>
                    <a:cubicBezTo>
                      <a:pt x="1" y="45"/>
                      <a:pt x="1" y="45"/>
                      <a:pt x="1" y="45"/>
                    </a:cubicBezTo>
                    <a:cubicBezTo>
                      <a:pt x="1" y="45"/>
                      <a:pt x="1" y="45"/>
                      <a:pt x="1" y="45"/>
                    </a:cubicBezTo>
                    <a:cubicBezTo>
                      <a:pt x="1" y="45"/>
                      <a:pt x="1" y="45"/>
                      <a:pt x="1" y="45"/>
                    </a:cubicBezTo>
                    <a:cubicBezTo>
                      <a:pt x="1" y="46"/>
                      <a:pt x="1" y="46"/>
                      <a:pt x="1" y="46"/>
                    </a:cubicBezTo>
                    <a:cubicBezTo>
                      <a:pt x="1" y="46"/>
                      <a:pt x="1" y="46"/>
                      <a:pt x="1" y="46"/>
                    </a:cubicBezTo>
                    <a:cubicBezTo>
                      <a:pt x="1" y="46"/>
                      <a:pt x="1" y="46"/>
                      <a:pt x="1" y="46"/>
                    </a:cubicBezTo>
                    <a:cubicBezTo>
                      <a:pt x="1" y="46"/>
                      <a:pt x="1" y="46"/>
                      <a:pt x="1" y="46"/>
                    </a:cubicBezTo>
                    <a:cubicBezTo>
                      <a:pt x="1" y="46"/>
                      <a:pt x="1" y="46"/>
                      <a:pt x="1" y="46"/>
                    </a:cubicBezTo>
                    <a:cubicBezTo>
                      <a:pt x="1" y="47"/>
                      <a:pt x="1" y="47"/>
                      <a:pt x="1" y="47"/>
                    </a:cubicBezTo>
                    <a:cubicBezTo>
                      <a:pt x="1" y="47"/>
                      <a:pt x="1" y="47"/>
                      <a:pt x="1" y="47"/>
                    </a:cubicBezTo>
                    <a:cubicBezTo>
                      <a:pt x="1" y="47"/>
                      <a:pt x="1" y="47"/>
                      <a:pt x="1" y="47"/>
                    </a:cubicBezTo>
                    <a:cubicBezTo>
                      <a:pt x="1" y="47"/>
                      <a:pt x="1" y="47"/>
                      <a:pt x="1" y="47"/>
                    </a:cubicBezTo>
                    <a:cubicBezTo>
                      <a:pt x="1" y="47"/>
                      <a:pt x="1" y="47"/>
                      <a:pt x="1" y="47"/>
                    </a:cubicBezTo>
                    <a:cubicBezTo>
                      <a:pt x="1" y="48"/>
                      <a:pt x="1" y="48"/>
                      <a:pt x="1" y="48"/>
                    </a:cubicBezTo>
                    <a:cubicBezTo>
                      <a:pt x="1" y="48"/>
                      <a:pt x="1" y="48"/>
                      <a:pt x="1" y="48"/>
                    </a:cubicBezTo>
                    <a:cubicBezTo>
                      <a:pt x="1" y="48"/>
                      <a:pt x="1" y="48"/>
                      <a:pt x="1" y="48"/>
                    </a:cubicBezTo>
                    <a:cubicBezTo>
                      <a:pt x="1" y="48"/>
                      <a:pt x="1" y="48"/>
                      <a:pt x="1" y="48"/>
                    </a:cubicBezTo>
                    <a:cubicBezTo>
                      <a:pt x="1" y="48"/>
                      <a:pt x="1" y="48"/>
                      <a:pt x="1" y="48"/>
                    </a:cubicBezTo>
                    <a:cubicBezTo>
                      <a:pt x="1" y="49"/>
                      <a:pt x="1" y="49"/>
                      <a:pt x="1" y="49"/>
                    </a:cubicBezTo>
                    <a:cubicBezTo>
                      <a:pt x="1" y="49"/>
                      <a:pt x="1" y="49"/>
                      <a:pt x="1" y="49"/>
                    </a:cubicBezTo>
                    <a:cubicBezTo>
                      <a:pt x="1" y="49"/>
                      <a:pt x="1" y="49"/>
                      <a:pt x="1" y="49"/>
                    </a:cubicBezTo>
                    <a:cubicBezTo>
                      <a:pt x="1" y="49"/>
                      <a:pt x="1" y="49"/>
                      <a:pt x="1" y="49"/>
                    </a:cubicBezTo>
                    <a:cubicBezTo>
                      <a:pt x="1" y="49"/>
                      <a:pt x="1" y="49"/>
                      <a:pt x="1" y="49"/>
                    </a:cubicBezTo>
                    <a:cubicBezTo>
                      <a:pt x="1" y="50"/>
                      <a:pt x="1" y="50"/>
                      <a:pt x="1" y="50"/>
                    </a:cubicBezTo>
                    <a:cubicBezTo>
                      <a:pt x="1" y="50"/>
                      <a:pt x="1" y="50"/>
                      <a:pt x="1" y="50"/>
                    </a:cubicBezTo>
                    <a:cubicBezTo>
                      <a:pt x="1" y="50"/>
                      <a:pt x="1" y="50"/>
                      <a:pt x="1" y="50"/>
                    </a:cubicBezTo>
                    <a:cubicBezTo>
                      <a:pt x="1" y="50"/>
                      <a:pt x="1" y="50"/>
                      <a:pt x="1" y="50"/>
                    </a:cubicBezTo>
                    <a:cubicBezTo>
                      <a:pt x="1" y="50"/>
                      <a:pt x="1" y="50"/>
                      <a:pt x="1" y="50"/>
                    </a:cubicBezTo>
                    <a:cubicBezTo>
                      <a:pt x="1" y="51"/>
                      <a:pt x="1" y="51"/>
                      <a:pt x="1" y="51"/>
                    </a:cubicBezTo>
                    <a:cubicBezTo>
                      <a:pt x="1" y="51"/>
                      <a:pt x="1" y="51"/>
                      <a:pt x="1" y="51"/>
                    </a:cubicBezTo>
                    <a:cubicBezTo>
                      <a:pt x="1" y="51"/>
                      <a:pt x="1" y="51"/>
                      <a:pt x="1" y="51"/>
                    </a:cubicBezTo>
                    <a:cubicBezTo>
                      <a:pt x="1" y="51"/>
                      <a:pt x="1" y="51"/>
                      <a:pt x="1" y="51"/>
                    </a:cubicBezTo>
                    <a:cubicBezTo>
                      <a:pt x="1" y="51"/>
                      <a:pt x="1" y="51"/>
                      <a:pt x="1" y="51"/>
                    </a:cubicBezTo>
                    <a:cubicBezTo>
                      <a:pt x="1" y="52"/>
                      <a:pt x="1" y="52"/>
                      <a:pt x="1" y="52"/>
                    </a:cubicBezTo>
                    <a:cubicBezTo>
                      <a:pt x="1" y="52"/>
                      <a:pt x="1" y="52"/>
                      <a:pt x="1" y="52"/>
                    </a:cubicBezTo>
                    <a:cubicBezTo>
                      <a:pt x="1" y="52"/>
                      <a:pt x="1" y="52"/>
                      <a:pt x="1" y="52"/>
                    </a:cubicBezTo>
                    <a:cubicBezTo>
                      <a:pt x="1" y="52"/>
                      <a:pt x="1" y="52"/>
                      <a:pt x="1" y="52"/>
                    </a:cubicBezTo>
                    <a:cubicBezTo>
                      <a:pt x="1" y="52"/>
                      <a:pt x="1" y="52"/>
                      <a:pt x="1" y="52"/>
                    </a:cubicBezTo>
                    <a:cubicBezTo>
                      <a:pt x="1" y="52"/>
                      <a:pt x="1" y="52"/>
                      <a:pt x="1" y="52"/>
                    </a:cubicBezTo>
                    <a:cubicBezTo>
                      <a:pt x="1" y="53"/>
                      <a:pt x="1" y="53"/>
                      <a:pt x="1" y="53"/>
                    </a:cubicBezTo>
                    <a:cubicBezTo>
                      <a:pt x="1" y="53"/>
                      <a:pt x="1" y="53"/>
                      <a:pt x="1" y="53"/>
                    </a:cubicBezTo>
                    <a:cubicBezTo>
                      <a:pt x="1" y="53"/>
                      <a:pt x="1" y="53"/>
                      <a:pt x="1" y="53"/>
                    </a:cubicBezTo>
                    <a:cubicBezTo>
                      <a:pt x="1" y="53"/>
                      <a:pt x="1" y="53"/>
                      <a:pt x="1" y="53"/>
                    </a:cubicBezTo>
                    <a:cubicBezTo>
                      <a:pt x="1" y="53"/>
                      <a:pt x="1" y="53"/>
                      <a:pt x="1" y="53"/>
                    </a:cubicBezTo>
                    <a:cubicBezTo>
                      <a:pt x="1" y="54"/>
                      <a:pt x="1" y="54"/>
                      <a:pt x="1" y="54"/>
                    </a:cubicBezTo>
                    <a:cubicBezTo>
                      <a:pt x="1" y="54"/>
                      <a:pt x="1" y="54"/>
                      <a:pt x="1" y="54"/>
                    </a:cubicBezTo>
                    <a:cubicBezTo>
                      <a:pt x="1" y="54"/>
                      <a:pt x="1" y="54"/>
                      <a:pt x="1" y="54"/>
                    </a:cubicBezTo>
                    <a:cubicBezTo>
                      <a:pt x="1" y="54"/>
                      <a:pt x="1" y="54"/>
                      <a:pt x="1" y="54"/>
                    </a:cubicBezTo>
                    <a:cubicBezTo>
                      <a:pt x="1" y="54"/>
                      <a:pt x="1" y="54"/>
                      <a:pt x="1" y="54"/>
                    </a:cubicBezTo>
                    <a:cubicBezTo>
                      <a:pt x="1" y="55"/>
                      <a:pt x="1" y="55"/>
                      <a:pt x="1" y="55"/>
                    </a:cubicBezTo>
                    <a:cubicBezTo>
                      <a:pt x="1" y="55"/>
                      <a:pt x="1" y="55"/>
                      <a:pt x="1" y="55"/>
                    </a:cubicBezTo>
                    <a:cubicBezTo>
                      <a:pt x="1" y="55"/>
                      <a:pt x="1" y="55"/>
                      <a:pt x="1" y="55"/>
                    </a:cubicBezTo>
                    <a:cubicBezTo>
                      <a:pt x="1" y="55"/>
                      <a:pt x="1" y="55"/>
                      <a:pt x="1" y="55"/>
                    </a:cubicBezTo>
                    <a:cubicBezTo>
                      <a:pt x="1" y="55"/>
                      <a:pt x="1" y="55"/>
                      <a:pt x="1" y="55"/>
                    </a:cubicBezTo>
                    <a:cubicBezTo>
                      <a:pt x="1" y="56"/>
                      <a:pt x="1" y="56"/>
                      <a:pt x="1" y="56"/>
                    </a:cubicBezTo>
                    <a:cubicBezTo>
                      <a:pt x="1" y="56"/>
                      <a:pt x="1" y="56"/>
                      <a:pt x="1" y="56"/>
                    </a:cubicBezTo>
                    <a:cubicBezTo>
                      <a:pt x="1" y="56"/>
                      <a:pt x="1" y="56"/>
                      <a:pt x="1" y="56"/>
                    </a:cubicBezTo>
                    <a:cubicBezTo>
                      <a:pt x="1" y="56"/>
                      <a:pt x="1" y="56"/>
                      <a:pt x="1" y="56"/>
                    </a:cubicBezTo>
                    <a:cubicBezTo>
                      <a:pt x="1" y="56"/>
                      <a:pt x="1" y="56"/>
                      <a:pt x="1" y="56"/>
                    </a:cubicBezTo>
                    <a:cubicBezTo>
                      <a:pt x="1" y="57"/>
                      <a:pt x="1" y="57"/>
                      <a:pt x="1" y="57"/>
                    </a:cubicBezTo>
                    <a:cubicBezTo>
                      <a:pt x="1" y="57"/>
                      <a:pt x="1" y="57"/>
                      <a:pt x="1" y="57"/>
                    </a:cubicBezTo>
                    <a:cubicBezTo>
                      <a:pt x="1" y="57"/>
                      <a:pt x="1" y="57"/>
                      <a:pt x="1" y="57"/>
                    </a:cubicBezTo>
                    <a:cubicBezTo>
                      <a:pt x="1" y="57"/>
                      <a:pt x="1" y="57"/>
                      <a:pt x="1" y="57"/>
                    </a:cubicBezTo>
                    <a:cubicBezTo>
                      <a:pt x="1" y="57"/>
                      <a:pt x="1" y="57"/>
                      <a:pt x="1" y="57"/>
                    </a:cubicBezTo>
                    <a:cubicBezTo>
                      <a:pt x="1" y="58"/>
                      <a:pt x="1" y="58"/>
                      <a:pt x="1" y="58"/>
                    </a:cubicBezTo>
                    <a:cubicBezTo>
                      <a:pt x="1" y="58"/>
                      <a:pt x="1" y="58"/>
                      <a:pt x="1" y="58"/>
                    </a:cubicBezTo>
                    <a:cubicBezTo>
                      <a:pt x="1" y="58"/>
                      <a:pt x="1" y="58"/>
                      <a:pt x="1" y="58"/>
                    </a:cubicBezTo>
                    <a:cubicBezTo>
                      <a:pt x="1" y="58"/>
                      <a:pt x="1" y="58"/>
                      <a:pt x="1" y="58"/>
                    </a:cubicBezTo>
                    <a:cubicBezTo>
                      <a:pt x="1" y="58"/>
                      <a:pt x="1" y="58"/>
                      <a:pt x="1" y="58"/>
                    </a:cubicBezTo>
                    <a:cubicBezTo>
                      <a:pt x="1" y="59"/>
                      <a:pt x="1" y="59"/>
                      <a:pt x="1" y="59"/>
                    </a:cubicBezTo>
                    <a:cubicBezTo>
                      <a:pt x="1" y="59"/>
                      <a:pt x="1" y="59"/>
                      <a:pt x="1" y="59"/>
                    </a:cubicBezTo>
                    <a:cubicBezTo>
                      <a:pt x="1" y="59"/>
                      <a:pt x="1" y="59"/>
                      <a:pt x="1" y="59"/>
                    </a:cubicBezTo>
                    <a:cubicBezTo>
                      <a:pt x="1" y="59"/>
                      <a:pt x="1" y="59"/>
                      <a:pt x="1" y="59"/>
                    </a:cubicBezTo>
                    <a:cubicBezTo>
                      <a:pt x="1" y="59"/>
                      <a:pt x="1" y="59"/>
                      <a:pt x="1" y="59"/>
                    </a:cubicBezTo>
                    <a:cubicBezTo>
                      <a:pt x="1" y="60"/>
                      <a:pt x="1" y="60"/>
                      <a:pt x="1" y="60"/>
                    </a:cubicBezTo>
                    <a:cubicBezTo>
                      <a:pt x="1" y="60"/>
                      <a:pt x="1" y="60"/>
                      <a:pt x="1" y="60"/>
                    </a:cubicBezTo>
                    <a:cubicBezTo>
                      <a:pt x="1" y="60"/>
                      <a:pt x="1" y="60"/>
                      <a:pt x="1" y="60"/>
                    </a:cubicBezTo>
                    <a:cubicBezTo>
                      <a:pt x="1" y="60"/>
                      <a:pt x="1" y="60"/>
                      <a:pt x="1" y="60"/>
                    </a:cubicBezTo>
                    <a:cubicBezTo>
                      <a:pt x="1" y="60"/>
                      <a:pt x="1" y="60"/>
                      <a:pt x="1" y="60"/>
                    </a:cubicBezTo>
                    <a:cubicBezTo>
                      <a:pt x="1" y="61"/>
                      <a:pt x="1" y="61"/>
                      <a:pt x="1" y="61"/>
                    </a:cubicBezTo>
                    <a:cubicBezTo>
                      <a:pt x="1" y="61"/>
                      <a:pt x="1" y="61"/>
                      <a:pt x="1" y="61"/>
                    </a:cubicBezTo>
                    <a:cubicBezTo>
                      <a:pt x="1" y="61"/>
                      <a:pt x="1" y="61"/>
                      <a:pt x="1" y="61"/>
                    </a:cubicBezTo>
                    <a:cubicBezTo>
                      <a:pt x="1" y="61"/>
                      <a:pt x="1" y="61"/>
                      <a:pt x="1" y="61"/>
                    </a:cubicBezTo>
                    <a:cubicBezTo>
                      <a:pt x="1" y="61"/>
                      <a:pt x="1" y="61"/>
                      <a:pt x="1" y="61"/>
                    </a:cubicBezTo>
                    <a:cubicBezTo>
                      <a:pt x="1" y="62"/>
                      <a:pt x="1" y="62"/>
                      <a:pt x="1" y="62"/>
                    </a:cubicBezTo>
                    <a:cubicBezTo>
                      <a:pt x="1" y="62"/>
                      <a:pt x="1" y="62"/>
                      <a:pt x="1" y="62"/>
                    </a:cubicBezTo>
                    <a:cubicBezTo>
                      <a:pt x="1" y="62"/>
                      <a:pt x="1" y="62"/>
                      <a:pt x="1" y="62"/>
                    </a:cubicBezTo>
                    <a:cubicBezTo>
                      <a:pt x="1" y="62"/>
                      <a:pt x="1" y="62"/>
                      <a:pt x="1" y="62"/>
                    </a:cubicBezTo>
                    <a:cubicBezTo>
                      <a:pt x="1" y="62"/>
                      <a:pt x="1" y="62"/>
                      <a:pt x="1" y="62"/>
                    </a:cubicBezTo>
                    <a:cubicBezTo>
                      <a:pt x="1" y="62"/>
                      <a:pt x="1" y="62"/>
                      <a:pt x="1" y="62"/>
                    </a:cubicBezTo>
                    <a:cubicBezTo>
                      <a:pt x="1" y="63"/>
                      <a:pt x="1" y="63"/>
                      <a:pt x="1" y="63"/>
                    </a:cubicBezTo>
                    <a:cubicBezTo>
                      <a:pt x="1" y="63"/>
                      <a:pt x="1" y="63"/>
                      <a:pt x="1" y="63"/>
                    </a:cubicBezTo>
                    <a:cubicBezTo>
                      <a:pt x="1" y="63"/>
                      <a:pt x="1" y="63"/>
                      <a:pt x="1" y="63"/>
                    </a:cubicBezTo>
                    <a:cubicBezTo>
                      <a:pt x="1" y="63"/>
                      <a:pt x="1" y="63"/>
                      <a:pt x="1" y="63"/>
                    </a:cubicBezTo>
                    <a:cubicBezTo>
                      <a:pt x="1" y="63"/>
                      <a:pt x="1" y="63"/>
                      <a:pt x="1" y="63"/>
                    </a:cubicBezTo>
                    <a:cubicBezTo>
                      <a:pt x="1" y="64"/>
                      <a:pt x="1" y="64"/>
                      <a:pt x="1" y="64"/>
                    </a:cubicBezTo>
                    <a:cubicBezTo>
                      <a:pt x="1" y="64"/>
                      <a:pt x="1" y="64"/>
                      <a:pt x="1" y="64"/>
                    </a:cubicBezTo>
                    <a:cubicBezTo>
                      <a:pt x="1" y="64"/>
                      <a:pt x="1" y="64"/>
                      <a:pt x="1" y="64"/>
                    </a:cubicBezTo>
                    <a:cubicBezTo>
                      <a:pt x="1" y="64"/>
                      <a:pt x="1" y="64"/>
                      <a:pt x="1" y="64"/>
                    </a:cubicBezTo>
                    <a:cubicBezTo>
                      <a:pt x="1" y="64"/>
                      <a:pt x="1" y="64"/>
                      <a:pt x="1" y="64"/>
                    </a:cubicBezTo>
                    <a:cubicBezTo>
                      <a:pt x="1" y="65"/>
                      <a:pt x="1" y="65"/>
                      <a:pt x="1" y="65"/>
                    </a:cubicBezTo>
                    <a:cubicBezTo>
                      <a:pt x="1" y="65"/>
                      <a:pt x="1" y="65"/>
                      <a:pt x="1" y="65"/>
                    </a:cubicBezTo>
                    <a:cubicBezTo>
                      <a:pt x="1" y="65"/>
                      <a:pt x="1" y="65"/>
                      <a:pt x="1" y="65"/>
                    </a:cubicBezTo>
                    <a:cubicBezTo>
                      <a:pt x="1" y="65"/>
                      <a:pt x="1" y="65"/>
                      <a:pt x="1" y="65"/>
                    </a:cubicBezTo>
                    <a:cubicBezTo>
                      <a:pt x="1" y="65"/>
                      <a:pt x="1" y="65"/>
                      <a:pt x="1" y="65"/>
                    </a:cubicBezTo>
                    <a:cubicBezTo>
                      <a:pt x="1" y="66"/>
                      <a:pt x="1" y="66"/>
                      <a:pt x="1" y="66"/>
                    </a:cubicBezTo>
                    <a:cubicBezTo>
                      <a:pt x="1" y="66"/>
                      <a:pt x="1" y="66"/>
                      <a:pt x="1" y="66"/>
                    </a:cubicBezTo>
                    <a:cubicBezTo>
                      <a:pt x="1" y="66"/>
                      <a:pt x="1" y="66"/>
                      <a:pt x="1" y="66"/>
                    </a:cubicBezTo>
                    <a:cubicBezTo>
                      <a:pt x="1" y="66"/>
                      <a:pt x="1" y="66"/>
                      <a:pt x="1" y="66"/>
                    </a:cubicBezTo>
                    <a:cubicBezTo>
                      <a:pt x="1" y="66"/>
                      <a:pt x="1" y="66"/>
                      <a:pt x="1" y="66"/>
                    </a:cubicBezTo>
                    <a:cubicBezTo>
                      <a:pt x="1" y="67"/>
                      <a:pt x="1" y="67"/>
                      <a:pt x="1" y="67"/>
                    </a:cubicBezTo>
                    <a:cubicBezTo>
                      <a:pt x="1" y="67"/>
                      <a:pt x="1" y="67"/>
                      <a:pt x="1" y="67"/>
                    </a:cubicBezTo>
                    <a:cubicBezTo>
                      <a:pt x="1" y="67"/>
                      <a:pt x="1" y="67"/>
                      <a:pt x="1" y="67"/>
                    </a:cubicBezTo>
                    <a:cubicBezTo>
                      <a:pt x="1" y="67"/>
                      <a:pt x="1" y="67"/>
                      <a:pt x="1" y="67"/>
                    </a:cubicBezTo>
                    <a:cubicBezTo>
                      <a:pt x="1" y="67"/>
                      <a:pt x="1" y="67"/>
                      <a:pt x="1" y="67"/>
                    </a:cubicBezTo>
                    <a:cubicBezTo>
                      <a:pt x="1" y="68"/>
                      <a:pt x="1" y="68"/>
                      <a:pt x="1" y="68"/>
                    </a:cubicBezTo>
                    <a:cubicBezTo>
                      <a:pt x="1" y="68"/>
                      <a:pt x="1" y="68"/>
                      <a:pt x="1" y="68"/>
                    </a:cubicBezTo>
                    <a:cubicBezTo>
                      <a:pt x="0" y="74"/>
                      <a:pt x="3" y="81"/>
                      <a:pt x="10" y="87"/>
                    </a:cubicBezTo>
                    <a:cubicBezTo>
                      <a:pt x="39" y="112"/>
                      <a:pt x="105" y="111"/>
                      <a:pt x="130" y="82"/>
                    </a:cubicBezTo>
                    <a:cubicBezTo>
                      <a:pt x="135" y="77"/>
                      <a:pt x="137" y="72"/>
                      <a:pt x="137" y="67"/>
                    </a:cubicBezTo>
                    <a:cubicBezTo>
                      <a:pt x="137" y="67"/>
                      <a:pt x="137" y="67"/>
                      <a:pt x="137" y="67"/>
                    </a:cubicBezTo>
                    <a:cubicBezTo>
                      <a:pt x="137" y="67"/>
                      <a:pt x="137" y="67"/>
                      <a:pt x="137" y="67"/>
                    </a:cubicBezTo>
                    <a:cubicBezTo>
                      <a:pt x="137" y="67"/>
                      <a:pt x="137" y="67"/>
                      <a:pt x="137" y="67"/>
                    </a:cubicBezTo>
                    <a:cubicBezTo>
                      <a:pt x="137" y="67"/>
                      <a:pt x="137" y="67"/>
                      <a:pt x="137" y="67"/>
                    </a:cubicBezTo>
                    <a:cubicBezTo>
                      <a:pt x="137" y="66"/>
                      <a:pt x="137" y="66"/>
                      <a:pt x="137" y="66"/>
                    </a:cubicBezTo>
                    <a:cubicBezTo>
                      <a:pt x="137" y="66"/>
                      <a:pt x="137" y="66"/>
                      <a:pt x="137" y="66"/>
                    </a:cubicBezTo>
                    <a:cubicBezTo>
                      <a:pt x="137" y="66"/>
                      <a:pt x="137" y="66"/>
                      <a:pt x="137" y="66"/>
                    </a:cubicBezTo>
                    <a:cubicBezTo>
                      <a:pt x="137" y="66"/>
                      <a:pt x="137" y="66"/>
                      <a:pt x="137" y="66"/>
                    </a:cubicBezTo>
                    <a:cubicBezTo>
                      <a:pt x="137" y="66"/>
                      <a:pt x="137" y="66"/>
                      <a:pt x="137" y="66"/>
                    </a:cubicBezTo>
                    <a:cubicBezTo>
                      <a:pt x="137" y="65"/>
                      <a:pt x="137" y="65"/>
                      <a:pt x="137" y="65"/>
                    </a:cubicBezTo>
                    <a:cubicBezTo>
                      <a:pt x="137" y="65"/>
                      <a:pt x="137" y="65"/>
                      <a:pt x="137" y="65"/>
                    </a:cubicBezTo>
                    <a:cubicBezTo>
                      <a:pt x="137" y="65"/>
                      <a:pt x="137" y="65"/>
                      <a:pt x="137" y="65"/>
                    </a:cubicBezTo>
                    <a:cubicBezTo>
                      <a:pt x="137" y="65"/>
                      <a:pt x="137" y="65"/>
                      <a:pt x="137" y="65"/>
                    </a:cubicBezTo>
                    <a:cubicBezTo>
                      <a:pt x="137" y="65"/>
                      <a:pt x="137" y="65"/>
                      <a:pt x="137" y="65"/>
                    </a:cubicBezTo>
                    <a:cubicBezTo>
                      <a:pt x="137" y="64"/>
                      <a:pt x="137" y="64"/>
                      <a:pt x="137" y="64"/>
                    </a:cubicBezTo>
                    <a:cubicBezTo>
                      <a:pt x="137" y="64"/>
                      <a:pt x="137" y="64"/>
                      <a:pt x="137" y="64"/>
                    </a:cubicBezTo>
                    <a:cubicBezTo>
                      <a:pt x="137" y="64"/>
                      <a:pt x="137" y="64"/>
                      <a:pt x="137" y="64"/>
                    </a:cubicBezTo>
                    <a:cubicBezTo>
                      <a:pt x="137" y="64"/>
                      <a:pt x="137" y="64"/>
                      <a:pt x="137" y="64"/>
                    </a:cubicBezTo>
                    <a:cubicBezTo>
                      <a:pt x="137" y="64"/>
                      <a:pt x="137" y="64"/>
                      <a:pt x="137" y="64"/>
                    </a:cubicBezTo>
                    <a:cubicBezTo>
                      <a:pt x="137" y="63"/>
                      <a:pt x="137" y="63"/>
                      <a:pt x="137" y="63"/>
                    </a:cubicBezTo>
                    <a:cubicBezTo>
                      <a:pt x="137" y="63"/>
                      <a:pt x="137" y="63"/>
                      <a:pt x="137" y="63"/>
                    </a:cubicBezTo>
                    <a:cubicBezTo>
                      <a:pt x="137" y="63"/>
                      <a:pt x="137" y="63"/>
                      <a:pt x="137" y="63"/>
                    </a:cubicBezTo>
                    <a:cubicBezTo>
                      <a:pt x="137" y="63"/>
                      <a:pt x="137" y="63"/>
                      <a:pt x="137" y="63"/>
                    </a:cubicBezTo>
                    <a:cubicBezTo>
                      <a:pt x="137" y="63"/>
                      <a:pt x="137" y="63"/>
                      <a:pt x="137" y="63"/>
                    </a:cubicBezTo>
                    <a:cubicBezTo>
                      <a:pt x="137" y="62"/>
                      <a:pt x="137" y="62"/>
                      <a:pt x="137" y="62"/>
                    </a:cubicBezTo>
                    <a:cubicBezTo>
                      <a:pt x="137" y="62"/>
                      <a:pt x="137" y="62"/>
                      <a:pt x="137" y="62"/>
                    </a:cubicBezTo>
                    <a:cubicBezTo>
                      <a:pt x="137" y="62"/>
                      <a:pt x="137" y="62"/>
                      <a:pt x="137" y="62"/>
                    </a:cubicBezTo>
                    <a:cubicBezTo>
                      <a:pt x="137" y="62"/>
                      <a:pt x="137" y="62"/>
                      <a:pt x="137" y="62"/>
                    </a:cubicBezTo>
                    <a:cubicBezTo>
                      <a:pt x="137" y="62"/>
                      <a:pt x="137" y="62"/>
                      <a:pt x="137" y="62"/>
                    </a:cubicBezTo>
                    <a:cubicBezTo>
                      <a:pt x="137" y="61"/>
                      <a:pt x="137" y="61"/>
                      <a:pt x="137" y="61"/>
                    </a:cubicBezTo>
                    <a:cubicBezTo>
                      <a:pt x="137" y="61"/>
                      <a:pt x="137" y="61"/>
                      <a:pt x="137" y="61"/>
                    </a:cubicBezTo>
                    <a:cubicBezTo>
                      <a:pt x="137" y="61"/>
                      <a:pt x="137" y="61"/>
                      <a:pt x="137" y="61"/>
                    </a:cubicBezTo>
                    <a:cubicBezTo>
                      <a:pt x="137" y="61"/>
                      <a:pt x="137" y="61"/>
                      <a:pt x="137" y="61"/>
                    </a:cubicBezTo>
                    <a:cubicBezTo>
                      <a:pt x="137" y="61"/>
                      <a:pt x="137" y="61"/>
                      <a:pt x="137" y="61"/>
                    </a:cubicBezTo>
                    <a:cubicBezTo>
                      <a:pt x="137" y="60"/>
                      <a:pt x="137" y="60"/>
                      <a:pt x="137" y="60"/>
                    </a:cubicBezTo>
                    <a:cubicBezTo>
                      <a:pt x="137" y="60"/>
                      <a:pt x="137" y="60"/>
                      <a:pt x="137" y="60"/>
                    </a:cubicBezTo>
                    <a:cubicBezTo>
                      <a:pt x="137" y="60"/>
                      <a:pt x="137" y="60"/>
                      <a:pt x="137" y="60"/>
                    </a:cubicBezTo>
                    <a:cubicBezTo>
                      <a:pt x="137" y="60"/>
                      <a:pt x="137" y="60"/>
                      <a:pt x="137" y="60"/>
                    </a:cubicBezTo>
                    <a:cubicBezTo>
                      <a:pt x="137" y="60"/>
                      <a:pt x="137" y="60"/>
                      <a:pt x="137" y="60"/>
                    </a:cubicBezTo>
                    <a:cubicBezTo>
                      <a:pt x="137" y="59"/>
                      <a:pt x="137" y="59"/>
                      <a:pt x="137" y="59"/>
                    </a:cubicBezTo>
                    <a:cubicBezTo>
                      <a:pt x="137" y="59"/>
                      <a:pt x="137" y="59"/>
                      <a:pt x="137" y="59"/>
                    </a:cubicBezTo>
                    <a:cubicBezTo>
                      <a:pt x="137" y="59"/>
                      <a:pt x="137" y="59"/>
                      <a:pt x="137" y="59"/>
                    </a:cubicBezTo>
                    <a:cubicBezTo>
                      <a:pt x="137" y="59"/>
                      <a:pt x="137" y="59"/>
                      <a:pt x="137" y="59"/>
                    </a:cubicBezTo>
                    <a:cubicBezTo>
                      <a:pt x="137" y="59"/>
                      <a:pt x="137" y="59"/>
                      <a:pt x="137" y="59"/>
                    </a:cubicBezTo>
                    <a:cubicBezTo>
                      <a:pt x="137" y="59"/>
                      <a:pt x="137" y="59"/>
                      <a:pt x="137" y="59"/>
                    </a:cubicBezTo>
                    <a:cubicBezTo>
                      <a:pt x="137" y="58"/>
                      <a:pt x="137" y="58"/>
                      <a:pt x="137" y="58"/>
                    </a:cubicBezTo>
                    <a:cubicBezTo>
                      <a:pt x="137" y="58"/>
                      <a:pt x="137" y="58"/>
                      <a:pt x="137" y="58"/>
                    </a:cubicBezTo>
                    <a:cubicBezTo>
                      <a:pt x="137" y="58"/>
                      <a:pt x="137" y="58"/>
                      <a:pt x="137" y="58"/>
                    </a:cubicBezTo>
                    <a:cubicBezTo>
                      <a:pt x="137" y="58"/>
                      <a:pt x="137" y="58"/>
                      <a:pt x="137" y="58"/>
                    </a:cubicBezTo>
                    <a:cubicBezTo>
                      <a:pt x="137" y="58"/>
                      <a:pt x="137" y="58"/>
                      <a:pt x="137" y="58"/>
                    </a:cubicBezTo>
                    <a:cubicBezTo>
                      <a:pt x="137" y="57"/>
                      <a:pt x="137" y="57"/>
                      <a:pt x="137" y="57"/>
                    </a:cubicBezTo>
                    <a:cubicBezTo>
                      <a:pt x="137" y="57"/>
                      <a:pt x="137" y="57"/>
                      <a:pt x="137" y="57"/>
                    </a:cubicBezTo>
                    <a:cubicBezTo>
                      <a:pt x="137" y="57"/>
                      <a:pt x="137" y="57"/>
                      <a:pt x="137" y="57"/>
                    </a:cubicBezTo>
                    <a:cubicBezTo>
                      <a:pt x="137" y="57"/>
                      <a:pt x="137" y="57"/>
                      <a:pt x="137" y="57"/>
                    </a:cubicBezTo>
                    <a:cubicBezTo>
                      <a:pt x="137" y="57"/>
                      <a:pt x="137" y="57"/>
                      <a:pt x="137" y="57"/>
                    </a:cubicBezTo>
                    <a:cubicBezTo>
                      <a:pt x="137" y="56"/>
                      <a:pt x="137" y="56"/>
                      <a:pt x="137" y="56"/>
                    </a:cubicBezTo>
                    <a:cubicBezTo>
                      <a:pt x="137" y="56"/>
                      <a:pt x="137" y="56"/>
                      <a:pt x="137" y="56"/>
                    </a:cubicBezTo>
                    <a:cubicBezTo>
                      <a:pt x="137" y="56"/>
                      <a:pt x="137" y="56"/>
                      <a:pt x="137" y="56"/>
                    </a:cubicBezTo>
                    <a:cubicBezTo>
                      <a:pt x="137" y="56"/>
                      <a:pt x="137" y="56"/>
                      <a:pt x="137" y="56"/>
                    </a:cubicBezTo>
                    <a:cubicBezTo>
                      <a:pt x="137" y="56"/>
                      <a:pt x="137" y="56"/>
                      <a:pt x="137" y="56"/>
                    </a:cubicBezTo>
                    <a:cubicBezTo>
                      <a:pt x="137" y="55"/>
                      <a:pt x="137" y="55"/>
                      <a:pt x="137" y="55"/>
                    </a:cubicBezTo>
                    <a:cubicBezTo>
                      <a:pt x="137" y="55"/>
                      <a:pt x="137" y="55"/>
                      <a:pt x="137" y="55"/>
                    </a:cubicBezTo>
                    <a:cubicBezTo>
                      <a:pt x="137" y="55"/>
                      <a:pt x="137" y="55"/>
                      <a:pt x="137" y="55"/>
                    </a:cubicBezTo>
                    <a:cubicBezTo>
                      <a:pt x="137" y="55"/>
                      <a:pt x="137" y="55"/>
                      <a:pt x="137" y="55"/>
                    </a:cubicBezTo>
                    <a:cubicBezTo>
                      <a:pt x="137" y="55"/>
                      <a:pt x="137" y="55"/>
                      <a:pt x="137" y="55"/>
                    </a:cubicBezTo>
                    <a:cubicBezTo>
                      <a:pt x="137" y="54"/>
                      <a:pt x="137" y="54"/>
                      <a:pt x="137" y="54"/>
                    </a:cubicBezTo>
                    <a:cubicBezTo>
                      <a:pt x="137" y="54"/>
                      <a:pt x="137" y="54"/>
                      <a:pt x="137" y="54"/>
                    </a:cubicBezTo>
                    <a:cubicBezTo>
                      <a:pt x="137" y="54"/>
                      <a:pt x="137" y="54"/>
                      <a:pt x="137" y="54"/>
                    </a:cubicBezTo>
                    <a:cubicBezTo>
                      <a:pt x="137" y="54"/>
                      <a:pt x="137" y="54"/>
                      <a:pt x="137" y="54"/>
                    </a:cubicBezTo>
                    <a:cubicBezTo>
                      <a:pt x="137" y="54"/>
                      <a:pt x="137" y="54"/>
                      <a:pt x="137" y="54"/>
                    </a:cubicBezTo>
                    <a:cubicBezTo>
                      <a:pt x="137" y="53"/>
                      <a:pt x="137" y="53"/>
                      <a:pt x="137" y="53"/>
                    </a:cubicBezTo>
                    <a:cubicBezTo>
                      <a:pt x="137" y="53"/>
                      <a:pt x="137" y="53"/>
                      <a:pt x="137" y="53"/>
                    </a:cubicBezTo>
                    <a:cubicBezTo>
                      <a:pt x="137" y="53"/>
                      <a:pt x="137" y="53"/>
                      <a:pt x="137" y="53"/>
                    </a:cubicBezTo>
                    <a:cubicBezTo>
                      <a:pt x="137" y="53"/>
                      <a:pt x="137" y="53"/>
                      <a:pt x="137" y="53"/>
                    </a:cubicBezTo>
                    <a:cubicBezTo>
                      <a:pt x="137" y="53"/>
                      <a:pt x="137" y="53"/>
                      <a:pt x="137" y="53"/>
                    </a:cubicBezTo>
                    <a:cubicBezTo>
                      <a:pt x="137" y="52"/>
                      <a:pt x="137" y="52"/>
                      <a:pt x="137" y="52"/>
                    </a:cubicBezTo>
                    <a:cubicBezTo>
                      <a:pt x="137" y="52"/>
                      <a:pt x="137" y="52"/>
                      <a:pt x="137" y="52"/>
                    </a:cubicBezTo>
                    <a:cubicBezTo>
                      <a:pt x="137" y="52"/>
                      <a:pt x="137" y="52"/>
                      <a:pt x="137" y="52"/>
                    </a:cubicBezTo>
                    <a:cubicBezTo>
                      <a:pt x="137" y="52"/>
                      <a:pt x="137" y="52"/>
                      <a:pt x="137" y="52"/>
                    </a:cubicBezTo>
                    <a:cubicBezTo>
                      <a:pt x="137" y="52"/>
                      <a:pt x="137" y="52"/>
                      <a:pt x="137" y="52"/>
                    </a:cubicBezTo>
                    <a:cubicBezTo>
                      <a:pt x="137" y="51"/>
                      <a:pt x="137" y="51"/>
                      <a:pt x="137" y="51"/>
                    </a:cubicBezTo>
                    <a:cubicBezTo>
                      <a:pt x="137" y="51"/>
                      <a:pt x="137" y="51"/>
                      <a:pt x="137" y="51"/>
                    </a:cubicBezTo>
                    <a:cubicBezTo>
                      <a:pt x="137" y="51"/>
                      <a:pt x="137" y="51"/>
                      <a:pt x="137" y="51"/>
                    </a:cubicBezTo>
                    <a:cubicBezTo>
                      <a:pt x="137" y="51"/>
                      <a:pt x="137" y="51"/>
                      <a:pt x="137" y="51"/>
                    </a:cubicBezTo>
                    <a:cubicBezTo>
                      <a:pt x="137" y="51"/>
                      <a:pt x="137" y="51"/>
                      <a:pt x="137" y="51"/>
                    </a:cubicBezTo>
                    <a:cubicBezTo>
                      <a:pt x="137" y="50"/>
                      <a:pt x="137" y="50"/>
                      <a:pt x="137" y="50"/>
                    </a:cubicBezTo>
                    <a:cubicBezTo>
                      <a:pt x="137" y="50"/>
                      <a:pt x="137" y="50"/>
                      <a:pt x="137" y="50"/>
                    </a:cubicBezTo>
                    <a:cubicBezTo>
                      <a:pt x="137" y="50"/>
                      <a:pt x="137" y="50"/>
                      <a:pt x="137" y="50"/>
                    </a:cubicBezTo>
                    <a:cubicBezTo>
                      <a:pt x="137" y="50"/>
                      <a:pt x="137" y="50"/>
                      <a:pt x="137" y="50"/>
                    </a:cubicBezTo>
                    <a:cubicBezTo>
                      <a:pt x="137" y="50"/>
                      <a:pt x="137" y="50"/>
                      <a:pt x="137" y="50"/>
                    </a:cubicBezTo>
                    <a:cubicBezTo>
                      <a:pt x="137" y="49"/>
                      <a:pt x="137" y="49"/>
                      <a:pt x="137" y="49"/>
                    </a:cubicBezTo>
                    <a:cubicBezTo>
                      <a:pt x="137" y="49"/>
                      <a:pt x="137" y="49"/>
                      <a:pt x="137" y="49"/>
                    </a:cubicBezTo>
                    <a:cubicBezTo>
                      <a:pt x="137" y="49"/>
                      <a:pt x="137" y="49"/>
                      <a:pt x="137" y="49"/>
                    </a:cubicBezTo>
                    <a:cubicBezTo>
                      <a:pt x="137" y="49"/>
                      <a:pt x="137" y="49"/>
                      <a:pt x="137" y="49"/>
                    </a:cubicBezTo>
                    <a:cubicBezTo>
                      <a:pt x="137" y="49"/>
                      <a:pt x="137" y="49"/>
                      <a:pt x="137" y="49"/>
                    </a:cubicBezTo>
                    <a:cubicBezTo>
                      <a:pt x="137" y="49"/>
                      <a:pt x="137" y="49"/>
                      <a:pt x="137" y="49"/>
                    </a:cubicBezTo>
                    <a:cubicBezTo>
                      <a:pt x="137" y="48"/>
                      <a:pt x="137" y="48"/>
                      <a:pt x="137" y="48"/>
                    </a:cubicBezTo>
                    <a:cubicBezTo>
                      <a:pt x="137" y="48"/>
                      <a:pt x="137" y="48"/>
                      <a:pt x="137" y="48"/>
                    </a:cubicBezTo>
                    <a:cubicBezTo>
                      <a:pt x="137" y="48"/>
                      <a:pt x="137" y="48"/>
                      <a:pt x="137" y="48"/>
                    </a:cubicBezTo>
                    <a:cubicBezTo>
                      <a:pt x="137" y="48"/>
                      <a:pt x="137" y="48"/>
                      <a:pt x="137" y="48"/>
                    </a:cubicBezTo>
                    <a:cubicBezTo>
                      <a:pt x="137" y="48"/>
                      <a:pt x="137" y="48"/>
                      <a:pt x="137" y="48"/>
                    </a:cubicBezTo>
                    <a:cubicBezTo>
                      <a:pt x="137" y="47"/>
                      <a:pt x="137" y="47"/>
                      <a:pt x="137" y="47"/>
                    </a:cubicBezTo>
                    <a:cubicBezTo>
                      <a:pt x="137" y="47"/>
                      <a:pt x="137" y="47"/>
                      <a:pt x="137" y="47"/>
                    </a:cubicBezTo>
                    <a:cubicBezTo>
                      <a:pt x="137" y="47"/>
                      <a:pt x="137" y="47"/>
                      <a:pt x="137" y="47"/>
                    </a:cubicBezTo>
                    <a:cubicBezTo>
                      <a:pt x="137" y="47"/>
                      <a:pt x="137" y="47"/>
                      <a:pt x="137" y="47"/>
                    </a:cubicBezTo>
                    <a:cubicBezTo>
                      <a:pt x="137" y="47"/>
                      <a:pt x="137" y="47"/>
                      <a:pt x="137" y="47"/>
                    </a:cubicBezTo>
                    <a:cubicBezTo>
                      <a:pt x="137" y="46"/>
                      <a:pt x="137" y="46"/>
                      <a:pt x="137" y="46"/>
                    </a:cubicBezTo>
                    <a:cubicBezTo>
                      <a:pt x="137" y="46"/>
                      <a:pt x="137" y="46"/>
                      <a:pt x="137" y="46"/>
                    </a:cubicBezTo>
                    <a:cubicBezTo>
                      <a:pt x="137" y="46"/>
                      <a:pt x="137" y="46"/>
                      <a:pt x="137" y="46"/>
                    </a:cubicBezTo>
                    <a:cubicBezTo>
                      <a:pt x="137" y="46"/>
                      <a:pt x="137" y="46"/>
                      <a:pt x="137" y="46"/>
                    </a:cubicBezTo>
                    <a:cubicBezTo>
                      <a:pt x="137" y="46"/>
                      <a:pt x="137" y="46"/>
                      <a:pt x="137" y="46"/>
                    </a:cubicBezTo>
                    <a:cubicBezTo>
                      <a:pt x="137" y="45"/>
                      <a:pt x="137" y="45"/>
                      <a:pt x="137" y="45"/>
                    </a:cubicBezTo>
                    <a:cubicBezTo>
                      <a:pt x="137" y="45"/>
                      <a:pt x="137" y="45"/>
                      <a:pt x="137" y="45"/>
                    </a:cubicBezTo>
                    <a:cubicBezTo>
                      <a:pt x="137" y="45"/>
                      <a:pt x="137" y="45"/>
                      <a:pt x="137" y="45"/>
                    </a:cubicBezTo>
                    <a:cubicBezTo>
                      <a:pt x="137" y="45"/>
                      <a:pt x="137" y="45"/>
                      <a:pt x="137" y="45"/>
                    </a:cubicBezTo>
                    <a:cubicBezTo>
                      <a:pt x="137" y="45"/>
                      <a:pt x="137" y="45"/>
                      <a:pt x="137" y="45"/>
                    </a:cubicBezTo>
                    <a:cubicBezTo>
                      <a:pt x="137" y="44"/>
                      <a:pt x="137" y="44"/>
                      <a:pt x="137" y="44"/>
                    </a:cubicBezTo>
                    <a:cubicBezTo>
                      <a:pt x="137" y="44"/>
                      <a:pt x="137" y="44"/>
                      <a:pt x="137" y="44"/>
                    </a:cubicBezTo>
                    <a:cubicBezTo>
                      <a:pt x="137" y="44"/>
                      <a:pt x="137" y="44"/>
                      <a:pt x="137" y="44"/>
                    </a:cubicBezTo>
                    <a:cubicBezTo>
                      <a:pt x="137" y="44"/>
                      <a:pt x="137" y="44"/>
                      <a:pt x="137" y="44"/>
                    </a:cubicBezTo>
                    <a:cubicBezTo>
                      <a:pt x="137" y="44"/>
                      <a:pt x="137" y="44"/>
                      <a:pt x="137" y="44"/>
                    </a:cubicBezTo>
                    <a:cubicBezTo>
                      <a:pt x="137" y="43"/>
                      <a:pt x="137" y="43"/>
                      <a:pt x="137" y="43"/>
                    </a:cubicBezTo>
                    <a:cubicBezTo>
                      <a:pt x="137" y="43"/>
                      <a:pt x="137" y="43"/>
                      <a:pt x="137" y="43"/>
                    </a:cubicBezTo>
                    <a:cubicBezTo>
                      <a:pt x="137" y="43"/>
                      <a:pt x="137" y="43"/>
                      <a:pt x="137" y="43"/>
                    </a:cubicBezTo>
                    <a:cubicBezTo>
                      <a:pt x="137" y="43"/>
                      <a:pt x="137" y="43"/>
                      <a:pt x="137" y="43"/>
                    </a:cubicBezTo>
                    <a:cubicBezTo>
                      <a:pt x="137" y="43"/>
                      <a:pt x="137" y="43"/>
                      <a:pt x="137" y="43"/>
                    </a:cubicBezTo>
                    <a:cubicBezTo>
                      <a:pt x="137" y="42"/>
                      <a:pt x="137" y="42"/>
                      <a:pt x="137" y="42"/>
                    </a:cubicBezTo>
                    <a:cubicBezTo>
                      <a:pt x="137" y="42"/>
                      <a:pt x="137" y="42"/>
                      <a:pt x="137" y="42"/>
                    </a:cubicBezTo>
                    <a:cubicBezTo>
                      <a:pt x="137" y="42"/>
                      <a:pt x="137" y="42"/>
                      <a:pt x="137" y="42"/>
                    </a:cubicBezTo>
                    <a:cubicBezTo>
                      <a:pt x="137" y="42"/>
                      <a:pt x="137" y="42"/>
                      <a:pt x="137" y="42"/>
                    </a:cubicBezTo>
                    <a:cubicBezTo>
                      <a:pt x="137" y="42"/>
                      <a:pt x="137" y="42"/>
                      <a:pt x="137" y="42"/>
                    </a:cubicBezTo>
                    <a:cubicBezTo>
                      <a:pt x="137" y="41"/>
                      <a:pt x="137" y="41"/>
                      <a:pt x="137" y="41"/>
                    </a:cubicBezTo>
                    <a:cubicBezTo>
                      <a:pt x="137" y="41"/>
                      <a:pt x="137" y="41"/>
                      <a:pt x="137" y="41"/>
                    </a:cubicBezTo>
                    <a:cubicBezTo>
                      <a:pt x="137" y="41"/>
                      <a:pt x="137" y="41"/>
                      <a:pt x="137" y="41"/>
                    </a:cubicBezTo>
                    <a:cubicBezTo>
                      <a:pt x="137" y="41"/>
                      <a:pt x="137" y="41"/>
                      <a:pt x="137" y="41"/>
                    </a:cubicBezTo>
                    <a:cubicBezTo>
                      <a:pt x="137" y="41"/>
                      <a:pt x="137" y="41"/>
                      <a:pt x="137" y="41"/>
                    </a:cubicBezTo>
                    <a:cubicBezTo>
                      <a:pt x="137" y="40"/>
                      <a:pt x="137" y="40"/>
                      <a:pt x="137" y="40"/>
                    </a:cubicBezTo>
                    <a:cubicBezTo>
                      <a:pt x="137" y="40"/>
                      <a:pt x="137" y="40"/>
                      <a:pt x="137" y="40"/>
                    </a:cubicBezTo>
                    <a:cubicBezTo>
                      <a:pt x="137" y="40"/>
                      <a:pt x="137" y="40"/>
                      <a:pt x="137" y="40"/>
                    </a:cubicBezTo>
                    <a:cubicBezTo>
                      <a:pt x="137" y="40"/>
                      <a:pt x="137" y="40"/>
                      <a:pt x="137" y="40"/>
                    </a:cubicBezTo>
                    <a:cubicBezTo>
                      <a:pt x="137" y="40"/>
                      <a:pt x="137" y="40"/>
                      <a:pt x="137" y="40"/>
                    </a:cubicBezTo>
                    <a:cubicBezTo>
                      <a:pt x="137" y="39"/>
                      <a:pt x="137" y="39"/>
                      <a:pt x="137" y="39"/>
                    </a:cubicBezTo>
                    <a:cubicBezTo>
                      <a:pt x="137" y="39"/>
                      <a:pt x="137" y="39"/>
                      <a:pt x="137" y="39"/>
                    </a:cubicBezTo>
                    <a:cubicBezTo>
                      <a:pt x="137" y="39"/>
                      <a:pt x="137" y="39"/>
                      <a:pt x="137" y="39"/>
                    </a:cubicBezTo>
                    <a:cubicBezTo>
                      <a:pt x="137" y="39"/>
                      <a:pt x="137" y="39"/>
                      <a:pt x="137" y="39"/>
                    </a:cubicBezTo>
                    <a:cubicBezTo>
                      <a:pt x="137" y="39"/>
                      <a:pt x="137" y="39"/>
                      <a:pt x="137" y="39"/>
                    </a:cubicBezTo>
                    <a:cubicBezTo>
                      <a:pt x="137" y="39"/>
                      <a:pt x="137" y="39"/>
                      <a:pt x="137" y="39"/>
                    </a:cubicBezTo>
                    <a:cubicBezTo>
                      <a:pt x="137" y="38"/>
                      <a:pt x="137" y="38"/>
                      <a:pt x="137" y="38"/>
                    </a:cubicBezTo>
                    <a:cubicBezTo>
                      <a:pt x="137" y="38"/>
                      <a:pt x="137" y="38"/>
                      <a:pt x="137" y="38"/>
                    </a:cubicBezTo>
                    <a:close/>
                  </a:path>
                </a:pathLst>
              </a:custGeom>
              <a:solidFill>
                <a:srgbClr val="D8D7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5" name="Freeform 1414"/>
              <p:cNvSpPr>
                <a:spLocks/>
              </p:cNvSpPr>
              <p:nvPr/>
            </p:nvSpPr>
            <p:spPr bwMode="auto">
              <a:xfrm>
                <a:off x="5743576" y="13282613"/>
                <a:ext cx="327025" cy="173038"/>
              </a:xfrm>
              <a:custGeom>
                <a:avLst/>
                <a:gdLst>
                  <a:gd name="T0" fmla="*/ 139 w 157"/>
                  <a:gd name="T1" fmla="*/ 53 h 83"/>
                  <a:gd name="T2" fmla="*/ 19 w 157"/>
                  <a:gd name="T3" fmla="*/ 57 h 83"/>
                  <a:gd name="T4" fmla="*/ 35 w 157"/>
                  <a:gd name="T5" fmla="*/ 11 h 83"/>
                  <a:gd name="T6" fmla="*/ 106 w 157"/>
                  <a:gd name="T7" fmla="*/ 6 h 83"/>
                  <a:gd name="T8" fmla="*/ 139 w 157"/>
                  <a:gd name="T9" fmla="*/ 53 h 83"/>
                </a:gdLst>
                <a:ahLst/>
                <a:cxnLst>
                  <a:cxn ang="0">
                    <a:pos x="T0" y="T1"/>
                  </a:cxn>
                  <a:cxn ang="0">
                    <a:pos x="T2" y="T3"/>
                  </a:cxn>
                  <a:cxn ang="0">
                    <a:pos x="T4" y="T5"/>
                  </a:cxn>
                  <a:cxn ang="0">
                    <a:pos x="T6" y="T7"/>
                  </a:cxn>
                  <a:cxn ang="0">
                    <a:pos x="T8" y="T9"/>
                  </a:cxn>
                </a:cxnLst>
                <a:rect l="0" t="0" r="r" b="b"/>
                <a:pathLst>
                  <a:path w="157" h="83">
                    <a:moveTo>
                      <a:pt x="139" y="53"/>
                    </a:moveTo>
                    <a:cubicBezTo>
                      <a:pt x="114" y="81"/>
                      <a:pt x="48" y="83"/>
                      <a:pt x="19" y="57"/>
                    </a:cubicBezTo>
                    <a:cubicBezTo>
                      <a:pt x="0" y="41"/>
                      <a:pt x="12" y="21"/>
                      <a:pt x="35" y="11"/>
                    </a:cubicBezTo>
                    <a:cubicBezTo>
                      <a:pt x="55" y="3"/>
                      <a:pt x="83" y="0"/>
                      <a:pt x="106" y="6"/>
                    </a:cubicBezTo>
                    <a:cubicBezTo>
                      <a:pt x="136" y="13"/>
                      <a:pt x="157" y="32"/>
                      <a:pt x="139" y="53"/>
                    </a:cubicBezTo>
                    <a:close/>
                  </a:path>
                </a:pathLst>
              </a:custGeom>
              <a:solidFill>
                <a:srgbClr val="EAEA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6" name="Freeform 1415"/>
              <p:cNvSpPr>
                <a:spLocks/>
              </p:cNvSpPr>
              <p:nvPr/>
            </p:nvSpPr>
            <p:spPr bwMode="auto">
              <a:xfrm>
                <a:off x="5819776" y="13308013"/>
                <a:ext cx="193675" cy="79375"/>
              </a:xfrm>
              <a:custGeom>
                <a:avLst/>
                <a:gdLst>
                  <a:gd name="T0" fmla="*/ 79 w 92"/>
                  <a:gd name="T1" fmla="*/ 36 h 38"/>
                  <a:gd name="T2" fmla="*/ 2 w 92"/>
                  <a:gd name="T3" fmla="*/ 4 h 38"/>
                  <a:gd name="T4" fmla="*/ 2 w 92"/>
                  <a:gd name="T5" fmla="*/ 1 h 38"/>
                  <a:gd name="T6" fmla="*/ 9 w 92"/>
                  <a:gd name="T7" fmla="*/ 0 h 38"/>
                  <a:gd name="T8" fmla="*/ 86 w 92"/>
                  <a:gd name="T9" fmla="*/ 30 h 38"/>
                  <a:gd name="T10" fmla="*/ 90 w 92"/>
                  <a:gd name="T11" fmla="*/ 36 h 38"/>
                  <a:gd name="T12" fmla="*/ 79 w 92"/>
                  <a:gd name="T13" fmla="*/ 36 h 38"/>
                </a:gdLst>
                <a:ahLst/>
                <a:cxnLst>
                  <a:cxn ang="0">
                    <a:pos x="T0" y="T1"/>
                  </a:cxn>
                  <a:cxn ang="0">
                    <a:pos x="T2" y="T3"/>
                  </a:cxn>
                  <a:cxn ang="0">
                    <a:pos x="T4" y="T5"/>
                  </a:cxn>
                  <a:cxn ang="0">
                    <a:pos x="T6" y="T7"/>
                  </a:cxn>
                  <a:cxn ang="0">
                    <a:pos x="T8" y="T9"/>
                  </a:cxn>
                  <a:cxn ang="0">
                    <a:pos x="T10" y="T11"/>
                  </a:cxn>
                  <a:cxn ang="0">
                    <a:pos x="T12" y="T13"/>
                  </a:cxn>
                </a:cxnLst>
                <a:rect l="0" t="0" r="r" b="b"/>
                <a:pathLst>
                  <a:path w="92" h="38">
                    <a:moveTo>
                      <a:pt x="79" y="36"/>
                    </a:moveTo>
                    <a:cubicBezTo>
                      <a:pt x="2" y="4"/>
                      <a:pt x="2" y="4"/>
                      <a:pt x="2" y="4"/>
                    </a:cubicBezTo>
                    <a:cubicBezTo>
                      <a:pt x="0" y="3"/>
                      <a:pt x="0" y="2"/>
                      <a:pt x="2" y="1"/>
                    </a:cubicBezTo>
                    <a:cubicBezTo>
                      <a:pt x="4" y="0"/>
                      <a:pt x="7" y="0"/>
                      <a:pt x="9" y="0"/>
                    </a:cubicBezTo>
                    <a:cubicBezTo>
                      <a:pt x="86" y="30"/>
                      <a:pt x="86" y="30"/>
                      <a:pt x="86" y="30"/>
                    </a:cubicBezTo>
                    <a:cubicBezTo>
                      <a:pt x="90" y="31"/>
                      <a:pt x="92" y="34"/>
                      <a:pt x="90" y="36"/>
                    </a:cubicBezTo>
                    <a:cubicBezTo>
                      <a:pt x="88" y="38"/>
                      <a:pt x="83" y="38"/>
                      <a:pt x="79" y="36"/>
                    </a:cubicBezTo>
                    <a:close/>
                  </a:path>
                </a:pathLst>
              </a:custGeom>
              <a:solidFill>
                <a:srgbClr val="D8D7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117" name="กลุ่ม 253"/>
            <p:cNvGrpSpPr/>
            <p:nvPr/>
          </p:nvGrpSpPr>
          <p:grpSpPr>
            <a:xfrm>
              <a:off x="4307930" y="849154"/>
              <a:ext cx="887154" cy="631203"/>
              <a:chOff x="5614988" y="13601701"/>
              <a:chExt cx="649288" cy="461963"/>
            </a:xfrm>
          </p:grpSpPr>
          <p:sp>
            <p:nvSpPr>
              <p:cNvPr id="118" name="Freeform 1430"/>
              <p:cNvSpPr>
                <a:spLocks/>
              </p:cNvSpPr>
              <p:nvPr/>
            </p:nvSpPr>
            <p:spPr bwMode="auto">
              <a:xfrm>
                <a:off x="5653088" y="13601701"/>
                <a:ext cx="566738" cy="461963"/>
              </a:xfrm>
              <a:custGeom>
                <a:avLst/>
                <a:gdLst>
                  <a:gd name="T0" fmla="*/ 1 w 271"/>
                  <a:gd name="T1" fmla="*/ 76 h 221"/>
                  <a:gd name="T2" fmla="*/ 1 w 271"/>
                  <a:gd name="T3" fmla="*/ 78 h 221"/>
                  <a:gd name="T4" fmla="*/ 1 w 271"/>
                  <a:gd name="T5" fmla="*/ 79 h 221"/>
                  <a:gd name="T6" fmla="*/ 1 w 271"/>
                  <a:gd name="T7" fmla="*/ 81 h 221"/>
                  <a:gd name="T8" fmla="*/ 1 w 271"/>
                  <a:gd name="T9" fmla="*/ 83 h 221"/>
                  <a:gd name="T10" fmla="*/ 1 w 271"/>
                  <a:gd name="T11" fmla="*/ 85 h 221"/>
                  <a:gd name="T12" fmla="*/ 1 w 271"/>
                  <a:gd name="T13" fmla="*/ 87 h 221"/>
                  <a:gd name="T14" fmla="*/ 1 w 271"/>
                  <a:gd name="T15" fmla="*/ 89 h 221"/>
                  <a:gd name="T16" fmla="*/ 1 w 271"/>
                  <a:gd name="T17" fmla="*/ 91 h 221"/>
                  <a:gd name="T18" fmla="*/ 1 w 271"/>
                  <a:gd name="T19" fmla="*/ 93 h 221"/>
                  <a:gd name="T20" fmla="*/ 1 w 271"/>
                  <a:gd name="T21" fmla="*/ 95 h 221"/>
                  <a:gd name="T22" fmla="*/ 1 w 271"/>
                  <a:gd name="T23" fmla="*/ 97 h 221"/>
                  <a:gd name="T24" fmla="*/ 1 w 271"/>
                  <a:gd name="T25" fmla="*/ 99 h 221"/>
                  <a:gd name="T26" fmla="*/ 1 w 271"/>
                  <a:gd name="T27" fmla="*/ 101 h 221"/>
                  <a:gd name="T28" fmla="*/ 1 w 271"/>
                  <a:gd name="T29" fmla="*/ 103 h 221"/>
                  <a:gd name="T30" fmla="*/ 1 w 271"/>
                  <a:gd name="T31" fmla="*/ 105 h 221"/>
                  <a:gd name="T32" fmla="*/ 1 w 271"/>
                  <a:gd name="T33" fmla="*/ 107 h 221"/>
                  <a:gd name="T34" fmla="*/ 1 w 271"/>
                  <a:gd name="T35" fmla="*/ 109 h 221"/>
                  <a:gd name="T36" fmla="*/ 1 w 271"/>
                  <a:gd name="T37" fmla="*/ 111 h 221"/>
                  <a:gd name="T38" fmla="*/ 1 w 271"/>
                  <a:gd name="T39" fmla="*/ 112 h 221"/>
                  <a:gd name="T40" fmla="*/ 1 w 271"/>
                  <a:gd name="T41" fmla="*/ 114 h 221"/>
                  <a:gd name="T42" fmla="*/ 1 w 271"/>
                  <a:gd name="T43" fmla="*/ 116 h 221"/>
                  <a:gd name="T44" fmla="*/ 1 w 271"/>
                  <a:gd name="T45" fmla="*/ 118 h 221"/>
                  <a:gd name="T46" fmla="*/ 1 w 271"/>
                  <a:gd name="T47" fmla="*/ 120 h 221"/>
                  <a:gd name="T48" fmla="*/ 1 w 271"/>
                  <a:gd name="T49" fmla="*/ 122 h 221"/>
                  <a:gd name="T50" fmla="*/ 1 w 271"/>
                  <a:gd name="T51" fmla="*/ 124 h 221"/>
                  <a:gd name="T52" fmla="*/ 1 w 271"/>
                  <a:gd name="T53" fmla="*/ 126 h 221"/>
                  <a:gd name="T54" fmla="*/ 1 w 271"/>
                  <a:gd name="T55" fmla="*/ 128 h 221"/>
                  <a:gd name="T56" fmla="*/ 1 w 271"/>
                  <a:gd name="T57" fmla="*/ 130 h 221"/>
                  <a:gd name="T58" fmla="*/ 1 w 271"/>
                  <a:gd name="T59" fmla="*/ 132 h 221"/>
                  <a:gd name="T60" fmla="*/ 19 w 271"/>
                  <a:gd name="T61" fmla="*/ 172 h 221"/>
                  <a:gd name="T62" fmla="*/ 270 w 271"/>
                  <a:gd name="T63" fmla="*/ 131 h 221"/>
                  <a:gd name="T64" fmla="*/ 270 w 271"/>
                  <a:gd name="T65" fmla="*/ 129 h 221"/>
                  <a:gd name="T66" fmla="*/ 270 w 271"/>
                  <a:gd name="T67" fmla="*/ 127 h 221"/>
                  <a:gd name="T68" fmla="*/ 270 w 271"/>
                  <a:gd name="T69" fmla="*/ 126 h 221"/>
                  <a:gd name="T70" fmla="*/ 270 w 271"/>
                  <a:gd name="T71" fmla="*/ 124 h 221"/>
                  <a:gd name="T72" fmla="*/ 270 w 271"/>
                  <a:gd name="T73" fmla="*/ 122 h 221"/>
                  <a:gd name="T74" fmla="*/ 270 w 271"/>
                  <a:gd name="T75" fmla="*/ 120 h 221"/>
                  <a:gd name="T76" fmla="*/ 270 w 271"/>
                  <a:gd name="T77" fmla="*/ 118 h 221"/>
                  <a:gd name="T78" fmla="*/ 270 w 271"/>
                  <a:gd name="T79" fmla="*/ 116 h 221"/>
                  <a:gd name="T80" fmla="*/ 270 w 271"/>
                  <a:gd name="T81" fmla="*/ 114 h 221"/>
                  <a:gd name="T82" fmla="*/ 270 w 271"/>
                  <a:gd name="T83" fmla="*/ 112 h 221"/>
                  <a:gd name="T84" fmla="*/ 270 w 271"/>
                  <a:gd name="T85" fmla="*/ 110 h 221"/>
                  <a:gd name="T86" fmla="*/ 270 w 271"/>
                  <a:gd name="T87" fmla="*/ 108 h 221"/>
                  <a:gd name="T88" fmla="*/ 270 w 271"/>
                  <a:gd name="T89" fmla="*/ 106 h 221"/>
                  <a:gd name="T90" fmla="*/ 270 w 271"/>
                  <a:gd name="T91" fmla="*/ 104 h 221"/>
                  <a:gd name="T92" fmla="*/ 270 w 271"/>
                  <a:gd name="T93" fmla="*/ 102 h 221"/>
                  <a:gd name="T94" fmla="*/ 270 w 271"/>
                  <a:gd name="T95" fmla="*/ 100 h 221"/>
                  <a:gd name="T96" fmla="*/ 270 w 271"/>
                  <a:gd name="T97" fmla="*/ 98 h 221"/>
                  <a:gd name="T98" fmla="*/ 270 w 271"/>
                  <a:gd name="T99" fmla="*/ 96 h 221"/>
                  <a:gd name="T100" fmla="*/ 270 w 271"/>
                  <a:gd name="T101" fmla="*/ 95 h 221"/>
                  <a:gd name="T102" fmla="*/ 270 w 271"/>
                  <a:gd name="T103" fmla="*/ 93 h 221"/>
                  <a:gd name="T104" fmla="*/ 270 w 271"/>
                  <a:gd name="T105" fmla="*/ 91 h 221"/>
                  <a:gd name="T106" fmla="*/ 270 w 271"/>
                  <a:gd name="T107" fmla="*/ 89 h 221"/>
                  <a:gd name="T108" fmla="*/ 270 w 271"/>
                  <a:gd name="T109" fmla="*/ 87 h 221"/>
                  <a:gd name="T110" fmla="*/ 270 w 271"/>
                  <a:gd name="T111" fmla="*/ 85 h 221"/>
                  <a:gd name="T112" fmla="*/ 270 w 271"/>
                  <a:gd name="T113" fmla="*/ 83 h 221"/>
                  <a:gd name="T114" fmla="*/ 270 w 271"/>
                  <a:gd name="T115" fmla="*/ 81 h 221"/>
                  <a:gd name="T116" fmla="*/ 270 w 271"/>
                  <a:gd name="T117" fmla="*/ 79 h 221"/>
                  <a:gd name="T118" fmla="*/ 270 w 271"/>
                  <a:gd name="T119" fmla="*/ 77 h 221"/>
                  <a:gd name="T120" fmla="*/ 270 w 271"/>
                  <a:gd name="T121" fmla="*/ 75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1" h="221">
                    <a:moveTo>
                      <a:pt x="270" y="74"/>
                    </a:moveTo>
                    <a:cubicBezTo>
                      <a:pt x="271" y="45"/>
                      <a:pt x="236" y="21"/>
                      <a:pt x="192" y="10"/>
                    </a:cubicBezTo>
                    <a:cubicBezTo>
                      <a:pt x="146" y="0"/>
                      <a:pt x="90" y="5"/>
                      <a:pt x="51" y="21"/>
                    </a:cubicBezTo>
                    <a:cubicBezTo>
                      <a:pt x="22" y="34"/>
                      <a:pt x="3" y="54"/>
                      <a:pt x="1" y="75"/>
                    </a:cubicBezTo>
                    <a:cubicBezTo>
                      <a:pt x="1" y="75"/>
                      <a:pt x="1" y="75"/>
                      <a:pt x="1" y="76"/>
                    </a:cubicBezTo>
                    <a:cubicBezTo>
                      <a:pt x="1" y="76"/>
                      <a:pt x="1" y="76"/>
                      <a:pt x="1" y="76"/>
                    </a:cubicBezTo>
                    <a:cubicBezTo>
                      <a:pt x="1" y="76"/>
                      <a:pt x="1" y="76"/>
                      <a:pt x="1" y="76"/>
                    </a:cubicBezTo>
                    <a:cubicBezTo>
                      <a:pt x="1" y="76"/>
                      <a:pt x="1" y="77"/>
                      <a:pt x="1" y="77"/>
                    </a:cubicBezTo>
                    <a:cubicBezTo>
                      <a:pt x="1" y="77"/>
                      <a:pt x="1" y="77"/>
                      <a:pt x="1" y="77"/>
                    </a:cubicBezTo>
                    <a:cubicBezTo>
                      <a:pt x="1" y="77"/>
                      <a:pt x="1" y="77"/>
                      <a:pt x="1" y="78"/>
                    </a:cubicBezTo>
                    <a:cubicBezTo>
                      <a:pt x="1" y="78"/>
                      <a:pt x="1" y="78"/>
                      <a:pt x="1" y="78"/>
                    </a:cubicBezTo>
                    <a:cubicBezTo>
                      <a:pt x="1" y="78"/>
                      <a:pt x="1" y="78"/>
                      <a:pt x="1" y="78"/>
                    </a:cubicBezTo>
                    <a:cubicBezTo>
                      <a:pt x="1" y="78"/>
                      <a:pt x="1" y="79"/>
                      <a:pt x="1" y="79"/>
                    </a:cubicBezTo>
                    <a:cubicBezTo>
                      <a:pt x="1" y="79"/>
                      <a:pt x="1" y="79"/>
                      <a:pt x="1" y="79"/>
                    </a:cubicBezTo>
                    <a:cubicBezTo>
                      <a:pt x="1" y="79"/>
                      <a:pt x="1" y="79"/>
                      <a:pt x="1" y="79"/>
                    </a:cubicBezTo>
                    <a:cubicBezTo>
                      <a:pt x="1" y="80"/>
                      <a:pt x="1" y="80"/>
                      <a:pt x="1" y="80"/>
                    </a:cubicBezTo>
                    <a:cubicBezTo>
                      <a:pt x="1" y="80"/>
                      <a:pt x="1" y="80"/>
                      <a:pt x="1" y="80"/>
                    </a:cubicBezTo>
                    <a:cubicBezTo>
                      <a:pt x="1" y="80"/>
                      <a:pt x="1" y="80"/>
                      <a:pt x="1" y="81"/>
                    </a:cubicBezTo>
                    <a:cubicBezTo>
                      <a:pt x="1" y="81"/>
                      <a:pt x="1" y="81"/>
                      <a:pt x="1" y="81"/>
                    </a:cubicBezTo>
                    <a:cubicBezTo>
                      <a:pt x="1" y="81"/>
                      <a:pt x="1" y="81"/>
                      <a:pt x="1" y="81"/>
                    </a:cubicBezTo>
                    <a:cubicBezTo>
                      <a:pt x="1" y="82"/>
                      <a:pt x="1" y="82"/>
                      <a:pt x="1" y="82"/>
                    </a:cubicBezTo>
                    <a:cubicBezTo>
                      <a:pt x="1" y="82"/>
                      <a:pt x="1" y="82"/>
                      <a:pt x="1" y="82"/>
                    </a:cubicBezTo>
                    <a:cubicBezTo>
                      <a:pt x="1" y="82"/>
                      <a:pt x="1" y="82"/>
                      <a:pt x="1" y="83"/>
                    </a:cubicBezTo>
                    <a:cubicBezTo>
                      <a:pt x="1" y="83"/>
                      <a:pt x="1" y="83"/>
                      <a:pt x="1" y="83"/>
                    </a:cubicBezTo>
                    <a:cubicBezTo>
                      <a:pt x="1" y="83"/>
                      <a:pt x="1" y="83"/>
                      <a:pt x="1" y="83"/>
                    </a:cubicBezTo>
                    <a:cubicBezTo>
                      <a:pt x="1" y="83"/>
                      <a:pt x="1" y="84"/>
                      <a:pt x="1" y="84"/>
                    </a:cubicBezTo>
                    <a:cubicBezTo>
                      <a:pt x="1" y="84"/>
                      <a:pt x="1" y="84"/>
                      <a:pt x="1" y="84"/>
                    </a:cubicBezTo>
                    <a:cubicBezTo>
                      <a:pt x="1" y="84"/>
                      <a:pt x="1" y="84"/>
                      <a:pt x="1" y="85"/>
                    </a:cubicBezTo>
                    <a:cubicBezTo>
                      <a:pt x="1" y="85"/>
                      <a:pt x="1" y="85"/>
                      <a:pt x="1" y="85"/>
                    </a:cubicBezTo>
                    <a:cubicBezTo>
                      <a:pt x="1" y="85"/>
                      <a:pt x="1" y="85"/>
                      <a:pt x="1" y="85"/>
                    </a:cubicBezTo>
                    <a:cubicBezTo>
                      <a:pt x="1" y="85"/>
                      <a:pt x="1" y="86"/>
                      <a:pt x="1" y="86"/>
                    </a:cubicBezTo>
                    <a:cubicBezTo>
                      <a:pt x="1" y="86"/>
                      <a:pt x="1" y="86"/>
                      <a:pt x="1" y="86"/>
                    </a:cubicBezTo>
                    <a:cubicBezTo>
                      <a:pt x="1" y="86"/>
                      <a:pt x="1" y="86"/>
                      <a:pt x="1" y="86"/>
                    </a:cubicBezTo>
                    <a:cubicBezTo>
                      <a:pt x="1" y="87"/>
                      <a:pt x="1" y="87"/>
                      <a:pt x="1" y="87"/>
                    </a:cubicBezTo>
                    <a:cubicBezTo>
                      <a:pt x="1" y="87"/>
                      <a:pt x="1" y="87"/>
                      <a:pt x="1" y="87"/>
                    </a:cubicBezTo>
                    <a:cubicBezTo>
                      <a:pt x="1" y="87"/>
                      <a:pt x="1" y="87"/>
                      <a:pt x="1" y="88"/>
                    </a:cubicBezTo>
                    <a:cubicBezTo>
                      <a:pt x="1" y="88"/>
                      <a:pt x="1" y="88"/>
                      <a:pt x="1" y="88"/>
                    </a:cubicBezTo>
                    <a:cubicBezTo>
                      <a:pt x="1" y="88"/>
                      <a:pt x="1" y="88"/>
                      <a:pt x="1" y="88"/>
                    </a:cubicBezTo>
                    <a:cubicBezTo>
                      <a:pt x="1" y="89"/>
                      <a:pt x="1" y="89"/>
                      <a:pt x="1" y="89"/>
                    </a:cubicBezTo>
                    <a:cubicBezTo>
                      <a:pt x="1" y="89"/>
                      <a:pt x="1" y="89"/>
                      <a:pt x="1" y="89"/>
                    </a:cubicBezTo>
                    <a:cubicBezTo>
                      <a:pt x="1" y="89"/>
                      <a:pt x="1" y="89"/>
                      <a:pt x="1" y="90"/>
                    </a:cubicBezTo>
                    <a:cubicBezTo>
                      <a:pt x="1" y="90"/>
                      <a:pt x="1" y="90"/>
                      <a:pt x="1" y="90"/>
                    </a:cubicBezTo>
                    <a:cubicBezTo>
                      <a:pt x="1" y="90"/>
                      <a:pt x="1" y="90"/>
                      <a:pt x="1" y="90"/>
                    </a:cubicBezTo>
                    <a:cubicBezTo>
                      <a:pt x="1" y="90"/>
                      <a:pt x="1" y="91"/>
                      <a:pt x="1" y="91"/>
                    </a:cubicBezTo>
                    <a:cubicBezTo>
                      <a:pt x="1" y="91"/>
                      <a:pt x="1" y="91"/>
                      <a:pt x="1" y="91"/>
                    </a:cubicBezTo>
                    <a:cubicBezTo>
                      <a:pt x="1" y="91"/>
                      <a:pt x="1" y="91"/>
                      <a:pt x="1" y="91"/>
                    </a:cubicBezTo>
                    <a:cubicBezTo>
                      <a:pt x="1" y="92"/>
                      <a:pt x="1" y="92"/>
                      <a:pt x="1" y="92"/>
                    </a:cubicBezTo>
                    <a:cubicBezTo>
                      <a:pt x="1" y="92"/>
                      <a:pt x="1" y="92"/>
                      <a:pt x="1" y="92"/>
                    </a:cubicBezTo>
                    <a:cubicBezTo>
                      <a:pt x="1" y="92"/>
                      <a:pt x="1" y="93"/>
                      <a:pt x="1" y="93"/>
                    </a:cubicBezTo>
                    <a:cubicBezTo>
                      <a:pt x="1" y="93"/>
                      <a:pt x="1" y="93"/>
                      <a:pt x="1" y="93"/>
                    </a:cubicBezTo>
                    <a:cubicBezTo>
                      <a:pt x="1" y="93"/>
                      <a:pt x="1" y="93"/>
                      <a:pt x="1" y="93"/>
                    </a:cubicBezTo>
                    <a:cubicBezTo>
                      <a:pt x="1" y="94"/>
                      <a:pt x="1" y="94"/>
                      <a:pt x="1" y="94"/>
                    </a:cubicBezTo>
                    <a:cubicBezTo>
                      <a:pt x="1" y="94"/>
                      <a:pt x="1" y="94"/>
                      <a:pt x="1" y="94"/>
                    </a:cubicBezTo>
                    <a:cubicBezTo>
                      <a:pt x="1" y="94"/>
                      <a:pt x="1" y="94"/>
                      <a:pt x="1" y="95"/>
                    </a:cubicBezTo>
                    <a:cubicBezTo>
                      <a:pt x="1" y="95"/>
                      <a:pt x="1" y="95"/>
                      <a:pt x="1" y="95"/>
                    </a:cubicBezTo>
                    <a:cubicBezTo>
                      <a:pt x="1" y="95"/>
                      <a:pt x="1" y="95"/>
                      <a:pt x="1" y="95"/>
                    </a:cubicBezTo>
                    <a:cubicBezTo>
                      <a:pt x="1" y="96"/>
                      <a:pt x="1" y="96"/>
                      <a:pt x="1" y="96"/>
                    </a:cubicBezTo>
                    <a:cubicBezTo>
                      <a:pt x="1" y="96"/>
                      <a:pt x="1" y="96"/>
                      <a:pt x="1" y="96"/>
                    </a:cubicBezTo>
                    <a:cubicBezTo>
                      <a:pt x="1" y="96"/>
                      <a:pt x="1" y="96"/>
                      <a:pt x="1" y="97"/>
                    </a:cubicBezTo>
                    <a:cubicBezTo>
                      <a:pt x="1" y="97"/>
                      <a:pt x="1" y="97"/>
                      <a:pt x="1" y="97"/>
                    </a:cubicBezTo>
                    <a:cubicBezTo>
                      <a:pt x="1" y="97"/>
                      <a:pt x="1" y="97"/>
                      <a:pt x="1" y="97"/>
                    </a:cubicBezTo>
                    <a:cubicBezTo>
                      <a:pt x="1" y="97"/>
                      <a:pt x="1" y="98"/>
                      <a:pt x="1" y="98"/>
                    </a:cubicBezTo>
                    <a:cubicBezTo>
                      <a:pt x="1" y="98"/>
                      <a:pt x="1" y="98"/>
                      <a:pt x="1" y="98"/>
                    </a:cubicBezTo>
                    <a:cubicBezTo>
                      <a:pt x="1" y="98"/>
                      <a:pt x="1" y="98"/>
                      <a:pt x="1" y="98"/>
                    </a:cubicBezTo>
                    <a:cubicBezTo>
                      <a:pt x="1" y="99"/>
                      <a:pt x="1" y="99"/>
                      <a:pt x="1" y="99"/>
                    </a:cubicBezTo>
                    <a:cubicBezTo>
                      <a:pt x="1" y="99"/>
                      <a:pt x="1" y="99"/>
                      <a:pt x="1" y="99"/>
                    </a:cubicBezTo>
                    <a:cubicBezTo>
                      <a:pt x="1" y="99"/>
                      <a:pt x="1" y="100"/>
                      <a:pt x="1" y="100"/>
                    </a:cubicBezTo>
                    <a:cubicBezTo>
                      <a:pt x="1" y="100"/>
                      <a:pt x="1" y="100"/>
                      <a:pt x="1" y="100"/>
                    </a:cubicBezTo>
                    <a:cubicBezTo>
                      <a:pt x="1" y="100"/>
                      <a:pt x="1" y="100"/>
                      <a:pt x="1" y="100"/>
                    </a:cubicBezTo>
                    <a:cubicBezTo>
                      <a:pt x="1" y="101"/>
                      <a:pt x="1" y="101"/>
                      <a:pt x="1" y="101"/>
                    </a:cubicBezTo>
                    <a:cubicBezTo>
                      <a:pt x="1" y="101"/>
                      <a:pt x="1" y="101"/>
                      <a:pt x="1" y="101"/>
                    </a:cubicBezTo>
                    <a:cubicBezTo>
                      <a:pt x="1" y="101"/>
                      <a:pt x="1" y="101"/>
                      <a:pt x="1" y="102"/>
                    </a:cubicBezTo>
                    <a:cubicBezTo>
                      <a:pt x="1" y="102"/>
                      <a:pt x="1" y="102"/>
                      <a:pt x="1" y="102"/>
                    </a:cubicBezTo>
                    <a:cubicBezTo>
                      <a:pt x="1" y="102"/>
                      <a:pt x="1" y="102"/>
                      <a:pt x="1" y="102"/>
                    </a:cubicBezTo>
                    <a:cubicBezTo>
                      <a:pt x="1" y="102"/>
                      <a:pt x="1" y="103"/>
                      <a:pt x="1" y="103"/>
                    </a:cubicBezTo>
                    <a:cubicBezTo>
                      <a:pt x="1" y="103"/>
                      <a:pt x="1" y="103"/>
                      <a:pt x="1" y="103"/>
                    </a:cubicBezTo>
                    <a:cubicBezTo>
                      <a:pt x="1" y="103"/>
                      <a:pt x="1" y="103"/>
                      <a:pt x="1" y="104"/>
                    </a:cubicBezTo>
                    <a:cubicBezTo>
                      <a:pt x="1" y="104"/>
                      <a:pt x="1" y="104"/>
                      <a:pt x="1" y="104"/>
                    </a:cubicBezTo>
                    <a:cubicBezTo>
                      <a:pt x="1" y="104"/>
                      <a:pt x="1" y="104"/>
                      <a:pt x="1" y="104"/>
                    </a:cubicBezTo>
                    <a:cubicBezTo>
                      <a:pt x="1" y="104"/>
                      <a:pt x="1" y="105"/>
                      <a:pt x="1" y="105"/>
                    </a:cubicBezTo>
                    <a:cubicBezTo>
                      <a:pt x="1" y="105"/>
                      <a:pt x="1" y="105"/>
                      <a:pt x="1" y="105"/>
                    </a:cubicBezTo>
                    <a:cubicBezTo>
                      <a:pt x="1" y="105"/>
                      <a:pt x="1" y="105"/>
                      <a:pt x="1" y="105"/>
                    </a:cubicBezTo>
                    <a:cubicBezTo>
                      <a:pt x="1" y="106"/>
                      <a:pt x="1" y="106"/>
                      <a:pt x="1" y="106"/>
                    </a:cubicBezTo>
                    <a:cubicBezTo>
                      <a:pt x="1" y="106"/>
                      <a:pt x="1" y="106"/>
                      <a:pt x="1" y="106"/>
                    </a:cubicBezTo>
                    <a:cubicBezTo>
                      <a:pt x="1" y="106"/>
                      <a:pt x="1" y="107"/>
                      <a:pt x="1" y="107"/>
                    </a:cubicBezTo>
                    <a:cubicBezTo>
                      <a:pt x="1" y="107"/>
                      <a:pt x="1" y="107"/>
                      <a:pt x="1" y="107"/>
                    </a:cubicBezTo>
                    <a:cubicBezTo>
                      <a:pt x="1" y="107"/>
                      <a:pt x="1" y="107"/>
                      <a:pt x="1" y="107"/>
                    </a:cubicBezTo>
                    <a:cubicBezTo>
                      <a:pt x="1" y="108"/>
                      <a:pt x="1" y="108"/>
                      <a:pt x="1" y="108"/>
                    </a:cubicBezTo>
                    <a:cubicBezTo>
                      <a:pt x="1" y="108"/>
                      <a:pt x="1" y="108"/>
                      <a:pt x="1" y="108"/>
                    </a:cubicBezTo>
                    <a:cubicBezTo>
                      <a:pt x="1" y="108"/>
                      <a:pt x="1" y="108"/>
                      <a:pt x="1" y="109"/>
                    </a:cubicBezTo>
                    <a:cubicBezTo>
                      <a:pt x="1" y="109"/>
                      <a:pt x="1" y="109"/>
                      <a:pt x="1" y="109"/>
                    </a:cubicBezTo>
                    <a:cubicBezTo>
                      <a:pt x="1" y="109"/>
                      <a:pt x="1" y="109"/>
                      <a:pt x="1" y="109"/>
                    </a:cubicBezTo>
                    <a:cubicBezTo>
                      <a:pt x="1" y="109"/>
                      <a:pt x="1" y="110"/>
                      <a:pt x="1" y="110"/>
                    </a:cubicBezTo>
                    <a:cubicBezTo>
                      <a:pt x="1" y="110"/>
                      <a:pt x="1" y="110"/>
                      <a:pt x="1" y="110"/>
                    </a:cubicBezTo>
                    <a:cubicBezTo>
                      <a:pt x="1" y="110"/>
                      <a:pt x="1" y="110"/>
                      <a:pt x="1" y="111"/>
                    </a:cubicBezTo>
                    <a:cubicBezTo>
                      <a:pt x="1" y="111"/>
                      <a:pt x="1" y="111"/>
                      <a:pt x="1" y="111"/>
                    </a:cubicBezTo>
                    <a:cubicBezTo>
                      <a:pt x="1" y="111"/>
                      <a:pt x="1" y="111"/>
                      <a:pt x="1" y="111"/>
                    </a:cubicBezTo>
                    <a:cubicBezTo>
                      <a:pt x="1" y="111"/>
                      <a:pt x="1" y="112"/>
                      <a:pt x="1" y="112"/>
                    </a:cubicBezTo>
                    <a:cubicBezTo>
                      <a:pt x="1" y="112"/>
                      <a:pt x="1" y="112"/>
                      <a:pt x="1" y="112"/>
                    </a:cubicBezTo>
                    <a:cubicBezTo>
                      <a:pt x="1" y="112"/>
                      <a:pt x="1" y="112"/>
                      <a:pt x="1" y="112"/>
                    </a:cubicBezTo>
                    <a:cubicBezTo>
                      <a:pt x="1" y="113"/>
                      <a:pt x="1" y="113"/>
                      <a:pt x="1" y="113"/>
                    </a:cubicBezTo>
                    <a:cubicBezTo>
                      <a:pt x="1" y="113"/>
                      <a:pt x="1" y="113"/>
                      <a:pt x="1" y="113"/>
                    </a:cubicBezTo>
                    <a:cubicBezTo>
                      <a:pt x="1" y="113"/>
                      <a:pt x="1" y="113"/>
                      <a:pt x="1" y="114"/>
                    </a:cubicBezTo>
                    <a:cubicBezTo>
                      <a:pt x="1" y="114"/>
                      <a:pt x="1" y="114"/>
                      <a:pt x="1" y="114"/>
                    </a:cubicBezTo>
                    <a:cubicBezTo>
                      <a:pt x="1" y="114"/>
                      <a:pt x="1" y="114"/>
                      <a:pt x="1" y="114"/>
                    </a:cubicBezTo>
                    <a:cubicBezTo>
                      <a:pt x="1" y="115"/>
                      <a:pt x="1" y="115"/>
                      <a:pt x="1" y="115"/>
                    </a:cubicBezTo>
                    <a:cubicBezTo>
                      <a:pt x="1" y="115"/>
                      <a:pt x="1" y="115"/>
                      <a:pt x="1" y="115"/>
                    </a:cubicBezTo>
                    <a:cubicBezTo>
                      <a:pt x="1" y="115"/>
                      <a:pt x="1" y="115"/>
                      <a:pt x="1" y="116"/>
                    </a:cubicBezTo>
                    <a:cubicBezTo>
                      <a:pt x="1" y="116"/>
                      <a:pt x="1" y="116"/>
                      <a:pt x="1" y="116"/>
                    </a:cubicBezTo>
                    <a:cubicBezTo>
                      <a:pt x="1" y="116"/>
                      <a:pt x="1" y="116"/>
                      <a:pt x="1" y="116"/>
                    </a:cubicBezTo>
                    <a:cubicBezTo>
                      <a:pt x="1" y="116"/>
                      <a:pt x="1" y="117"/>
                      <a:pt x="1" y="117"/>
                    </a:cubicBezTo>
                    <a:cubicBezTo>
                      <a:pt x="1" y="117"/>
                      <a:pt x="1" y="117"/>
                      <a:pt x="1" y="117"/>
                    </a:cubicBezTo>
                    <a:cubicBezTo>
                      <a:pt x="1" y="117"/>
                      <a:pt x="1" y="117"/>
                      <a:pt x="1" y="118"/>
                    </a:cubicBezTo>
                    <a:cubicBezTo>
                      <a:pt x="1" y="118"/>
                      <a:pt x="1" y="118"/>
                      <a:pt x="1" y="118"/>
                    </a:cubicBezTo>
                    <a:cubicBezTo>
                      <a:pt x="1" y="118"/>
                      <a:pt x="1" y="118"/>
                      <a:pt x="1" y="118"/>
                    </a:cubicBezTo>
                    <a:cubicBezTo>
                      <a:pt x="1" y="118"/>
                      <a:pt x="1" y="119"/>
                      <a:pt x="1" y="119"/>
                    </a:cubicBezTo>
                    <a:cubicBezTo>
                      <a:pt x="1" y="119"/>
                      <a:pt x="1" y="119"/>
                      <a:pt x="1" y="119"/>
                    </a:cubicBezTo>
                    <a:cubicBezTo>
                      <a:pt x="1" y="119"/>
                      <a:pt x="1" y="119"/>
                      <a:pt x="1" y="119"/>
                    </a:cubicBezTo>
                    <a:cubicBezTo>
                      <a:pt x="1" y="120"/>
                      <a:pt x="1" y="120"/>
                      <a:pt x="1" y="120"/>
                    </a:cubicBezTo>
                    <a:cubicBezTo>
                      <a:pt x="1" y="120"/>
                      <a:pt x="1" y="120"/>
                      <a:pt x="1" y="120"/>
                    </a:cubicBezTo>
                    <a:cubicBezTo>
                      <a:pt x="1" y="120"/>
                      <a:pt x="1" y="120"/>
                      <a:pt x="1" y="121"/>
                    </a:cubicBezTo>
                    <a:cubicBezTo>
                      <a:pt x="1" y="121"/>
                      <a:pt x="1" y="121"/>
                      <a:pt x="1" y="121"/>
                    </a:cubicBezTo>
                    <a:cubicBezTo>
                      <a:pt x="1" y="121"/>
                      <a:pt x="1" y="121"/>
                      <a:pt x="1" y="121"/>
                    </a:cubicBezTo>
                    <a:cubicBezTo>
                      <a:pt x="1" y="122"/>
                      <a:pt x="1" y="122"/>
                      <a:pt x="1" y="122"/>
                    </a:cubicBezTo>
                    <a:cubicBezTo>
                      <a:pt x="1" y="122"/>
                      <a:pt x="1" y="122"/>
                      <a:pt x="1" y="122"/>
                    </a:cubicBezTo>
                    <a:cubicBezTo>
                      <a:pt x="1" y="122"/>
                      <a:pt x="1" y="122"/>
                      <a:pt x="1" y="123"/>
                    </a:cubicBezTo>
                    <a:cubicBezTo>
                      <a:pt x="1" y="123"/>
                      <a:pt x="1" y="123"/>
                      <a:pt x="1" y="123"/>
                    </a:cubicBezTo>
                    <a:cubicBezTo>
                      <a:pt x="1" y="123"/>
                      <a:pt x="1" y="123"/>
                      <a:pt x="1" y="123"/>
                    </a:cubicBezTo>
                    <a:cubicBezTo>
                      <a:pt x="1" y="123"/>
                      <a:pt x="1" y="124"/>
                      <a:pt x="1" y="124"/>
                    </a:cubicBezTo>
                    <a:cubicBezTo>
                      <a:pt x="1" y="124"/>
                      <a:pt x="1" y="124"/>
                      <a:pt x="1" y="124"/>
                    </a:cubicBezTo>
                    <a:cubicBezTo>
                      <a:pt x="1" y="124"/>
                      <a:pt x="1" y="124"/>
                      <a:pt x="1" y="124"/>
                    </a:cubicBezTo>
                    <a:cubicBezTo>
                      <a:pt x="1" y="125"/>
                      <a:pt x="1" y="125"/>
                      <a:pt x="1" y="125"/>
                    </a:cubicBezTo>
                    <a:cubicBezTo>
                      <a:pt x="1" y="125"/>
                      <a:pt x="1" y="125"/>
                      <a:pt x="1" y="125"/>
                    </a:cubicBezTo>
                    <a:cubicBezTo>
                      <a:pt x="1" y="125"/>
                      <a:pt x="1" y="126"/>
                      <a:pt x="1" y="126"/>
                    </a:cubicBezTo>
                    <a:cubicBezTo>
                      <a:pt x="1" y="126"/>
                      <a:pt x="1" y="126"/>
                      <a:pt x="1" y="126"/>
                    </a:cubicBezTo>
                    <a:cubicBezTo>
                      <a:pt x="1" y="126"/>
                      <a:pt x="1" y="126"/>
                      <a:pt x="1" y="126"/>
                    </a:cubicBezTo>
                    <a:cubicBezTo>
                      <a:pt x="1" y="127"/>
                      <a:pt x="1" y="127"/>
                      <a:pt x="1" y="127"/>
                    </a:cubicBezTo>
                    <a:cubicBezTo>
                      <a:pt x="1" y="127"/>
                      <a:pt x="1" y="127"/>
                      <a:pt x="1" y="127"/>
                    </a:cubicBezTo>
                    <a:cubicBezTo>
                      <a:pt x="1" y="127"/>
                      <a:pt x="1" y="127"/>
                      <a:pt x="1" y="128"/>
                    </a:cubicBezTo>
                    <a:cubicBezTo>
                      <a:pt x="1" y="128"/>
                      <a:pt x="1" y="128"/>
                      <a:pt x="1" y="128"/>
                    </a:cubicBezTo>
                    <a:cubicBezTo>
                      <a:pt x="1" y="128"/>
                      <a:pt x="1" y="128"/>
                      <a:pt x="1" y="128"/>
                    </a:cubicBezTo>
                    <a:cubicBezTo>
                      <a:pt x="1" y="129"/>
                      <a:pt x="1" y="129"/>
                      <a:pt x="1" y="129"/>
                    </a:cubicBezTo>
                    <a:cubicBezTo>
                      <a:pt x="1" y="129"/>
                      <a:pt x="1" y="129"/>
                      <a:pt x="1" y="129"/>
                    </a:cubicBezTo>
                    <a:cubicBezTo>
                      <a:pt x="1" y="129"/>
                      <a:pt x="1" y="129"/>
                      <a:pt x="1" y="130"/>
                    </a:cubicBezTo>
                    <a:cubicBezTo>
                      <a:pt x="1" y="130"/>
                      <a:pt x="1" y="130"/>
                      <a:pt x="1" y="130"/>
                    </a:cubicBezTo>
                    <a:cubicBezTo>
                      <a:pt x="1" y="130"/>
                      <a:pt x="1" y="130"/>
                      <a:pt x="1" y="130"/>
                    </a:cubicBezTo>
                    <a:cubicBezTo>
                      <a:pt x="1" y="130"/>
                      <a:pt x="1" y="131"/>
                      <a:pt x="1" y="131"/>
                    </a:cubicBezTo>
                    <a:cubicBezTo>
                      <a:pt x="1" y="131"/>
                      <a:pt x="1" y="131"/>
                      <a:pt x="1" y="131"/>
                    </a:cubicBezTo>
                    <a:cubicBezTo>
                      <a:pt x="1" y="131"/>
                      <a:pt x="1" y="131"/>
                      <a:pt x="1" y="131"/>
                    </a:cubicBezTo>
                    <a:cubicBezTo>
                      <a:pt x="1" y="132"/>
                      <a:pt x="1" y="132"/>
                      <a:pt x="1" y="132"/>
                    </a:cubicBezTo>
                    <a:cubicBezTo>
                      <a:pt x="1" y="132"/>
                      <a:pt x="1" y="132"/>
                      <a:pt x="1" y="132"/>
                    </a:cubicBezTo>
                    <a:cubicBezTo>
                      <a:pt x="1" y="132"/>
                      <a:pt x="1" y="133"/>
                      <a:pt x="1" y="133"/>
                    </a:cubicBezTo>
                    <a:cubicBezTo>
                      <a:pt x="1" y="133"/>
                      <a:pt x="1" y="133"/>
                      <a:pt x="1" y="133"/>
                    </a:cubicBezTo>
                    <a:cubicBezTo>
                      <a:pt x="1" y="133"/>
                      <a:pt x="1" y="133"/>
                      <a:pt x="1" y="133"/>
                    </a:cubicBezTo>
                    <a:cubicBezTo>
                      <a:pt x="0" y="146"/>
                      <a:pt x="5" y="159"/>
                      <a:pt x="19" y="172"/>
                    </a:cubicBezTo>
                    <a:cubicBezTo>
                      <a:pt x="76" y="221"/>
                      <a:pt x="207" y="219"/>
                      <a:pt x="257" y="162"/>
                    </a:cubicBezTo>
                    <a:cubicBezTo>
                      <a:pt x="266" y="152"/>
                      <a:pt x="270" y="142"/>
                      <a:pt x="270" y="133"/>
                    </a:cubicBezTo>
                    <a:cubicBezTo>
                      <a:pt x="270" y="132"/>
                      <a:pt x="270" y="132"/>
                      <a:pt x="270" y="132"/>
                    </a:cubicBezTo>
                    <a:cubicBezTo>
                      <a:pt x="270" y="132"/>
                      <a:pt x="270" y="132"/>
                      <a:pt x="270" y="132"/>
                    </a:cubicBezTo>
                    <a:cubicBezTo>
                      <a:pt x="270" y="132"/>
                      <a:pt x="270" y="132"/>
                      <a:pt x="270" y="131"/>
                    </a:cubicBezTo>
                    <a:cubicBezTo>
                      <a:pt x="270" y="131"/>
                      <a:pt x="270" y="131"/>
                      <a:pt x="270" y="131"/>
                    </a:cubicBezTo>
                    <a:cubicBezTo>
                      <a:pt x="270" y="131"/>
                      <a:pt x="270" y="131"/>
                      <a:pt x="270" y="131"/>
                    </a:cubicBezTo>
                    <a:cubicBezTo>
                      <a:pt x="270" y="130"/>
                      <a:pt x="270" y="130"/>
                      <a:pt x="270" y="130"/>
                    </a:cubicBezTo>
                    <a:cubicBezTo>
                      <a:pt x="270" y="130"/>
                      <a:pt x="270" y="130"/>
                      <a:pt x="270" y="130"/>
                    </a:cubicBezTo>
                    <a:cubicBezTo>
                      <a:pt x="270" y="130"/>
                      <a:pt x="270" y="130"/>
                      <a:pt x="270" y="129"/>
                    </a:cubicBezTo>
                    <a:cubicBezTo>
                      <a:pt x="270" y="129"/>
                      <a:pt x="270" y="129"/>
                      <a:pt x="270" y="129"/>
                    </a:cubicBezTo>
                    <a:cubicBezTo>
                      <a:pt x="270" y="129"/>
                      <a:pt x="270" y="129"/>
                      <a:pt x="270" y="129"/>
                    </a:cubicBezTo>
                    <a:cubicBezTo>
                      <a:pt x="270" y="129"/>
                      <a:pt x="270" y="128"/>
                      <a:pt x="270" y="128"/>
                    </a:cubicBezTo>
                    <a:cubicBezTo>
                      <a:pt x="270" y="128"/>
                      <a:pt x="270" y="128"/>
                      <a:pt x="270" y="128"/>
                    </a:cubicBezTo>
                    <a:cubicBezTo>
                      <a:pt x="270" y="128"/>
                      <a:pt x="270" y="128"/>
                      <a:pt x="270" y="127"/>
                    </a:cubicBezTo>
                    <a:cubicBezTo>
                      <a:pt x="270" y="127"/>
                      <a:pt x="270" y="127"/>
                      <a:pt x="270" y="127"/>
                    </a:cubicBezTo>
                    <a:cubicBezTo>
                      <a:pt x="270" y="127"/>
                      <a:pt x="270" y="127"/>
                      <a:pt x="270" y="127"/>
                    </a:cubicBezTo>
                    <a:cubicBezTo>
                      <a:pt x="270" y="127"/>
                      <a:pt x="270" y="126"/>
                      <a:pt x="270" y="126"/>
                    </a:cubicBezTo>
                    <a:cubicBezTo>
                      <a:pt x="270" y="126"/>
                      <a:pt x="270" y="126"/>
                      <a:pt x="270" y="126"/>
                    </a:cubicBezTo>
                    <a:cubicBezTo>
                      <a:pt x="270" y="126"/>
                      <a:pt x="270" y="126"/>
                      <a:pt x="270" y="126"/>
                    </a:cubicBezTo>
                    <a:cubicBezTo>
                      <a:pt x="270" y="125"/>
                      <a:pt x="270" y="125"/>
                      <a:pt x="270" y="125"/>
                    </a:cubicBezTo>
                    <a:cubicBezTo>
                      <a:pt x="270" y="125"/>
                      <a:pt x="270" y="125"/>
                      <a:pt x="270" y="125"/>
                    </a:cubicBezTo>
                    <a:cubicBezTo>
                      <a:pt x="270" y="125"/>
                      <a:pt x="270" y="125"/>
                      <a:pt x="270" y="124"/>
                    </a:cubicBezTo>
                    <a:cubicBezTo>
                      <a:pt x="270" y="124"/>
                      <a:pt x="270" y="124"/>
                      <a:pt x="270" y="124"/>
                    </a:cubicBezTo>
                    <a:cubicBezTo>
                      <a:pt x="270" y="124"/>
                      <a:pt x="270" y="124"/>
                      <a:pt x="270" y="124"/>
                    </a:cubicBezTo>
                    <a:cubicBezTo>
                      <a:pt x="270" y="123"/>
                      <a:pt x="270" y="123"/>
                      <a:pt x="270" y="123"/>
                    </a:cubicBezTo>
                    <a:cubicBezTo>
                      <a:pt x="270" y="123"/>
                      <a:pt x="270" y="123"/>
                      <a:pt x="270" y="123"/>
                    </a:cubicBezTo>
                    <a:cubicBezTo>
                      <a:pt x="270" y="123"/>
                      <a:pt x="270" y="123"/>
                      <a:pt x="270" y="122"/>
                    </a:cubicBezTo>
                    <a:cubicBezTo>
                      <a:pt x="270" y="122"/>
                      <a:pt x="270" y="122"/>
                      <a:pt x="270" y="122"/>
                    </a:cubicBezTo>
                    <a:cubicBezTo>
                      <a:pt x="270" y="122"/>
                      <a:pt x="270" y="122"/>
                      <a:pt x="270" y="122"/>
                    </a:cubicBezTo>
                    <a:cubicBezTo>
                      <a:pt x="270" y="122"/>
                      <a:pt x="270" y="121"/>
                      <a:pt x="270" y="121"/>
                    </a:cubicBezTo>
                    <a:cubicBezTo>
                      <a:pt x="270" y="121"/>
                      <a:pt x="270" y="121"/>
                      <a:pt x="270" y="121"/>
                    </a:cubicBezTo>
                    <a:cubicBezTo>
                      <a:pt x="270" y="121"/>
                      <a:pt x="270" y="121"/>
                      <a:pt x="270" y="121"/>
                    </a:cubicBezTo>
                    <a:cubicBezTo>
                      <a:pt x="270" y="120"/>
                      <a:pt x="270" y="120"/>
                      <a:pt x="270" y="120"/>
                    </a:cubicBezTo>
                    <a:cubicBezTo>
                      <a:pt x="270" y="120"/>
                      <a:pt x="270" y="120"/>
                      <a:pt x="270" y="120"/>
                    </a:cubicBezTo>
                    <a:cubicBezTo>
                      <a:pt x="270" y="120"/>
                      <a:pt x="270" y="119"/>
                      <a:pt x="270" y="119"/>
                    </a:cubicBezTo>
                    <a:cubicBezTo>
                      <a:pt x="270" y="119"/>
                      <a:pt x="270" y="119"/>
                      <a:pt x="270" y="119"/>
                    </a:cubicBezTo>
                    <a:cubicBezTo>
                      <a:pt x="270" y="119"/>
                      <a:pt x="270" y="119"/>
                      <a:pt x="270" y="119"/>
                    </a:cubicBezTo>
                    <a:cubicBezTo>
                      <a:pt x="270" y="118"/>
                      <a:pt x="270" y="118"/>
                      <a:pt x="270" y="118"/>
                    </a:cubicBezTo>
                    <a:cubicBezTo>
                      <a:pt x="270" y="118"/>
                      <a:pt x="270" y="118"/>
                      <a:pt x="270" y="118"/>
                    </a:cubicBezTo>
                    <a:cubicBezTo>
                      <a:pt x="270" y="118"/>
                      <a:pt x="270" y="118"/>
                      <a:pt x="270" y="117"/>
                    </a:cubicBezTo>
                    <a:cubicBezTo>
                      <a:pt x="270" y="117"/>
                      <a:pt x="270" y="117"/>
                      <a:pt x="270" y="117"/>
                    </a:cubicBezTo>
                    <a:cubicBezTo>
                      <a:pt x="270" y="117"/>
                      <a:pt x="270" y="117"/>
                      <a:pt x="270" y="117"/>
                    </a:cubicBezTo>
                    <a:cubicBezTo>
                      <a:pt x="270" y="116"/>
                      <a:pt x="270" y="116"/>
                      <a:pt x="270" y="116"/>
                    </a:cubicBezTo>
                    <a:cubicBezTo>
                      <a:pt x="270" y="116"/>
                      <a:pt x="270" y="116"/>
                      <a:pt x="270" y="116"/>
                    </a:cubicBezTo>
                    <a:cubicBezTo>
                      <a:pt x="270" y="116"/>
                      <a:pt x="270" y="116"/>
                      <a:pt x="270" y="115"/>
                    </a:cubicBezTo>
                    <a:cubicBezTo>
                      <a:pt x="270" y="115"/>
                      <a:pt x="270" y="115"/>
                      <a:pt x="270" y="115"/>
                    </a:cubicBezTo>
                    <a:cubicBezTo>
                      <a:pt x="270" y="115"/>
                      <a:pt x="270" y="115"/>
                      <a:pt x="270" y="115"/>
                    </a:cubicBezTo>
                    <a:cubicBezTo>
                      <a:pt x="270" y="115"/>
                      <a:pt x="270" y="114"/>
                      <a:pt x="270" y="114"/>
                    </a:cubicBezTo>
                    <a:cubicBezTo>
                      <a:pt x="270" y="114"/>
                      <a:pt x="270" y="114"/>
                      <a:pt x="270" y="114"/>
                    </a:cubicBezTo>
                    <a:cubicBezTo>
                      <a:pt x="270" y="114"/>
                      <a:pt x="270" y="114"/>
                      <a:pt x="270" y="114"/>
                    </a:cubicBezTo>
                    <a:cubicBezTo>
                      <a:pt x="270" y="113"/>
                      <a:pt x="270" y="113"/>
                      <a:pt x="270" y="113"/>
                    </a:cubicBezTo>
                    <a:cubicBezTo>
                      <a:pt x="270" y="113"/>
                      <a:pt x="270" y="113"/>
                      <a:pt x="270" y="113"/>
                    </a:cubicBezTo>
                    <a:cubicBezTo>
                      <a:pt x="270" y="113"/>
                      <a:pt x="270" y="112"/>
                      <a:pt x="270" y="112"/>
                    </a:cubicBezTo>
                    <a:cubicBezTo>
                      <a:pt x="270" y="112"/>
                      <a:pt x="270" y="112"/>
                      <a:pt x="270" y="112"/>
                    </a:cubicBezTo>
                    <a:cubicBezTo>
                      <a:pt x="270" y="112"/>
                      <a:pt x="270" y="112"/>
                      <a:pt x="270" y="112"/>
                    </a:cubicBezTo>
                    <a:cubicBezTo>
                      <a:pt x="270" y="111"/>
                      <a:pt x="270" y="111"/>
                      <a:pt x="270" y="111"/>
                    </a:cubicBezTo>
                    <a:cubicBezTo>
                      <a:pt x="270" y="111"/>
                      <a:pt x="270" y="111"/>
                      <a:pt x="270" y="111"/>
                    </a:cubicBezTo>
                    <a:cubicBezTo>
                      <a:pt x="270" y="111"/>
                      <a:pt x="270" y="111"/>
                      <a:pt x="270" y="110"/>
                    </a:cubicBezTo>
                    <a:cubicBezTo>
                      <a:pt x="270" y="110"/>
                      <a:pt x="270" y="110"/>
                      <a:pt x="270" y="110"/>
                    </a:cubicBezTo>
                    <a:cubicBezTo>
                      <a:pt x="270" y="110"/>
                      <a:pt x="270" y="110"/>
                      <a:pt x="270" y="110"/>
                    </a:cubicBezTo>
                    <a:cubicBezTo>
                      <a:pt x="270" y="110"/>
                      <a:pt x="270" y="109"/>
                      <a:pt x="270" y="109"/>
                    </a:cubicBezTo>
                    <a:cubicBezTo>
                      <a:pt x="270" y="109"/>
                      <a:pt x="270" y="109"/>
                      <a:pt x="270" y="109"/>
                    </a:cubicBezTo>
                    <a:cubicBezTo>
                      <a:pt x="270" y="109"/>
                      <a:pt x="270" y="109"/>
                      <a:pt x="270" y="108"/>
                    </a:cubicBezTo>
                    <a:cubicBezTo>
                      <a:pt x="270" y="108"/>
                      <a:pt x="270" y="108"/>
                      <a:pt x="270" y="108"/>
                    </a:cubicBezTo>
                    <a:cubicBezTo>
                      <a:pt x="270" y="108"/>
                      <a:pt x="270" y="108"/>
                      <a:pt x="270" y="108"/>
                    </a:cubicBezTo>
                    <a:cubicBezTo>
                      <a:pt x="270" y="108"/>
                      <a:pt x="270" y="107"/>
                      <a:pt x="270" y="107"/>
                    </a:cubicBezTo>
                    <a:cubicBezTo>
                      <a:pt x="270" y="107"/>
                      <a:pt x="270" y="107"/>
                      <a:pt x="270" y="107"/>
                    </a:cubicBezTo>
                    <a:cubicBezTo>
                      <a:pt x="270" y="107"/>
                      <a:pt x="270" y="107"/>
                      <a:pt x="270" y="107"/>
                    </a:cubicBezTo>
                    <a:cubicBezTo>
                      <a:pt x="270" y="106"/>
                      <a:pt x="270" y="106"/>
                      <a:pt x="270" y="106"/>
                    </a:cubicBezTo>
                    <a:cubicBezTo>
                      <a:pt x="270" y="106"/>
                      <a:pt x="270" y="106"/>
                      <a:pt x="270" y="106"/>
                    </a:cubicBezTo>
                    <a:cubicBezTo>
                      <a:pt x="270" y="106"/>
                      <a:pt x="270" y="106"/>
                      <a:pt x="270" y="105"/>
                    </a:cubicBezTo>
                    <a:cubicBezTo>
                      <a:pt x="270" y="105"/>
                      <a:pt x="270" y="105"/>
                      <a:pt x="270" y="105"/>
                    </a:cubicBezTo>
                    <a:cubicBezTo>
                      <a:pt x="270" y="105"/>
                      <a:pt x="270" y="105"/>
                      <a:pt x="270" y="105"/>
                    </a:cubicBezTo>
                    <a:cubicBezTo>
                      <a:pt x="270" y="104"/>
                      <a:pt x="270" y="104"/>
                      <a:pt x="270" y="104"/>
                    </a:cubicBezTo>
                    <a:cubicBezTo>
                      <a:pt x="270" y="104"/>
                      <a:pt x="270" y="104"/>
                      <a:pt x="270" y="104"/>
                    </a:cubicBezTo>
                    <a:cubicBezTo>
                      <a:pt x="270" y="104"/>
                      <a:pt x="270" y="104"/>
                      <a:pt x="270" y="103"/>
                    </a:cubicBezTo>
                    <a:cubicBezTo>
                      <a:pt x="270" y="103"/>
                      <a:pt x="270" y="103"/>
                      <a:pt x="270" y="103"/>
                    </a:cubicBezTo>
                    <a:cubicBezTo>
                      <a:pt x="270" y="103"/>
                      <a:pt x="270" y="103"/>
                      <a:pt x="270" y="103"/>
                    </a:cubicBezTo>
                    <a:cubicBezTo>
                      <a:pt x="270" y="103"/>
                      <a:pt x="270" y="102"/>
                      <a:pt x="270" y="102"/>
                    </a:cubicBezTo>
                    <a:cubicBezTo>
                      <a:pt x="270" y="102"/>
                      <a:pt x="270" y="102"/>
                      <a:pt x="270" y="102"/>
                    </a:cubicBezTo>
                    <a:cubicBezTo>
                      <a:pt x="270" y="102"/>
                      <a:pt x="270" y="102"/>
                      <a:pt x="270" y="101"/>
                    </a:cubicBezTo>
                    <a:cubicBezTo>
                      <a:pt x="270" y="101"/>
                      <a:pt x="270" y="101"/>
                      <a:pt x="270" y="101"/>
                    </a:cubicBezTo>
                    <a:cubicBezTo>
                      <a:pt x="270" y="101"/>
                      <a:pt x="270" y="101"/>
                      <a:pt x="270" y="101"/>
                    </a:cubicBezTo>
                    <a:cubicBezTo>
                      <a:pt x="270" y="101"/>
                      <a:pt x="270" y="100"/>
                      <a:pt x="270" y="100"/>
                    </a:cubicBezTo>
                    <a:cubicBezTo>
                      <a:pt x="270" y="100"/>
                      <a:pt x="270" y="100"/>
                      <a:pt x="270" y="100"/>
                    </a:cubicBezTo>
                    <a:cubicBezTo>
                      <a:pt x="270" y="100"/>
                      <a:pt x="270" y="100"/>
                      <a:pt x="270" y="100"/>
                    </a:cubicBezTo>
                    <a:cubicBezTo>
                      <a:pt x="270" y="99"/>
                      <a:pt x="270" y="99"/>
                      <a:pt x="270" y="99"/>
                    </a:cubicBezTo>
                    <a:cubicBezTo>
                      <a:pt x="270" y="99"/>
                      <a:pt x="270" y="99"/>
                      <a:pt x="270" y="99"/>
                    </a:cubicBezTo>
                    <a:cubicBezTo>
                      <a:pt x="270" y="99"/>
                      <a:pt x="270" y="99"/>
                      <a:pt x="270" y="98"/>
                    </a:cubicBezTo>
                    <a:cubicBezTo>
                      <a:pt x="270" y="98"/>
                      <a:pt x="270" y="98"/>
                      <a:pt x="270" y="98"/>
                    </a:cubicBezTo>
                    <a:cubicBezTo>
                      <a:pt x="270" y="98"/>
                      <a:pt x="270" y="98"/>
                      <a:pt x="270" y="98"/>
                    </a:cubicBezTo>
                    <a:cubicBezTo>
                      <a:pt x="270" y="97"/>
                      <a:pt x="270" y="97"/>
                      <a:pt x="270" y="97"/>
                    </a:cubicBezTo>
                    <a:cubicBezTo>
                      <a:pt x="270" y="97"/>
                      <a:pt x="270" y="97"/>
                      <a:pt x="270" y="97"/>
                    </a:cubicBezTo>
                    <a:cubicBezTo>
                      <a:pt x="270" y="97"/>
                      <a:pt x="270" y="97"/>
                      <a:pt x="270" y="96"/>
                    </a:cubicBezTo>
                    <a:cubicBezTo>
                      <a:pt x="270" y="96"/>
                      <a:pt x="270" y="96"/>
                      <a:pt x="270" y="96"/>
                    </a:cubicBezTo>
                    <a:cubicBezTo>
                      <a:pt x="270" y="96"/>
                      <a:pt x="270" y="96"/>
                      <a:pt x="270" y="96"/>
                    </a:cubicBezTo>
                    <a:cubicBezTo>
                      <a:pt x="270" y="96"/>
                      <a:pt x="270" y="95"/>
                      <a:pt x="270" y="95"/>
                    </a:cubicBezTo>
                    <a:cubicBezTo>
                      <a:pt x="270" y="95"/>
                      <a:pt x="270" y="95"/>
                      <a:pt x="270" y="95"/>
                    </a:cubicBezTo>
                    <a:cubicBezTo>
                      <a:pt x="270" y="95"/>
                      <a:pt x="270" y="95"/>
                      <a:pt x="270" y="95"/>
                    </a:cubicBezTo>
                    <a:cubicBezTo>
                      <a:pt x="270" y="94"/>
                      <a:pt x="270" y="94"/>
                      <a:pt x="270" y="94"/>
                    </a:cubicBezTo>
                    <a:cubicBezTo>
                      <a:pt x="270" y="94"/>
                      <a:pt x="270" y="94"/>
                      <a:pt x="270" y="94"/>
                    </a:cubicBezTo>
                    <a:cubicBezTo>
                      <a:pt x="270" y="94"/>
                      <a:pt x="270" y="93"/>
                      <a:pt x="270" y="93"/>
                    </a:cubicBezTo>
                    <a:cubicBezTo>
                      <a:pt x="270" y="93"/>
                      <a:pt x="270" y="93"/>
                      <a:pt x="270" y="93"/>
                    </a:cubicBezTo>
                    <a:cubicBezTo>
                      <a:pt x="270" y="93"/>
                      <a:pt x="270" y="93"/>
                      <a:pt x="270" y="93"/>
                    </a:cubicBezTo>
                    <a:cubicBezTo>
                      <a:pt x="270" y="92"/>
                      <a:pt x="270" y="92"/>
                      <a:pt x="270" y="92"/>
                    </a:cubicBezTo>
                    <a:cubicBezTo>
                      <a:pt x="270" y="92"/>
                      <a:pt x="270" y="92"/>
                      <a:pt x="270" y="92"/>
                    </a:cubicBezTo>
                    <a:cubicBezTo>
                      <a:pt x="270" y="92"/>
                      <a:pt x="270" y="92"/>
                      <a:pt x="270" y="91"/>
                    </a:cubicBezTo>
                    <a:cubicBezTo>
                      <a:pt x="270" y="91"/>
                      <a:pt x="270" y="91"/>
                      <a:pt x="270" y="91"/>
                    </a:cubicBezTo>
                    <a:cubicBezTo>
                      <a:pt x="270" y="91"/>
                      <a:pt x="270" y="91"/>
                      <a:pt x="270" y="91"/>
                    </a:cubicBezTo>
                    <a:cubicBezTo>
                      <a:pt x="270" y="90"/>
                      <a:pt x="270" y="90"/>
                      <a:pt x="270" y="90"/>
                    </a:cubicBezTo>
                    <a:cubicBezTo>
                      <a:pt x="270" y="90"/>
                      <a:pt x="270" y="90"/>
                      <a:pt x="270" y="90"/>
                    </a:cubicBezTo>
                    <a:cubicBezTo>
                      <a:pt x="270" y="90"/>
                      <a:pt x="270" y="90"/>
                      <a:pt x="270" y="89"/>
                    </a:cubicBezTo>
                    <a:cubicBezTo>
                      <a:pt x="270" y="89"/>
                      <a:pt x="270" y="89"/>
                      <a:pt x="270" y="89"/>
                    </a:cubicBezTo>
                    <a:cubicBezTo>
                      <a:pt x="270" y="89"/>
                      <a:pt x="270" y="89"/>
                      <a:pt x="270" y="89"/>
                    </a:cubicBezTo>
                    <a:cubicBezTo>
                      <a:pt x="270" y="89"/>
                      <a:pt x="270" y="88"/>
                      <a:pt x="270" y="88"/>
                    </a:cubicBezTo>
                    <a:cubicBezTo>
                      <a:pt x="270" y="88"/>
                      <a:pt x="270" y="88"/>
                      <a:pt x="270" y="88"/>
                    </a:cubicBezTo>
                    <a:cubicBezTo>
                      <a:pt x="270" y="88"/>
                      <a:pt x="270" y="88"/>
                      <a:pt x="270" y="87"/>
                    </a:cubicBezTo>
                    <a:cubicBezTo>
                      <a:pt x="270" y="87"/>
                      <a:pt x="270" y="87"/>
                      <a:pt x="270" y="87"/>
                    </a:cubicBezTo>
                    <a:cubicBezTo>
                      <a:pt x="270" y="87"/>
                      <a:pt x="270" y="87"/>
                      <a:pt x="270" y="87"/>
                    </a:cubicBezTo>
                    <a:cubicBezTo>
                      <a:pt x="270" y="87"/>
                      <a:pt x="270" y="86"/>
                      <a:pt x="270" y="86"/>
                    </a:cubicBezTo>
                    <a:cubicBezTo>
                      <a:pt x="270" y="86"/>
                      <a:pt x="270" y="86"/>
                      <a:pt x="270" y="86"/>
                    </a:cubicBezTo>
                    <a:cubicBezTo>
                      <a:pt x="270" y="86"/>
                      <a:pt x="270" y="86"/>
                      <a:pt x="270" y="86"/>
                    </a:cubicBezTo>
                    <a:cubicBezTo>
                      <a:pt x="270" y="85"/>
                      <a:pt x="270" y="85"/>
                      <a:pt x="270" y="85"/>
                    </a:cubicBezTo>
                    <a:cubicBezTo>
                      <a:pt x="270" y="85"/>
                      <a:pt x="270" y="85"/>
                      <a:pt x="270" y="85"/>
                    </a:cubicBezTo>
                    <a:cubicBezTo>
                      <a:pt x="270" y="85"/>
                      <a:pt x="270" y="85"/>
                      <a:pt x="270" y="84"/>
                    </a:cubicBezTo>
                    <a:cubicBezTo>
                      <a:pt x="270" y="84"/>
                      <a:pt x="270" y="84"/>
                      <a:pt x="270" y="84"/>
                    </a:cubicBezTo>
                    <a:cubicBezTo>
                      <a:pt x="270" y="84"/>
                      <a:pt x="270" y="84"/>
                      <a:pt x="270" y="84"/>
                    </a:cubicBezTo>
                    <a:cubicBezTo>
                      <a:pt x="270" y="84"/>
                      <a:pt x="270" y="83"/>
                      <a:pt x="270" y="83"/>
                    </a:cubicBezTo>
                    <a:cubicBezTo>
                      <a:pt x="270" y="83"/>
                      <a:pt x="270" y="83"/>
                      <a:pt x="270" y="83"/>
                    </a:cubicBezTo>
                    <a:cubicBezTo>
                      <a:pt x="270" y="83"/>
                      <a:pt x="270" y="83"/>
                      <a:pt x="270" y="82"/>
                    </a:cubicBezTo>
                    <a:cubicBezTo>
                      <a:pt x="270" y="82"/>
                      <a:pt x="270" y="82"/>
                      <a:pt x="270" y="82"/>
                    </a:cubicBezTo>
                    <a:cubicBezTo>
                      <a:pt x="270" y="82"/>
                      <a:pt x="270" y="82"/>
                      <a:pt x="270" y="82"/>
                    </a:cubicBezTo>
                    <a:cubicBezTo>
                      <a:pt x="270" y="82"/>
                      <a:pt x="270" y="81"/>
                      <a:pt x="270" y="81"/>
                    </a:cubicBezTo>
                    <a:cubicBezTo>
                      <a:pt x="270" y="81"/>
                      <a:pt x="270" y="81"/>
                      <a:pt x="270" y="81"/>
                    </a:cubicBezTo>
                    <a:cubicBezTo>
                      <a:pt x="270" y="81"/>
                      <a:pt x="270" y="81"/>
                      <a:pt x="270" y="81"/>
                    </a:cubicBezTo>
                    <a:cubicBezTo>
                      <a:pt x="270" y="80"/>
                      <a:pt x="270" y="80"/>
                      <a:pt x="270" y="80"/>
                    </a:cubicBezTo>
                    <a:cubicBezTo>
                      <a:pt x="270" y="80"/>
                      <a:pt x="270" y="80"/>
                      <a:pt x="270" y="80"/>
                    </a:cubicBezTo>
                    <a:cubicBezTo>
                      <a:pt x="270" y="80"/>
                      <a:pt x="270" y="79"/>
                      <a:pt x="270" y="79"/>
                    </a:cubicBezTo>
                    <a:cubicBezTo>
                      <a:pt x="270" y="79"/>
                      <a:pt x="270" y="79"/>
                      <a:pt x="270" y="79"/>
                    </a:cubicBezTo>
                    <a:cubicBezTo>
                      <a:pt x="270" y="79"/>
                      <a:pt x="270" y="79"/>
                      <a:pt x="270" y="79"/>
                    </a:cubicBezTo>
                    <a:cubicBezTo>
                      <a:pt x="270" y="78"/>
                      <a:pt x="270" y="78"/>
                      <a:pt x="270" y="78"/>
                    </a:cubicBezTo>
                    <a:cubicBezTo>
                      <a:pt x="270" y="78"/>
                      <a:pt x="270" y="78"/>
                      <a:pt x="270" y="78"/>
                    </a:cubicBezTo>
                    <a:cubicBezTo>
                      <a:pt x="270" y="78"/>
                      <a:pt x="270" y="78"/>
                      <a:pt x="270" y="77"/>
                    </a:cubicBezTo>
                    <a:cubicBezTo>
                      <a:pt x="270" y="77"/>
                      <a:pt x="270" y="77"/>
                      <a:pt x="270" y="77"/>
                    </a:cubicBezTo>
                    <a:cubicBezTo>
                      <a:pt x="270" y="77"/>
                      <a:pt x="270" y="77"/>
                      <a:pt x="270" y="77"/>
                    </a:cubicBezTo>
                    <a:cubicBezTo>
                      <a:pt x="270" y="76"/>
                      <a:pt x="270" y="76"/>
                      <a:pt x="270" y="76"/>
                    </a:cubicBezTo>
                    <a:cubicBezTo>
                      <a:pt x="270" y="76"/>
                      <a:pt x="270" y="76"/>
                      <a:pt x="270" y="76"/>
                    </a:cubicBezTo>
                    <a:cubicBezTo>
                      <a:pt x="270" y="76"/>
                      <a:pt x="270" y="76"/>
                      <a:pt x="270" y="75"/>
                    </a:cubicBezTo>
                    <a:cubicBezTo>
                      <a:pt x="270" y="75"/>
                      <a:pt x="270" y="75"/>
                      <a:pt x="270" y="75"/>
                    </a:cubicBezTo>
                    <a:cubicBezTo>
                      <a:pt x="270" y="75"/>
                      <a:pt x="270" y="75"/>
                      <a:pt x="270" y="75"/>
                    </a:cubicBezTo>
                    <a:cubicBezTo>
                      <a:pt x="270" y="75"/>
                      <a:pt x="270" y="74"/>
                      <a:pt x="270" y="74"/>
                    </a:cubicBezTo>
                    <a:close/>
                  </a:path>
                </a:pathLst>
              </a:custGeom>
              <a:solidFill>
                <a:srgbClr val="D94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9" name="Freeform 1431"/>
              <p:cNvSpPr>
                <a:spLocks/>
              </p:cNvSpPr>
              <p:nvPr/>
            </p:nvSpPr>
            <p:spPr bwMode="auto">
              <a:xfrm>
                <a:off x="5614988" y="13601701"/>
                <a:ext cx="649288" cy="341313"/>
              </a:xfrm>
              <a:custGeom>
                <a:avLst/>
                <a:gdLst>
                  <a:gd name="T0" fmla="*/ 275 w 310"/>
                  <a:gd name="T1" fmla="*/ 104 h 163"/>
                  <a:gd name="T2" fmla="*/ 37 w 310"/>
                  <a:gd name="T3" fmla="*/ 113 h 163"/>
                  <a:gd name="T4" fmla="*/ 69 w 310"/>
                  <a:gd name="T5" fmla="*/ 21 h 163"/>
                  <a:gd name="T6" fmla="*/ 210 w 310"/>
                  <a:gd name="T7" fmla="*/ 10 h 163"/>
                  <a:gd name="T8" fmla="*/ 275 w 310"/>
                  <a:gd name="T9" fmla="*/ 104 h 163"/>
                </a:gdLst>
                <a:ahLst/>
                <a:cxnLst>
                  <a:cxn ang="0">
                    <a:pos x="T0" y="T1"/>
                  </a:cxn>
                  <a:cxn ang="0">
                    <a:pos x="T2" y="T3"/>
                  </a:cxn>
                  <a:cxn ang="0">
                    <a:pos x="T4" y="T5"/>
                  </a:cxn>
                  <a:cxn ang="0">
                    <a:pos x="T6" y="T7"/>
                  </a:cxn>
                  <a:cxn ang="0">
                    <a:pos x="T8" y="T9"/>
                  </a:cxn>
                </a:cxnLst>
                <a:rect l="0" t="0" r="r" b="b"/>
                <a:pathLst>
                  <a:path w="310" h="163">
                    <a:moveTo>
                      <a:pt x="275" y="104"/>
                    </a:moveTo>
                    <a:cubicBezTo>
                      <a:pt x="225" y="160"/>
                      <a:pt x="94" y="163"/>
                      <a:pt x="37" y="113"/>
                    </a:cubicBezTo>
                    <a:cubicBezTo>
                      <a:pt x="0" y="80"/>
                      <a:pt x="23" y="41"/>
                      <a:pt x="69" y="21"/>
                    </a:cubicBezTo>
                    <a:cubicBezTo>
                      <a:pt x="108" y="5"/>
                      <a:pt x="164" y="0"/>
                      <a:pt x="210" y="10"/>
                    </a:cubicBezTo>
                    <a:cubicBezTo>
                      <a:pt x="269" y="24"/>
                      <a:pt x="310" y="64"/>
                      <a:pt x="275" y="104"/>
                    </a:cubicBezTo>
                    <a:close/>
                  </a:path>
                </a:pathLst>
              </a:custGeom>
              <a:solidFill>
                <a:srgbClr val="F161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0" name="Freeform 1432"/>
              <p:cNvSpPr>
                <a:spLocks/>
              </p:cNvSpPr>
              <p:nvPr/>
            </p:nvSpPr>
            <p:spPr bwMode="auto">
              <a:xfrm>
                <a:off x="5767388" y="13647738"/>
                <a:ext cx="381000" cy="160338"/>
              </a:xfrm>
              <a:custGeom>
                <a:avLst/>
                <a:gdLst>
                  <a:gd name="T0" fmla="*/ 155 w 182"/>
                  <a:gd name="T1" fmla="*/ 73 h 77"/>
                  <a:gd name="T2" fmla="*/ 3 w 182"/>
                  <a:gd name="T3" fmla="*/ 8 h 77"/>
                  <a:gd name="T4" fmla="*/ 4 w 182"/>
                  <a:gd name="T5" fmla="*/ 2 h 77"/>
                  <a:gd name="T6" fmla="*/ 17 w 182"/>
                  <a:gd name="T7" fmla="*/ 1 h 77"/>
                  <a:gd name="T8" fmla="*/ 170 w 182"/>
                  <a:gd name="T9" fmla="*/ 60 h 77"/>
                  <a:gd name="T10" fmla="*/ 178 w 182"/>
                  <a:gd name="T11" fmla="*/ 72 h 77"/>
                  <a:gd name="T12" fmla="*/ 155 w 182"/>
                  <a:gd name="T13" fmla="*/ 73 h 77"/>
                </a:gdLst>
                <a:ahLst/>
                <a:cxnLst>
                  <a:cxn ang="0">
                    <a:pos x="T0" y="T1"/>
                  </a:cxn>
                  <a:cxn ang="0">
                    <a:pos x="T2" y="T3"/>
                  </a:cxn>
                  <a:cxn ang="0">
                    <a:pos x="T4" y="T5"/>
                  </a:cxn>
                  <a:cxn ang="0">
                    <a:pos x="T6" y="T7"/>
                  </a:cxn>
                  <a:cxn ang="0">
                    <a:pos x="T8" y="T9"/>
                  </a:cxn>
                  <a:cxn ang="0">
                    <a:pos x="T10" y="T11"/>
                  </a:cxn>
                  <a:cxn ang="0">
                    <a:pos x="T12" y="T13"/>
                  </a:cxn>
                </a:cxnLst>
                <a:rect l="0" t="0" r="r" b="b"/>
                <a:pathLst>
                  <a:path w="182" h="77">
                    <a:moveTo>
                      <a:pt x="155" y="73"/>
                    </a:moveTo>
                    <a:cubicBezTo>
                      <a:pt x="3" y="8"/>
                      <a:pt x="3" y="8"/>
                      <a:pt x="3" y="8"/>
                    </a:cubicBezTo>
                    <a:cubicBezTo>
                      <a:pt x="0" y="7"/>
                      <a:pt x="0" y="4"/>
                      <a:pt x="4" y="2"/>
                    </a:cubicBezTo>
                    <a:cubicBezTo>
                      <a:pt x="8" y="1"/>
                      <a:pt x="14" y="0"/>
                      <a:pt x="17" y="1"/>
                    </a:cubicBezTo>
                    <a:cubicBezTo>
                      <a:pt x="170" y="60"/>
                      <a:pt x="170" y="60"/>
                      <a:pt x="170" y="60"/>
                    </a:cubicBezTo>
                    <a:cubicBezTo>
                      <a:pt x="178" y="63"/>
                      <a:pt x="182" y="68"/>
                      <a:pt x="178" y="72"/>
                    </a:cubicBezTo>
                    <a:cubicBezTo>
                      <a:pt x="174" y="76"/>
                      <a:pt x="164" y="77"/>
                      <a:pt x="155" y="73"/>
                    </a:cubicBezTo>
                    <a:close/>
                  </a:path>
                </a:pathLst>
              </a:custGeom>
              <a:solidFill>
                <a:srgbClr val="D94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121" name="กลุ่ม 257"/>
            <p:cNvGrpSpPr/>
            <p:nvPr/>
          </p:nvGrpSpPr>
          <p:grpSpPr>
            <a:xfrm>
              <a:off x="3736601" y="1301541"/>
              <a:ext cx="788736" cy="561003"/>
              <a:chOff x="6286501" y="13209588"/>
              <a:chExt cx="450850" cy="320675"/>
            </a:xfrm>
          </p:grpSpPr>
          <p:sp>
            <p:nvSpPr>
              <p:cNvPr id="122" name="Freeform 1433"/>
              <p:cNvSpPr>
                <a:spLocks/>
              </p:cNvSpPr>
              <p:nvPr/>
            </p:nvSpPr>
            <p:spPr bwMode="auto">
              <a:xfrm>
                <a:off x="6313488" y="13209588"/>
                <a:ext cx="393700" cy="320675"/>
              </a:xfrm>
              <a:custGeom>
                <a:avLst/>
                <a:gdLst>
                  <a:gd name="T0" fmla="*/ 0 w 188"/>
                  <a:gd name="T1" fmla="*/ 53 h 154"/>
                  <a:gd name="T2" fmla="*/ 0 w 188"/>
                  <a:gd name="T3" fmla="*/ 54 h 154"/>
                  <a:gd name="T4" fmla="*/ 0 w 188"/>
                  <a:gd name="T5" fmla="*/ 56 h 154"/>
                  <a:gd name="T6" fmla="*/ 0 w 188"/>
                  <a:gd name="T7" fmla="*/ 57 h 154"/>
                  <a:gd name="T8" fmla="*/ 0 w 188"/>
                  <a:gd name="T9" fmla="*/ 58 h 154"/>
                  <a:gd name="T10" fmla="*/ 0 w 188"/>
                  <a:gd name="T11" fmla="*/ 60 h 154"/>
                  <a:gd name="T12" fmla="*/ 0 w 188"/>
                  <a:gd name="T13" fmla="*/ 61 h 154"/>
                  <a:gd name="T14" fmla="*/ 0 w 188"/>
                  <a:gd name="T15" fmla="*/ 62 h 154"/>
                  <a:gd name="T16" fmla="*/ 0 w 188"/>
                  <a:gd name="T17" fmla="*/ 64 h 154"/>
                  <a:gd name="T18" fmla="*/ 0 w 188"/>
                  <a:gd name="T19" fmla="*/ 65 h 154"/>
                  <a:gd name="T20" fmla="*/ 0 w 188"/>
                  <a:gd name="T21" fmla="*/ 66 h 154"/>
                  <a:gd name="T22" fmla="*/ 0 w 188"/>
                  <a:gd name="T23" fmla="*/ 68 h 154"/>
                  <a:gd name="T24" fmla="*/ 0 w 188"/>
                  <a:gd name="T25" fmla="*/ 69 h 154"/>
                  <a:gd name="T26" fmla="*/ 0 w 188"/>
                  <a:gd name="T27" fmla="*/ 71 h 154"/>
                  <a:gd name="T28" fmla="*/ 0 w 188"/>
                  <a:gd name="T29" fmla="*/ 72 h 154"/>
                  <a:gd name="T30" fmla="*/ 0 w 188"/>
                  <a:gd name="T31" fmla="*/ 73 h 154"/>
                  <a:gd name="T32" fmla="*/ 0 w 188"/>
                  <a:gd name="T33" fmla="*/ 75 h 154"/>
                  <a:gd name="T34" fmla="*/ 0 w 188"/>
                  <a:gd name="T35" fmla="*/ 76 h 154"/>
                  <a:gd name="T36" fmla="*/ 0 w 188"/>
                  <a:gd name="T37" fmla="*/ 77 h 154"/>
                  <a:gd name="T38" fmla="*/ 0 w 188"/>
                  <a:gd name="T39" fmla="*/ 79 h 154"/>
                  <a:gd name="T40" fmla="*/ 0 w 188"/>
                  <a:gd name="T41" fmla="*/ 80 h 154"/>
                  <a:gd name="T42" fmla="*/ 0 w 188"/>
                  <a:gd name="T43" fmla="*/ 81 h 154"/>
                  <a:gd name="T44" fmla="*/ 0 w 188"/>
                  <a:gd name="T45" fmla="*/ 83 h 154"/>
                  <a:gd name="T46" fmla="*/ 0 w 188"/>
                  <a:gd name="T47" fmla="*/ 84 h 154"/>
                  <a:gd name="T48" fmla="*/ 0 w 188"/>
                  <a:gd name="T49" fmla="*/ 85 h 154"/>
                  <a:gd name="T50" fmla="*/ 0 w 188"/>
                  <a:gd name="T51" fmla="*/ 87 h 154"/>
                  <a:gd name="T52" fmla="*/ 0 w 188"/>
                  <a:gd name="T53" fmla="*/ 88 h 154"/>
                  <a:gd name="T54" fmla="*/ 0 w 188"/>
                  <a:gd name="T55" fmla="*/ 89 h 154"/>
                  <a:gd name="T56" fmla="*/ 0 w 188"/>
                  <a:gd name="T57" fmla="*/ 91 h 154"/>
                  <a:gd name="T58" fmla="*/ 0 w 188"/>
                  <a:gd name="T59" fmla="*/ 92 h 154"/>
                  <a:gd name="T60" fmla="*/ 13 w 188"/>
                  <a:gd name="T61" fmla="*/ 120 h 154"/>
                  <a:gd name="T62" fmla="*/ 187 w 188"/>
                  <a:gd name="T63" fmla="*/ 92 h 154"/>
                  <a:gd name="T64" fmla="*/ 187 w 188"/>
                  <a:gd name="T65" fmla="*/ 90 h 154"/>
                  <a:gd name="T66" fmla="*/ 187 w 188"/>
                  <a:gd name="T67" fmla="*/ 89 h 154"/>
                  <a:gd name="T68" fmla="*/ 187 w 188"/>
                  <a:gd name="T69" fmla="*/ 88 h 154"/>
                  <a:gd name="T70" fmla="*/ 187 w 188"/>
                  <a:gd name="T71" fmla="*/ 86 h 154"/>
                  <a:gd name="T72" fmla="*/ 187 w 188"/>
                  <a:gd name="T73" fmla="*/ 85 h 154"/>
                  <a:gd name="T74" fmla="*/ 187 w 188"/>
                  <a:gd name="T75" fmla="*/ 84 h 154"/>
                  <a:gd name="T76" fmla="*/ 187 w 188"/>
                  <a:gd name="T77" fmla="*/ 82 h 154"/>
                  <a:gd name="T78" fmla="*/ 187 w 188"/>
                  <a:gd name="T79" fmla="*/ 81 h 154"/>
                  <a:gd name="T80" fmla="*/ 187 w 188"/>
                  <a:gd name="T81" fmla="*/ 80 h 154"/>
                  <a:gd name="T82" fmla="*/ 187 w 188"/>
                  <a:gd name="T83" fmla="*/ 78 h 154"/>
                  <a:gd name="T84" fmla="*/ 187 w 188"/>
                  <a:gd name="T85" fmla="*/ 77 h 154"/>
                  <a:gd name="T86" fmla="*/ 187 w 188"/>
                  <a:gd name="T87" fmla="*/ 76 h 154"/>
                  <a:gd name="T88" fmla="*/ 187 w 188"/>
                  <a:gd name="T89" fmla="*/ 74 h 154"/>
                  <a:gd name="T90" fmla="*/ 187 w 188"/>
                  <a:gd name="T91" fmla="*/ 73 h 154"/>
                  <a:gd name="T92" fmla="*/ 187 w 188"/>
                  <a:gd name="T93" fmla="*/ 72 h 154"/>
                  <a:gd name="T94" fmla="*/ 187 w 188"/>
                  <a:gd name="T95" fmla="*/ 70 h 154"/>
                  <a:gd name="T96" fmla="*/ 187 w 188"/>
                  <a:gd name="T97" fmla="*/ 69 h 154"/>
                  <a:gd name="T98" fmla="*/ 187 w 188"/>
                  <a:gd name="T99" fmla="*/ 67 h 154"/>
                  <a:gd name="T100" fmla="*/ 187 w 188"/>
                  <a:gd name="T101" fmla="*/ 66 h 154"/>
                  <a:gd name="T102" fmla="*/ 187 w 188"/>
                  <a:gd name="T103" fmla="*/ 65 h 154"/>
                  <a:gd name="T104" fmla="*/ 187 w 188"/>
                  <a:gd name="T105" fmla="*/ 63 h 154"/>
                  <a:gd name="T106" fmla="*/ 187 w 188"/>
                  <a:gd name="T107" fmla="*/ 62 h 154"/>
                  <a:gd name="T108" fmla="*/ 187 w 188"/>
                  <a:gd name="T109" fmla="*/ 61 h 154"/>
                  <a:gd name="T110" fmla="*/ 187 w 188"/>
                  <a:gd name="T111" fmla="*/ 59 h 154"/>
                  <a:gd name="T112" fmla="*/ 187 w 188"/>
                  <a:gd name="T113" fmla="*/ 58 h 154"/>
                  <a:gd name="T114" fmla="*/ 187 w 188"/>
                  <a:gd name="T115" fmla="*/ 57 h 154"/>
                  <a:gd name="T116" fmla="*/ 187 w 188"/>
                  <a:gd name="T117" fmla="*/ 55 h 154"/>
                  <a:gd name="T118" fmla="*/ 187 w 188"/>
                  <a:gd name="T119" fmla="*/ 54 h 154"/>
                  <a:gd name="T120" fmla="*/ 187 w 188"/>
                  <a:gd name="T121" fmla="*/ 5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54">
                    <a:moveTo>
                      <a:pt x="187" y="52"/>
                    </a:moveTo>
                    <a:cubicBezTo>
                      <a:pt x="188" y="32"/>
                      <a:pt x="164" y="15"/>
                      <a:pt x="133" y="8"/>
                    </a:cubicBezTo>
                    <a:cubicBezTo>
                      <a:pt x="101" y="0"/>
                      <a:pt x="62" y="4"/>
                      <a:pt x="35" y="15"/>
                    </a:cubicBezTo>
                    <a:cubicBezTo>
                      <a:pt x="15" y="24"/>
                      <a:pt x="1" y="38"/>
                      <a:pt x="0" y="53"/>
                    </a:cubicBezTo>
                    <a:cubicBezTo>
                      <a:pt x="0" y="53"/>
                      <a:pt x="0" y="53"/>
                      <a:pt x="0" y="53"/>
                    </a:cubicBezTo>
                    <a:cubicBezTo>
                      <a:pt x="0" y="53"/>
                      <a:pt x="0" y="53"/>
                      <a:pt x="0" y="53"/>
                    </a:cubicBezTo>
                    <a:cubicBezTo>
                      <a:pt x="0" y="54"/>
                      <a:pt x="0" y="54"/>
                      <a:pt x="0" y="54"/>
                    </a:cubicBezTo>
                    <a:cubicBezTo>
                      <a:pt x="0" y="54"/>
                      <a:pt x="0" y="54"/>
                      <a:pt x="0" y="54"/>
                    </a:cubicBezTo>
                    <a:cubicBezTo>
                      <a:pt x="0" y="54"/>
                      <a:pt x="0" y="54"/>
                      <a:pt x="0" y="54"/>
                    </a:cubicBezTo>
                    <a:cubicBezTo>
                      <a:pt x="0" y="54"/>
                      <a:pt x="0" y="54"/>
                      <a:pt x="0" y="54"/>
                    </a:cubicBezTo>
                    <a:cubicBezTo>
                      <a:pt x="0" y="55"/>
                      <a:pt x="0" y="55"/>
                      <a:pt x="0" y="55"/>
                    </a:cubicBezTo>
                    <a:cubicBezTo>
                      <a:pt x="0" y="55"/>
                      <a:pt x="0" y="55"/>
                      <a:pt x="0" y="55"/>
                    </a:cubicBezTo>
                    <a:cubicBezTo>
                      <a:pt x="0" y="55"/>
                      <a:pt x="0" y="55"/>
                      <a:pt x="0" y="55"/>
                    </a:cubicBezTo>
                    <a:cubicBezTo>
                      <a:pt x="0" y="55"/>
                      <a:pt x="0" y="55"/>
                      <a:pt x="0" y="55"/>
                    </a:cubicBezTo>
                    <a:cubicBezTo>
                      <a:pt x="0" y="56"/>
                      <a:pt x="0" y="56"/>
                      <a:pt x="0" y="56"/>
                    </a:cubicBezTo>
                    <a:cubicBezTo>
                      <a:pt x="0" y="56"/>
                      <a:pt x="0" y="56"/>
                      <a:pt x="0" y="56"/>
                    </a:cubicBezTo>
                    <a:cubicBezTo>
                      <a:pt x="0" y="56"/>
                      <a:pt x="0" y="56"/>
                      <a:pt x="0" y="56"/>
                    </a:cubicBezTo>
                    <a:cubicBezTo>
                      <a:pt x="0" y="56"/>
                      <a:pt x="0" y="56"/>
                      <a:pt x="0" y="56"/>
                    </a:cubicBezTo>
                    <a:cubicBezTo>
                      <a:pt x="0" y="57"/>
                      <a:pt x="0" y="57"/>
                      <a:pt x="0" y="57"/>
                    </a:cubicBezTo>
                    <a:cubicBezTo>
                      <a:pt x="0" y="57"/>
                      <a:pt x="0" y="57"/>
                      <a:pt x="0" y="57"/>
                    </a:cubicBezTo>
                    <a:cubicBezTo>
                      <a:pt x="0" y="57"/>
                      <a:pt x="0" y="57"/>
                      <a:pt x="0" y="57"/>
                    </a:cubicBezTo>
                    <a:cubicBezTo>
                      <a:pt x="0" y="58"/>
                      <a:pt x="0" y="58"/>
                      <a:pt x="0" y="58"/>
                    </a:cubicBezTo>
                    <a:cubicBezTo>
                      <a:pt x="0" y="58"/>
                      <a:pt x="0" y="58"/>
                      <a:pt x="0" y="58"/>
                    </a:cubicBezTo>
                    <a:cubicBezTo>
                      <a:pt x="0" y="58"/>
                      <a:pt x="0" y="58"/>
                      <a:pt x="0" y="58"/>
                    </a:cubicBezTo>
                    <a:cubicBezTo>
                      <a:pt x="0" y="58"/>
                      <a:pt x="0" y="58"/>
                      <a:pt x="0" y="58"/>
                    </a:cubicBezTo>
                    <a:cubicBezTo>
                      <a:pt x="0" y="59"/>
                      <a:pt x="0" y="59"/>
                      <a:pt x="0" y="59"/>
                    </a:cubicBezTo>
                    <a:cubicBezTo>
                      <a:pt x="0" y="59"/>
                      <a:pt x="0" y="59"/>
                      <a:pt x="0" y="59"/>
                    </a:cubicBezTo>
                    <a:cubicBezTo>
                      <a:pt x="0" y="59"/>
                      <a:pt x="0" y="59"/>
                      <a:pt x="0" y="59"/>
                    </a:cubicBezTo>
                    <a:cubicBezTo>
                      <a:pt x="0" y="59"/>
                      <a:pt x="0" y="59"/>
                      <a:pt x="0" y="59"/>
                    </a:cubicBezTo>
                    <a:cubicBezTo>
                      <a:pt x="0" y="60"/>
                      <a:pt x="0" y="60"/>
                      <a:pt x="0" y="60"/>
                    </a:cubicBezTo>
                    <a:cubicBezTo>
                      <a:pt x="0" y="60"/>
                      <a:pt x="0" y="60"/>
                      <a:pt x="0" y="60"/>
                    </a:cubicBezTo>
                    <a:cubicBezTo>
                      <a:pt x="0" y="60"/>
                      <a:pt x="0" y="60"/>
                      <a:pt x="0" y="60"/>
                    </a:cubicBezTo>
                    <a:cubicBezTo>
                      <a:pt x="0" y="61"/>
                      <a:pt x="0" y="61"/>
                      <a:pt x="0" y="61"/>
                    </a:cubicBezTo>
                    <a:cubicBezTo>
                      <a:pt x="0" y="61"/>
                      <a:pt x="0" y="61"/>
                      <a:pt x="0" y="61"/>
                    </a:cubicBezTo>
                    <a:cubicBezTo>
                      <a:pt x="0" y="61"/>
                      <a:pt x="0" y="61"/>
                      <a:pt x="0" y="61"/>
                    </a:cubicBezTo>
                    <a:cubicBezTo>
                      <a:pt x="0" y="61"/>
                      <a:pt x="0" y="61"/>
                      <a:pt x="0" y="61"/>
                    </a:cubicBezTo>
                    <a:cubicBezTo>
                      <a:pt x="0" y="62"/>
                      <a:pt x="0" y="62"/>
                      <a:pt x="0" y="62"/>
                    </a:cubicBezTo>
                    <a:cubicBezTo>
                      <a:pt x="0" y="62"/>
                      <a:pt x="0" y="62"/>
                      <a:pt x="0" y="62"/>
                    </a:cubicBezTo>
                    <a:cubicBezTo>
                      <a:pt x="0" y="62"/>
                      <a:pt x="0" y="62"/>
                      <a:pt x="0" y="62"/>
                    </a:cubicBezTo>
                    <a:cubicBezTo>
                      <a:pt x="0" y="62"/>
                      <a:pt x="0" y="62"/>
                      <a:pt x="0" y="62"/>
                    </a:cubicBezTo>
                    <a:cubicBezTo>
                      <a:pt x="0" y="63"/>
                      <a:pt x="0" y="63"/>
                      <a:pt x="0" y="63"/>
                    </a:cubicBezTo>
                    <a:cubicBezTo>
                      <a:pt x="0" y="63"/>
                      <a:pt x="0" y="63"/>
                      <a:pt x="0" y="63"/>
                    </a:cubicBezTo>
                    <a:cubicBezTo>
                      <a:pt x="0" y="63"/>
                      <a:pt x="0" y="63"/>
                      <a:pt x="0" y="63"/>
                    </a:cubicBezTo>
                    <a:cubicBezTo>
                      <a:pt x="0" y="64"/>
                      <a:pt x="0" y="64"/>
                      <a:pt x="0" y="64"/>
                    </a:cubicBezTo>
                    <a:cubicBezTo>
                      <a:pt x="0" y="64"/>
                      <a:pt x="0" y="64"/>
                      <a:pt x="0" y="64"/>
                    </a:cubicBezTo>
                    <a:cubicBezTo>
                      <a:pt x="0" y="64"/>
                      <a:pt x="0" y="64"/>
                      <a:pt x="0" y="64"/>
                    </a:cubicBezTo>
                    <a:cubicBezTo>
                      <a:pt x="0" y="64"/>
                      <a:pt x="0" y="64"/>
                      <a:pt x="0" y="64"/>
                    </a:cubicBezTo>
                    <a:cubicBezTo>
                      <a:pt x="0" y="65"/>
                      <a:pt x="0" y="65"/>
                      <a:pt x="0" y="65"/>
                    </a:cubicBezTo>
                    <a:cubicBezTo>
                      <a:pt x="0" y="65"/>
                      <a:pt x="0" y="65"/>
                      <a:pt x="0" y="65"/>
                    </a:cubicBezTo>
                    <a:cubicBezTo>
                      <a:pt x="0" y="65"/>
                      <a:pt x="0" y="65"/>
                      <a:pt x="0" y="65"/>
                    </a:cubicBezTo>
                    <a:cubicBezTo>
                      <a:pt x="0" y="65"/>
                      <a:pt x="0" y="65"/>
                      <a:pt x="0" y="65"/>
                    </a:cubicBezTo>
                    <a:cubicBezTo>
                      <a:pt x="0" y="66"/>
                      <a:pt x="0" y="66"/>
                      <a:pt x="0" y="66"/>
                    </a:cubicBezTo>
                    <a:cubicBezTo>
                      <a:pt x="0" y="66"/>
                      <a:pt x="0" y="66"/>
                      <a:pt x="0" y="66"/>
                    </a:cubicBezTo>
                    <a:cubicBezTo>
                      <a:pt x="0" y="66"/>
                      <a:pt x="0" y="66"/>
                      <a:pt x="0" y="66"/>
                    </a:cubicBezTo>
                    <a:cubicBezTo>
                      <a:pt x="0" y="66"/>
                      <a:pt x="0" y="66"/>
                      <a:pt x="0" y="66"/>
                    </a:cubicBezTo>
                    <a:cubicBezTo>
                      <a:pt x="0" y="67"/>
                      <a:pt x="0" y="67"/>
                      <a:pt x="0" y="67"/>
                    </a:cubicBezTo>
                    <a:cubicBezTo>
                      <a:pt x="0" y="67"/>
                      <a:pt x="0" y="67"/>
                      <a:pt x="0" y="67"/>
                    </a:cubicBezTo>
                    <a:cubicBezTo>
                      <a:pt x="0" y="67"/>
                      <a:pt x="0" y="67"/>
                      <a:pt x="0" y="67"/>
                    </a:cubicBezTo>
                    <a:cubicBezTo>
                      <a:pt x="0" y="68"/>
                      <a:pt x="0" y="68"/>
                      <a:pt x="0" y="68"/>
                    </a:cubicBezTo>
                    <a:cubicBezTo>
                      <a:pt x="0" y="68"/>
                      <a:pt x="0" y="68"/>
                      <a:pt x="0" y="68"/>
                    </a:cubicBezTo>
                    <a:cubicBezTo>
                      <a:pt x="0" y="68"/>
                      <a:pt x="0" y="68"/>
                      <a:pt x="0" y="68"/>
                    </a:cubicBezTo>
                    <a:cubicBezTo>
                      <a:pt x="0" y="68"/>
                      <a:pt x="0" y="68"/>
                      <a:pt x="0" y="68"/>
                    </a:cubicBezTo>
                    <a:cubicBezTo>
                      <a:pt x="0" y="69"/>
                      <a:pt x="0" y="69"/>
                      <a:pt x="0" y="69"/>
                    </a:cubicBezTo>
                    <a:cubicBezTo>
                      <a:pt x="0" y="69"/>
                      <a:pt x="0" y="69"/>
                      <a:pt x="0" y="69"/>
                    </a:cubicBezTo>
                    <a:cubicBezTo>
                      <a:pt x="0" y="69"/>
                      <a:pt x="0" y="69"/>
                      <a:pt x="0" y="69"/>
                    </a:cubicBezTo>
                    <a:cubicBezTo>
                      <a:pt x="0" y="69"/>
                      <a:pt x="0" y="69"/>
                      <a:pt x="0" y="69"/>
                    </a:cubicBezTo>
                    <a:cubicBezTo>
                      <a:pt x="0" y="70"/>
                      <a:pt x="0" y="70"/>
                      <a:pt x="0" y="70"/>
                    </a:cubicBezTo>
                    <a:cubicBezTo>
                      <a:pt x="0" y="70"/>
                      <a:pt x="0" y="70"/>
                      <a:pt x="0" y="70"/>
                    </a:cubicBezTo>
                    <a:cubicBezTo>
                      <a:pt x="0" y="70"/>
                      <a:pt x="0" y="70"/>
                      <a:pt x="0" y="70"/>
                    </a:cubicBezTo>
                    <a:cubicBezTo>
                      <a:pt x="0" y="71"/>
                      <a:pt x="0" y="71"/>
                      <a:pt x="0" y="71"/>
                    </a:cubicBezTo>
                    <a:cubicBezTo>
                      <a:pt x="0" y="71"/>
                      <a:pt x="0" y="71"/>
                      <a:pt x="0" y="71"/>
                    </a:cubicBezTo>
                    <a:cubicBezTo>
                      <a:pt x="0" y="71"/>
                      <a:pt x="0" y="71"/>
                      <a:pt x="0" y="71"/>
                    </a:cubicBezTo>
                    <a:cubicBezTo>
                      <a:pt x="0" y="71"/>
                      <a:pt x="0" y="71"/>
                      <a:pt x="0" y="71"/>
                    </a:cubicBezTo>
                    <a:cubicBezTo>
                      <a:pt x="0" y="72"/>
                      <a:pt x="0" y="72"/>
                      <a:pt x="0" y="72"/>
                    </a:cubicBezTo>
                    <a:cubicBezTo>
                      <a:pt x="0" y="72"/>
                      <a:pt x="0" y="72"/>
                      <a:pt x="0" y="72"/>
                    </a:cubicBezTo>
                    <a:cubicBezTo>
                      <a:pt x="0" y="72"/>
                      <a:pt x="0" y="72"/>
                      <a:pt x="0" y="72"/>
                    </a:cubicBezTo>
                    <a:cubicBezTo>
                      <a:pt x="0" y="72"/>
                      <a:pt x="0" y="72"/>
                      <a:pt x="0" y="72"/>
                    </a:cubicBezTo>
                    <a:cubicBezTo>
                      <a:pt x="0" y="73"/>
                      <a:pt x="0" y="73"/>
                      <a:pt x="0" y="73"/>
                    </a:cubicBezTo>
                    <a:cubicBezTo>
                      <a:pt x="0" y="73"/>
                      <a:pt x="0" y="73"/>
                      <a:pt x="0" y="73"/>
                    </a:cubicBezTo>
                    <a:cubicBezTo>
                      <a:pt x="0" y="73"/>
                      <a:pt x="0" y="73"/>
                      <a:pt x="0" y="73"/>
                    </a:cubicBezTo>
                    <a:cubicBezTo>
                      <a:pt x="0" y="73"/>
                      <a:pt x="0" y="73"/>
                      <a:pt x="0" y="73"/>
                    </a:cubicBezTo>
                    <a:cubicBezTo>
                      <a:pt x="0" y="74"/>
                      <a:pt x="0" y="74"/>
                      <a:pt x="0" y="74"/>
                    </a:cubicBezTo>
                    <a:cubicBezTo>
                      <a:pt x="0" y="74"/>
                      <a:pt x="0" y="74"/>
                      <a:pt x="0" y="74"/>
                    </a:cubicBezTo>
                    <a:cubicBezTo>
                      <a:pt x="0" y="74"/>
                      <a:pt x="0" y="74"/>
                      <a:pt x="0" y="74"/>
                    </a:cubicBezTo>
                    <a:cubicBezTo>
                      <a:pt x="0" y="75"/>
                      <a:pt x="0" y="75"/>
                      <a:pt x="0" y="75"/>
                    </a:cubicBezTo>
                    <a:cubicBezTo>
                      <a:pt x="0" y="75"/>
                      <a:pt x="0" y="75"/>
                      <a:pt x="0" y="75"/>
                    </a:cubicBezTo>
                    <a:cubicBezTo>
                      <a:pt x="0" y="75"/>
                      <a:pt x="0" y="75"/>
                      <a:pt x="0" y="75"/>
                    </a:cubicBezTo>
                    <a:cubicBezTo>
                      <a:pt x="0" y="75"/>
                      <a:pt x="0" y="75"/>
                      <a:pt x="0" y="75"/>
                    </a:cubicBezTo>
                    <a:cubicBezTo>
                      <a:pt x="0" y="76"/>
                      <a:pt x="0" y="76"/>
                      <a:pt x="0" y="76"/>
                    </a:cubicBezTo>
                    <a:cubicBezTo>
                      <a:pt x="0" y="76"/>
                      <a:pt x="0" y="76"/>
                      <a:pt x="0" y="76"/>
                    </a:cubicBezTo>
                    <a:cubicBezTo>
                      <a:pt x="0" y="76"/>
                      <a:pt x="0" y="76"/>
                      <a:pt x="0" y="76"/>
                    </a:cubicBezTo>
                    <a:cubicBezTo>
                      <a:pt x="0" y="76"/>
                      <a:pt x="0" y="76"/>
                      <a:pt x="0" y="76"/>
                    </a:cubicBezTo>
                    <a:cubicBezTo>
                      <a:pt x="0" y="77"/>
                      <a:pt x="0" y="77"/>
                      <a:pt x="0" y="77"/>
                    </a:cubicBezTo>
                    <a:cubicBezTo>
                      <a:pt x="0" y="77"/>
                      <a:pt x="0" y="77"/>
                      <a:pt x="0" y="77"/>
                    </a:cubicBezTo>
                    <a:cubicBezTo>
                      <a:pt x="0" y="77"/>
                      <a:pt x="0" y="77"/>
                      <a:pt x="0" y="77"/>
                    </a:cubicBezTo>
                    <a:cubicBezTo>
                      <a:pt x="0" y="78"/>
                      <a:pt x="0" y="78"/>
                      <a:pt x="0" y="78"/>
                    </a:cubicBezTo>
                    <a:cubicBezTo>
                      <a:pt x="0" y="78"/>
                      <a:pt x="0" y="78"/>
                      <a:pt x="0" y="78"/>
                    </a:cubicBezTo>
                    <a:cubicBezTo>
                      <a:pt x="0" y="78"/>
                      <a:pt x="0" y="78"/>
                      <a:pt x="0" y="78"/>
                    </a:cubicBezTo>
                    <a:cubicBezTo>
                      <a:pt x="0" y="78"/>
                      <a:pt x="0" y="78"/>
                      <a:pt x="0" y="78"/>
                    </a:cubicBezTo>
                    <a:cubicBezTo>
                      <a:pt x="0" y="79"/>
                      <a:pt x="0" y="79"/>
                      <a:pt x="0" y="79"/>
                    </a:cubicBezTo>
                    <a:cubicBezTo>
                      <a:pt x="0" y="79"/>
                      <a:pt x="0" y="79"/>
                      <a:pt x="0" y="79"/>
                    </a:cubicBezTo>
                    <a:cubicBezTo>
                      <a:pt x="0" y="79"/>
                      <a:pt x="0" y="79"/>
                      <a:pt x="0" y="79"/>
                    </a:cubicBezTo>
                    <a:cubicBezTo>
                      <a:pt x="0" y="79"/>
                      <a:pt x="0" y="79"/>
                      <a:pt x="0" y="79"/>
                    </a:cubicBezTo>
                    <a:cubicBezTo>
                      <a:pt x="0" y="80"/>
                      <a:pt x="0" y="80"/>
                      <a:pt x="0" y="80"/>
                    </a:cubicBezTo>
                    <a:cubicBezTo>
                      <a:pt x="0" y="80"/>
                      <a:pt x="0" y="80"/>
                      <a:pt x="0" y="80"/>
                    </a:cubicBezTo>
                    <a:cubicBezTo>
                      <a:pt x="0" y="80"/>
                      <a:pt x="0" y="80"/>
                      <a:pt x="0" y="80"/>
                    </a:cubicBezTo>
                    <a:cubicBezTo>
                      <a:pt x="0" y="81"/>
                      <a:pt x="0" y="81"/>
                      <a:pt x="0" y="81"/>
                    </a:cubicBezTo>
                    <a:cubicBezTo>
                      <a:pt x="0" y="81"/>
                      <a:pt x="0" y="81"/>
                      <a:pt x="0" y="81"/>
                    </a:cubicBezTo>
                    <a:cubicBezTo>
                      <a:pt x="0" y="81"/>
                      <a:pt x="0" y="81"/>
                      <a:pt x="0" y="81"/>
                    </a:cubicBezTo>
                    <a:cubicBezTo>
                      <a:pt x="0" y="81"/>
                      <a:pt x="0" y="81"/>
                      <a:pt x="0" y="81"/>
                    </a:cubicBezTo>
                    <a:cubicBezTo>
                      <a:pt x="0" y="82"/>
                      <a:pt x="0" y="82"/>
                      <a:pt x="0" y="82"/>
                    </a:cubicBezTo>
                    <a:cubicBezTo>
                      <a:pt x="0" y="82"/>
                      <a:pt x="0" y="82"/>
                      <a:pt x="0" y="82"/>
                    </a:cubicBezTo>
                    <a:cubicBezTo>
                      <a:pt x="0" y="82"/>
                      <a:pt x="0" y="82"/>
                      <a:pt x="0" y="82"/>
                    </a:cubicBezTo>
                    <a:cubicBezTo>
                      <a:pt x="0" y="82"/>
                      <a:pt x="0" y="82"/>
                      <a:pt x="0" y="82"/>
                    </a:cubicBezTo>
                    <a:cubicBezTo>
                      <a:pt x="0" y="83"/>
                      <a:pt x="0" y="83"/>
                      <a:pt x="0" y="83"/>
                    </a:cubicBezTo>
                    <a:cubicBezTo>
                      <a:pt x="0" y="83"/>
                      <a:pt x="0" y="83"/>
                      <a:pt x="0" y="83"/>
                    </a:cubicBezTo>
                    <a:cubicBezTo>
                      <a:pt x="0" y="83"/>
                      <a:pt x="0" y="83"/>
                      <a:pt x="0" y="83"/>
                    </a:cubicBezTo>
                    <a:cubicBezTo>
                      <a:pt x="0" y="83"/>
                      <a:pt x="0" y="83"/>
                      <a:pt x="0" y="83"/>
                    </a:cubicBezTo>
                    <a:cubicBezTo>
                      <a:pt x="0" y="84"/>
                      <a:pt x="0" y="84"/>
                      <a:pt x="0" y="84"/>
                    </a:cubicBezTo>
                    <a:cubicBezTo>
                      <a:pt x="0" y="84"/>
                      <a:pt x="0" y="84"/>
                      <a:pt x="0" y="84"/>
                    </a:cubicBezTo>
                    <a:cubicBezTo>
                      <a:pt x="0" y="84"/>
                      <a:pt x="0" y="84"/>
                      <a:pt x="0" y="84"/>
                    </a:cubicBezTo>
                    <a:cubicBezTo>
                      <a:pt x="0" y="85"/>
                      <a:pt x="0" y="85"/>
                      <a:pt x="0" y="85"/>
                    </a:cubicBezTo>
                    <a:cubicBezTo>
                      <a:pt x="0" y="85"/>
                      <a:pt x="0" y="85"/>
                      <a:pt x="0" y="85"/>
                    </a:cubicBezTo>
                    <a:cubicBezTo>
                      <a:pt x="0" y="85"/>
                      <a:pt x="0" y="85"/>
                      <a:pt x="0" y="85"/>
                    </a:cubicBezTo>
                    <a:cubicBezTo>
                      <a:pt x="0" y="85"/>
                      <a:pt x="0" y="85"/>
                      <a:pt x="0" y="85"/>
                    </a:cubicBezTo>
                    <a:cubicBezTo>
                      <a:pt x="0" y="86"/>
                      <a:pt x="0" y="86"/>
                      <a:pt x="0" y="86"/>
                    </a:cubicBezTo>
                    <a:cubicBezTo>
                      <a:pt x="0" y="86"/>
                      <a:pt x="0" y="86"/>
                      <a:pt x="0" y="86"/>
                    </a:cubicBezTo>
                    <a:cubicBezTo>
                      <a:pt x="0" y="86"/>
                      <a:pt x="0" y="86"/>
                      <a:pt x="0" y="86"/>
                    </a:cubicBezTo>
                    <a:cubicBezTo>
                      <a:pt x="0" y="86"/>
                      <a:pt x="0" y="86"/>
                      <a:pt x="0" y="86"/>
                    </a:cubicBezTo>
                    <a:cubicBezTo>
                      <a:pt x="0" y="87"/>
                      <a:pt x="0" y="87"/>
                      <a:pt x="0" y="87"/>
                    </a:cubicBezTo>
                    <a:cubicBezTo>
                      <a:pt x="0" y="87"/>
                      <a:pt x="0" y="87"/>
                      <a:pt x="0" y="87"/>
                    </a:cubicBezTo>
                    <a:cubicBezTo>
                      <a:pt x="0" y="87"/>
                      <a:pt x="0" y="87"/>
                      <a:pt x="0" y="87"/>
                    </a:cubicBezTo>
                    <a:cubicBezTo>
                      <a:pt x="0" y="88"/>
                      <a:pt x="0" y="88"/>
                      <a:pt x="0" y="88"/>
                    </a:cubicBezTo>
                    <a:cubicBezTo>
                      <a:pt x="0" y="88"/>
                      <a:pt x="0" y="88"/>
                      <a:pt x="0" y="88"/>
                    </a:cubicBezTo>
                    <a:cubicBezTo>
                      <a:pt x="0" y="88"/>
                      <a:pt x="0" y="88"/>
                      <a:pt x="0" y="88"/>
                    </a:cubicBezTo>
                    <a:cubicBezTo>
                      <a:pt x="0" y="88"/>
                      <a:pt x="0" y="88"/>
                      <a:pt x="0" y="88"/>
                    </a:cubicBezTo>
                    <a:cubicBezTo>
                      <a:pt x="0" y="89"/>
                      <a:pt x="0" y="89"/>
                      <a:pt x="0" y="89"/>
                    </a:cubicBezTo>
                    <a:cubicBezTo>
                      <a:pt x="0" y="89"/>
                      <a:pt x="0" y="89"/>
                      <a:pt x="0" y="89"/>
                    </a:cubicBezTo>
                    <a:cubicBezTo>
                      <a:pt x="0" y="89"/>
                      <a:pt x="0" y="89"/>
                      <a:pt x="0" y="89"/>
                    </a:cubicBezTo>
                    <a:cubicBezTo>
                      <a:pt x="0" y="89"/>
                      <a:pt x="0" y="89"/>
                      <a:pt x="0" y="89"/>
                    </a:cubicBezTo>
                    <a:cubicBezTo>
                      <a:pt x="0" y="90"/>
                      <a:pt x="0" y="90"/>
                      <a:pt x="0" y="90"/>
                    </a:cubicBezTo>
                    <a:cubicBezTo>
                      <a:pt x="0" y="90"/>
                      <a:pt x="0" y="90"/>
                      <a:pt x="0" y="90"/>
                    </a:cubicBezTo>
                    <a:cubicBezTo>
                      <a:pt x="0" y="90"/>
                      <a:pt x="0" y="90"/>
                      <a:pt x="0" y="90"/>
                    </a:cubicBezTo>
                    <a:cubicBezTo>
                      <a:pt x="0" y="91"/>
                      <a:pt x="0" y="91"/>
                      <a:pt x="0" y="91"/>
                    </a:cubicBezTo>
                    <a:cubicBezTo>
                      <a:pt x="0" y="91"/>
                      <a:pt x="0" y="91"/>
                      <a:pt x="0" y="91"/>
                    </a:cubicBezTo>
                    <a:cubicBezTo>
                      <a:pt x="0" y="91"/>
                      <a:pt x="0" y="91"/>
                      <a:pt x="0" y="91"/>
                    </a:cubicBezTo>
                    <a:cubicBezTo>
                      <a:pt x="0" y="91"/>
                      <a:pt x="0" y="91"/>
                      <a:pt x="0" y="91"/>
                    </a:cubicBezTo>
                    <a:cubicBezTo>
                      <a:pt x="0" y="92"/>
                      <a:pt x="0" y="92"/>
                      <a:pt x="0" y="92"/>
                    </a:cubicBezTo>
                    <a:cubicBezTo>
                      <a:pt x="0" y="92"/>
                      <a:pt x="0" y="92"/>
                      <a:pt x="0" y="92"/>
                    </a:cubicBezTo>
                    <a:cubicBezTo>
                      <a:pt x="0" y="92"/>
                      <a:pt x="0" y="92"/>
                      <a:pt x="0" y="92"/>
                    </a:cubicBezTo>
                    <a:cubicBezTo>
                      <a:pt x="0" y="92"/>
                      <a:pt x="0" y="92"/>
                      <a:pt x="0" y="92"/>
                    </a:cubicBezTo>
                    <a:cubicBezTo>
                      <a:pt x="0" y="93"/>
                      <a:pt x="0" y="93"/>
                      <a:pt x="0" y="93"/>
                    </a:cubicBezTo>
                    <a:cubicBezTo>
                      <a:pt x="0" y="93"/>
                      <a:pt x="0" y="93"/>
                      <a:pt x="0" y="93"/>
                    </a:cubicBezTo>
                    <a:cubicBezTo>
                      <a:pt x="0" y="93"/>
                      <a:pt x="0" y="93"/>
                      <a:pt x="0" y="93"/>
                    </a:cubicBezTo>
                    <a:cubicBezTo>
                      <a:pt x="0" y="102"/>
                      <a:pt x="3" y="111"/>
                      <a:pt x="13" y="120"/>
                    </a:cubicBezTo>
                    <a:cubicBezTo>
                      <a:pt x="52" y="154"/>
                      <a:pt x="143" y="153"/>
                      <a:pt x="178" y="113"/>
                    </a:cubicBezTo>
                    <a:cubicBezTo>
                      <a:pt x="184" y="106"/>
                      <a:pt x="187" y="99"/>
                      <a:pt x="187" y="93"/>
                    </a:cubicBezTo>
                    <a:cubicBezTo>
                      <a:pt x="187" y="92"/>
                      <a:pt x="187" y="92"/>
                      <a:pt x="187" y="92"/>
                    </a:cubicBezTo>
                    <a:cubicBezTo>
                      <a:pt x="187" y="92"/>
                      <a:pt x="187" y="92"/>
                      <a:pt x="187" y="92"/>
                    </a:cubicBezTo>
                    <a:cubicBezTo>
                      <a:pt x="187" y="92"/>
                      <a:pt x="187" y="92"/>
                      <a:pt x="187" y="92"/>
                    </a:cubicBezTo>
                    <a:cubicBezTo>
                      <a:pt x="187" y="92"/>
                      <a:pt x="187" y="92"/>
                      <a:pt x="187" y="92"/>
                    </a:cubicBezTo>
                    <a:cubicBezTo>
                      <a:pt x="187" y="91"/>
                      <a:pt x="187" y="91"/>
                      <a:pt x="187" y="91"/>
                    </a:cubicBezTo>
                    <a:cubicBezTo>
                      <a:pt x="187" y="91"/>
                      <a:pt x="187" y="91"/>
                      <a:pt x="187" y="91"/>
                    </a:cubicBezTo>
                    <a:cubicBezTo>
                      <a:pt x="187" y="91"/>
                      <a:pt x="187" y="91"/>
                      <a:pt x="187" y="91"/>
                    </a:cubicBezTo>
                    <a:cubicBezTo>
                      <a:pt x="187" y="90"/>
                      <a:pt x="187" y="90"/>
                      <a:pt x="187" y="90"/>
                    </a:cubicBezTo>
                    <a:cubicBezTo>
                      <a:pt x="187" y="90"/>
                      <a:pt x="187" y="90"/>
                      <a:pt x="187" y="90"/>
                    </a:cubicBezTo>
                    <a:cubicBezTo>
                      <a:pt x="187" y="90"/>
                      <a:pt x="187" y="90"/>
                      <a:pt x="187" y="90"/>
                    </a:cubicBezTo>
                    <a:cubicBezTo>
                      <a:pt x="187" y="90"/>
                      <a:pt x="187" y="90"/>
                      <a:pt x="187" y="90"/>
                    </a:cubicBezTo>
                    <a:cubicBezTo>
                      <a:pt x="187" y="89"/>
                      <a:pt x="187" y="89"/>
                      <a:pt x="187" y="89"/>
                    </a:cubicBezTo>
                    <a:cubicBezTo>
                      <a:pt x="187" y="89"/>
                      <a:pt x="187" y="89"/>
                      <a:pt x="187" y="89"/>
                    </a:cubicBezTo>
                    <a:cubicBezTo>
                      <a:pt x="187" y="89"/>
                      <a:pt x="187" y="89"/>
                      <a:pt x="187" y="89"/>
                    </a:cubicBezTo>
                    <a:cubicBezTo>
                      <a:pt x="187" y="89"/>
                      <a:pt x="187" y="89"/>
                      <a:pt x="187" y="89"/>
                    </a:cubicBezTo>
                    <a:cubicBezTo>
                      <a:pt x="187" y="88"/>
                      <a:pt x="187" y="88"/>
                      <a:pt x="187" y="88"/>
                    </a:cubicBezTo>
                    <a:cubicBezTo>
                      <a:pt x="187" y="88"/>
                      <a:pt x="187" y="88"/>
                      <a:pt x="187" y="88"/>
                    </a:cubicBezTo>
                    <a:cubicBezTo>
                      <a:pt x="187" y="88"/>
                      <a:pt x="187" y="88"/>
                      <a:pt x="187" y="88"/>
                    </a:cubicBezTo>
                    <a:cubicBezTo>
                      <a:pt x="187" y="87"/>
                      <a:pt x="187" y="87"/>
                      <a:pt x="187" y="87"/>
                    </a:cubicBezTo>
                    <a:cubicBezTo>
                      <a:pt x="187" y="87"/>
                      <a:pt x="187" y="87"/>
                      <a:pt x="187" y="87"/>
                    </a:cubicBezTo>
                    <a:cubicBezTo>
                      <a:pt x="187" y="87"/>
                      <a:pt x="187" y="87"/>
                      <a:pt x="187" y="87"/>
                    </a:cubicBezTo>
                    <a:cubicBezTo>
                      <a:pt x="187" y="87"/>
                      <a:pt x="187" y="87"/>
                      <a:pt x="187" y="87"/>
                    </a:cubicBezTo>
                    <a:cubicBezTo>
                      <a:pt x="187" y="86"/>
                      <a:pt x="187" y="86"/>
                      <a:pt x="187" y="86"/>
                    </a:cubicBezTo>
                    <a:cubicBezTo>
                      <a:pt x="187" y="86"/>
                      <a:pt x="187" y="86"/>
                      <a:pt x="187" y="86"/>
                    </a:cubicBezTo>
                    <a:cubicBezTo>
                      <a:pt x="187" y="86"/>
                      <a:pt x="187" y="86"/>
                      <a:pt x="187" y="86"/>
                    </a:cubicBezTo>
                    <a:cubicBezTo>
                      <a:pt x="187" y="86"/>
                      <a:pt x="187" y="86"/>
                      <a:pt x="187" y="86"/>
                    </a:cubicBezTo>
                    <a:cubicBezTo>
                      <a:pt x="187" y="85"/>
                      <a:pt x="187" y="85"/>
                      <a:pt x="187" y="85"/>
                    </a:cubicBezTo>
                    <a:cubicBezTo>
                      <a:pt x="187" y="85"/>
                      <a:pt x="187" y="85"/>
                      <a:pt x="187" y="85"/>
                    </a:cubicBezTo>
                    <a:cubicBezTo>
                      <a:pt x="187" y="85"/>
                      <a:pt x="187" y="85"/>
                      <a:pt x="187" y="85"/>
                    </a:cubicBezTo>
                    <a:cubicBezTo>
                      <a:pt x="187" y="84"/>
                      <a:pt x="187" y="84"/>
                      <a:pt x="187" y="84"/>
                    </a:cubicBezTo>
                    <a:cubicBezTo>
                      <a:pt x="187" y="84"/>
                      <a:pt x="187" y="84"/>
                      <a:pt x="187" y="84"/>
                    </a:cubicBezTo>
                    <a:cubicBezTo>
                      <a:pt x="187" y="84"/>
                      <a:pt x="187" y="84"/>
                      <a:pt x="187" y="84"/>
                    </a:cubicBezTo>
                    <a:cubicBezTo>
                      <a:pt x="187" y="84"/>
                      <a:pt x="187" y="84"/>
                      <a:pt x="187" y="84"/>
                    </a:cubicBezTo>
                    <a:cubicBezTo>
                      <a:pt x="187" y="83"/>
                      <a:pt x="187" y="83"/>
                      <a:pt x="187" y="83"/>
                    </a:cubicBezTo>
                    <a:cubicBezTo>
                      <a:pt x="187" y="83"/>
                      <a:pt x="187" y="83"/>
                      <a:pt x="187" y="83"/>
                    </a:cubicBezTo>
                    <a:cubicBezTo>
                      <a:pt x="187" y="83"/>
                      <a:pt x="187" y="83"/>
                      <a:pt x="187" y="83"/>
                    </a:cubicBezTo>
                    <a:cubicBezTo>
                      <a:pt x="187" y="83"/>
                      <a:pt x="187" y="83"/>
                      <a:pt x="187" y="83"/>
                    </a:cubicBezTo>
                    <a:cubicBezTo>
                      <a:pt x="187" y="82"/>
                      <a:pt x="187" y="82"/>
                      <a:pt x="187" y="82"/>
                    </a:cubicBezTo>
                    <a:cubicBezTo>
                      <a:pt x="187" y="82"/>
                      <a:pt x="187" y="82"/>
                      <a:pt x="187" y="82"/>
                    </a:cubicBezTo>
                    <a:cubicBezTo>
                      <a:pt x="187" y="82"/>
                      <a:pt x="187" y="82"/>
                      <a:pt x="187" y="82"/>
                    </a:cubicBezTo>
                    <a:cubicBezTo>
                      <a:pt x="187" y="82"/>
                      <a:pt x="187" y="82"/>
                      <a:pt x="187" y="82"/>
                    </a:cubicBezTo>
                    <a:cubicBezTo>
                      <a:pt x="187" y="81"/>
                      <a:pt x="187" y="81"/>
                      <a:pt x="187" y="81"/>
                    </a:cubicBezTo>
                    <a:cubicBezTo>
                      <a:pt x="187" y="81"/>
                      <a:pt x="187" y="81"/>
                      <a:pt x="187" y="81"/>
                    </a:cubicBezTo>
                    <a:cubicBezTo>
                      <a:pt x="187" y="81"/>
                      <a:pt x="187" y="81"/>
                      <a:pt x="187" y="81"/>
                    </a:cubicBezTo>
                    <a:cubicBezTo>
                      <a:pt x="187" y="80"/>
                      <a:pt x="187" y="80"/>
                      <a:pt x="187" y="80"/>
                    </a:cubicBezTo>
                    <a:cubicBezTo>
                      <a:pt x="187" y="80"/>
                      <a:pt x="187" y="80"/>
                      <a:pt x="187" y="80"/>
                    </a:cubicBezTo>
                    <a:cubicBezTo>
                      <a:pt x="187" y="80"/>
                      <a:pt x="187" y="80"/>
                      <a:pt x="187" y="80"/>
                    </a:cubicBezTo>
                    <a:cubicBezTo>
                      <a:pt x="187" y="80"/>
                      <a:pt x="187" y="80"/>
                      <a:pt x="187" y="80"/>
                    </a:cubicBezTo>
                    <a:cubicBezTo>
                      <a:pt x="187" y="79"/>
                      <a:pt x="187" y="79"/>
                      <a:pt x="187" y="79"/>
                    </a:cubicBezTo>
                    <a:cubicBezTo>
                      <a:pt x="187" y="79"/>
                      <a:pt x="187" y="79"/>
                      <a:pt x="187" y="79"/>
                    </a:cubicBezTo>
                    <a:cubicBezTo>
                      <a:pt x="187" y="79"/>
                      <a:pt x="187" y="79"/>
                      <a:pt x="187" y="79"/>
                    </a:cubicBezTo>
                    <a:cubicBezTo>
                      <a:pt x="187" y="79"/>
                      <a:pt x="187" y="79"/>
                      <a:pt x="187" y="79"/>
                    </a:cubicBezTo>
                    <a:cubicBezTo>
                      <a:pt x="187" y="78"/>
                      <a:pt x="187" y="78"/>
                      <a:pt x="187" y="78"/>
                    </a:cubicBezTo>
                    <a:cubicBezTo>
                      <a:pt x="187" y="78"/>
                      <a:pt x="187" y="78"/>
                      <a:pt x="187" y="78"/>
                    </a:cubicBezTo>
                    <a:cubicBezTo>
                      <a:pt x="187" y="78"/>
                      <a:pt x="187" y="78"/>
                      <a:pt x="187" y="78"/>
                    </a:cubicBezTo>
                    <a:cubicBezTo>
                      <a:pt x="187" y="77"/>
                      <a:pt x="187" y="77"/>
                      <a:pt x="187" y="77"/>
                    </a:cubicBezTo>
                    <a:cubicBezTo>
                      <a:pt x="187" y="77"/>
                      <a:pt x="187" y="77"/>
                      <a:pt x="187" y="77"/>
                    </a:cubicBezTo>
                    <a:cubicBezTo>
                      <a:pt x="187" y="77"/>
                      <a:pt x="187" y="77"/>
                      <a:pt x="187" y="77"/>
                    </a:cubicBezTo>
                    <a:cubicBezTo>
                      <a:pt x="187" y="77"/>
                      <a:pt x="187" y="77"/>
                      <a:pt x="187" y="77"/>
                    </a:cubicBezTo>
                    <a:cubicBezTo>
                      <a:pt x="187" y="76"/>
                      <a:pt x="187" y="76"/>
                      <a:pt x="187" y="76"/>
                    </a:cubicBezTo>
                    <a:cubicBezTo>
                      <a:pt x="187" y="76"/>
                      <a:pt x="187" y="76"/>
                      <a:pt x="187" y="76"/>
                    </a:cubicBezTo>
                    <a:cubicBezTo>
                      <a:pt x="187" y="76"/>
                      <a:pt x="187" y="76"/>
                      <a:pt x="187" y="76"/>
                    </a:cubicBezTo>
                    <a:cubicBezTo>
                      <a:pt x="187" y="76"/>
                      <a:pt x="187" y="76"/>
                      <a:pt x="187" y="76"/>
                    </a:cubicBezTo>
                    <a:cubicBezTo>
                      <a:pt x="187" y="75"/>
                      <a:pt x="187" y="75"/>
                      <a:pt x="187" y="75"/>
                    </a:cubicBezTo>
                    <a:cubicBezTo>
                      <a:pt x="187" y="75"/>
                      <a:pt x="187" y="75"/>
                      <a:pt x="187" y="75"/>
                    </a:cubicBezTo>
                    <a:cubicBezTo>
                      <a:pt x="187" y="75"/>
                      <a:pt x="187" y="75"/>
                      <a:pt x="187" y="75"/>
                    </a:cubicBezTo>
                    <a:cubicBezTo>
                      <a:pt x="187" y="74"/>
                      <a:pt x="187" y="74"/>
                      <a:pt x="187" y="74"/>
                    </a:cubicBezTo>
                    <a:cubicBezTo>
                      <a:pt x="187" y="74"/>
                      <a:pt x="187" y="74"/>
                      <a:pt x="187" y="74"/>
                    </a:cubicBezTo>
                    <a:cubicBezTo>
                      <a:pt x="187" y="74"/>
                      <a:pt x="187" y="74"/>
                      <a:pt x="187" y="74"/>
                    </a:cubicBezTo>
                    <a:cubicBezTo>
                      <a:pt x="187" y="74"/>
                      <a:pt x="187" y="74"/>
                      <a:pt x="187" y="74"/>
                    </a:cubicBezTo>
                    <a:cubicBezTo>
                      <a:pt x="187" y="73"/>
                      <a:pt x="187" y="73"/>
                      <a:pt x="187" y="73"/>
                    </a:cubicBezTo>
                    <a:cubicBezTo>
                      <a:pt x="187" y="73"/>
                      <a:pt x="187" y="73"/>
                      <a:pt x="187" y="73"/>
                    </a:cubicBezTo>
                    <a:cubicBezTo>
                      <a:pt x="187" y="73"/>
                      <a:pt x="187" y="73"/>
                      <a:pt x="187" y="73"/>
                    </a:cubicBezTo>
                    <a:cubicBezTo>
                      <a:pt x="187" y="73"/>
                      <a:pt x="187" y="73"/>
                      <a:pt x="187" y="73"/>
                    </a:cubicBezTo>
                    <a:cubicBezTo>
                      <a:pt x="187" y="72"/>
                      <a:pt x="187" y="72"/>
                      <a:pt x="187" y="72"/>
                    </a:cubicBezTo>
                    <a:cubicBezTo>
                      <a:pt x="187" y="72"/>
                      <a:pt x="187" y="72"/>
                      <a:pt x="187" y="72"/>
                    </a:cubicBezTo>
                    <a:cubicBezTo>
                      <a:pt x="187" y="72"/>
                      <a:pt x="187" y="72"/>
                      <a:pt x="187" y="72"/>
                    </a:cubicBezTo>
                    <a:cubicBezTo>
                      <a:pt x="187" y="72"/>
                      <a:pt x="187" y="72"/>
                      <a:pt x="187" y="72"/>
                    </a:cubicBezTo>
                    <a:cubicBezTo>
                      <a:pt x="187" y="71"/>
                      <a:pt x="187" y="71"/>
                      <a:pt x="187" y="71"/>
                    </a:cubicBezTo>
                    <a:cubicBezTo>
                      <a:pt x="187" y="71"/>
                      <a:pt x="187" y="71"/>
                      <a:pt x="187" y="71"/>
                    </a:cubicBezTo>
                    <a:cubicBezTo>
                      <a:pt x="187" y="71"/>
                      <a:pt x="187" y="71"/>
                      <a:pt x="187" y="71"/>
                    </a:cubicBezTo>
                    <a:cubicBezTo>
                      <a:pt x="187" y="70"/>
                      <a:pt x="187" y="70"/>
                      <a:pt x="187" y="70"/>
                    </a:cubicBezTo>
                    <a:cubicBezTo>
                      <a:pt x="187" y="70"/>
                      <a:pt x="187" y="70"/>
                      <a:pt x="187" y="70"/>
                    </a:cubicBezTo>
                    <a:cubicBezTo>
                      <a:pt x="187" y="70"/>
                      <a:pt x="187" y="70"/>
                      <a:pt x="187" y="70"/>
                    </a:cubicBezTo>
                    <a:cubicBezTo>
                      <a:pt x="187" y="70"/>
                      <a:pt x="187" y="70"/>
                      <a:pt x="187" y="70"/>
                    </a:cubicBezTo>
                    <a:cubicBezTo>
                      <a:pt x="187" y="69"/>
                      <a:pt x="187" y="69"/>
                      <a:pt x="187" y="69"/>
                    </a:cubicBezTo>
                    <a:cubicBezTo>
                      <a:pt x="187" y="69"/>
                      <a:pt x="187" y="69"/>
                      <a:pt x="187" y="69"/>
                    </a:cubicBezTo>
                    <a:cubicBezTo>
                      <a:pt x="187" y="69"/>
                      <a:pt x="187" y="69"/>
                      <a:pt x="187" y="69"/>
                    </a:cubicBezTo>
                    <a:cubicBezTo>
                      <a:pt x="187" y="69"/>
                      <a:pt x="187" y="69"/>
                      <a:pt x="187" y="69"/>
                    </a:cubicBezTo>
                    <a:cubicBezTo>
                      <a:pt x="187" y="68"/>
                      <a:pt x="187" y="68"/>
                      <a:pt x="187" y="68"/>
                    </a:cubicBezTo>
                    <a:cubicBezTo>
                      <a:pt x="187" y="68"/>
                      <a:pt x="187" y="68"/>
                      <a:pt x="187" y="68"/>
                    </a:cubicBezTo>
                    <a:cubicBezTo>
                      <a:pt x="187" y="68"/>
                      <a:pt x="187" y="68"/>
                      <a:pt x="187" y="68"/>
                    </a:cubicBezTo>
                    <a:cubicBezTo>
                      <a:pt x="187" y="67"/>
                      <a:pt x="187" y="67"/>
                      <a:pt x="187" y="67"/>
                    </a:cubicBezTo>
                    <a:cubicBezTo>
                      <a:pt x="187" y="67"/>
                      <a:pt x="187" y="67"/>
                      <a:pt x="187" y="67"/>
                    </a:cubicBezTo>
                    <a:cubicBezTo>
                      <a:pt x="187" y="67"/>
                      <a:pt x="187" y="67"/>
                      <a:pt x="187" y="67"/>
                    </a:cubicBezTo>
                    <a:cubicBezTo>
                      <a:pt x="187" y="67"/>
                      <a:pt x="187" y="67"/>
                      <a:pt x="187" y="67"/>
                    </a:cubicBezTo>
                    <a:cubicBezTo>
                      <a:pt x="187" y="66"/>
                      <a:pt x="187" y="66"/>
                      <a:pt x="187" y="66"/>
                    </a:cubicBezTo>
                    <a:cubicBezTo>
                      <a:pt x="187" y="66"/>
                      <a:pt x="187" y="66"/>
                      <a:pt x="187" y="66"/>
                    </a:cubicBezTo>
                    <a:cubicBezTo>
                      <a:pt x="187" y="66"/>
                      <a:pt x="187" y="66"/>
                      <a:pt x="187" y="66"/>
                    </a:cubicBezTo>
                    <a:cubicBezTo>
                      <a:pt x="187" y="66"/>
                      <a:pt x="187" y="66"/>
                      <a:pt x="187" y="66"/>
                    </a:cubicBezTo>
                    <a:cubicBezTo>
                      <a:pt x="187" y="65"/>
                      <a:pt x="187" y="65"/>
                      <a:pt x="187" y="65"/>
                    </a:cubicBezTo>
                    <a:cubicBezTo>
                      <a:pt x="187" y="65"/>
                      <a:pt x="187" y="65"/>
                      <a:pt x="187" y="65"/>
                    </a:cubicBezTo>
                    <a:cubicBezTo>
                      <a:pt x="187" y="65"/>
                      <a:pt x="187" y="65"/>
                      <a:pt x="187" y="65"/>
                    </a:cubicBezTo>
                    <a:cubicBezTo>
                      <a:pt x="187" y="64"/>
                      <a:pt x="187" y="64"/>
                      <a:pt x="187" y="64"/>
                    </a:cubicBezTo>
                    <a:cubicBezTo>
                      <a:pt x="187" y="64"/>
                      <a:pt x="187" y="64"/>
                      <a:pt x="187" y="64"/>
                    </a:cubicBezTo>
                    <a:cubicBezTo>
                      <a:pt x="187" y="64"/>
                      <a:pt x="187" y="64"/>
                      <a:pt x="187" y="64"/>
                    </a:cubicBezTo>
                    <a:cubicBezTo>
                      <a:pt x="187" y="64"/>
                      <a:pt x="187" y="64"/>
                      <a:pt x="187" y="64"/>
                    </a:cubicBezTo>
                    <a:cubicBezTo>
                      <a:pt x="187" y="63"/>
                      <a:pt x="187" y="63"/>
                      <a:pt x="187" y="63"/>
                    </a:cubicBezTo>
                    <a:cubicBezTo>
                      <a:pt x="187" y="63"/>
                      <a:pt x="187" y="63"/>
                      <a:pt x="187" y="63"/>
                    </a:cubicBezTo>
                    <a:cubicBezTo>
                      <a:pt x="187" y="63"/>
                      <a:pt x="187" y="63"/>
                      <a:pt x="187" y="63"/>
                    </a:cubicBezTo>
                    <a:cubicBezTo>
                      <a:pt x="187" y="63"/>
                      <a:pt x="187" y="63"/>
                      <a:pt x="187" y="63"/>
                    </a:cubicBezTo>
                    <a:cubicBezTo>
                      <a:pt x="187" y="62"/>
                      <a:pt x="187" y="62"/>
                      <a:pt x="187" y="62"/>
                    </a:cubicBezTo>
                    <a:cubicBezTo>
                      <a:pt x="187" y="62"/>
                      <a:pt x="187" y="62"/>
                      <a:pt x="187" y="62"/>
                    </a:cubicBezTo>
                    <a:cubicBezTo>
                      <a:pt x="187" y="62"/>
                      <a:pt x="187" y="62"/>
                      <a:pt x="187" y="62"/>
                    </a:cubicBezTo>
                    <a:cubicBezTo>
                      <a:pt x="187" y="62"/>
                      <a:pt x="187" y="62"/>
                      <a:pt x="187" y="62"/>
                    </a:cubicBezTo>
                    <a:cubicBezTo>
                      <a:pt x="187" y="61"/>
                      <a:pt x="187" y="61"/>
                      <a:pt x="187" y="61"/>
                    </a:cubicBezTo>
                    <a:cubicBezTo>
                      <a:pt x="187" y="61"/>
                      <a:pt x="187" y="61"/>
                      <a:pt x="187" y="61"/>
                    </a:cubicBezTo>
                    <a:cubicBezTo>
                      <a:pt x="187" y="61"/>
                      <a:pt x="187" y="61"/>
                      <a:pt x="187" y="61"/>
                    </a:cubicBezTo>
                    <a:cubicBezTo>
                      <a:pt x="187" y="60"/>
                      <a:pt x="187" y="60"/>
                      <a:pt x="187" y="60"/>
                    </a:cubicBezTo>
                    <a:cubicBezTo>
                      <a:pt x="187" y="60"/>
                      <a:pt x="187" y="60"/>
                      <a:pt x="187" y="60"/>
                    </a:cubicBezTo>
                    <a:cubicBezTo>
                      <a:pt x="187" y="60"/>
                      <a:pt x="187" y="60"/>
                      <a:pt x="187" y="60"/>
                    </a:cubicBezTo>
                    <a:cubicBezTo>
                      <a:pt x="187" y="60"/>
                      <a:pt x="187" y="60"/>
                      <a:pt x="187" y="60"/>
                    </a:cubicBezTo>
                    <a:cubicBezTo>
                      <a:pt x="187" y="59"/>
                      <a:pt x="187" y="59"/>
                      <a:pt x="187" y="59"/>
                    </a:cubicBezTo>
                    <a:cubicBezTo>
                      <a:pt x="187" y="59"/>
                      <a:pt x="187" y="59"/>
                      <a:pt x="187" y="59"/>
                    </a:cubicBezTo>
                    <a:cubicBezTo>
                      <a:pt x="187" y="59"/>
                      <a:pt x="187" y="59"/>
                      <a:pt x="187" y="59"/>
                    </a:cubicBezTo>
                    <a:cubicBezTo>
                      <a:pt x="187" y="59"/>
                      <a:pt x="187" y="59"/>
                      <a:pt x="187" y="59"/>
                    </a:cubicBezTo>
                    <a:cubicBezTo>
                      <a:pt x="187" y="58"/>
                      <a:pt x="187" y="58"/>
                      <a:pt x="187" y="58"/>
                    </a:cubicBezTo>
                    <a:cubicBezTo>
                      <a:pt x="187" y="58"/>
                      <a:pt x="187" y="58"/>
                      <a:pt x="187" y="58"/>
                    </a:cubicBezTo>
                    <a:cubicBezTo>
                      <a:pt x="187" y="58"/>
                      <a:pt x="187" y="58"/>
                      <a:pt x="187" y="58"/>
                    </a:cubicBezTo>
                    <a:cubicBezTo>
                      <a:pt x="187" y="57"/>
                      <a:pt x="187" y="57"/>
                      <a:pt x="187" y="57"/>
                    </a:cubicBezTo>
                    <a:cubicBezTo>
                      <a:pt x="187" y="57"/>
                      <a:pt x="187" y="57"/>
                      <a:pt x="187" y="57"/>
                    </a:cubicBezTo>
                    <a:cubicBezTo>
                      <a:pt x="187" y="57"/>
                      <a:pt x="187" y="57"/>
                      <a:pt x="187" y="57"/>
                    </a:cubicBezTo>
                    <a:cubicBezTo>
                      <a:pt x="187" y="57"/>
                      <a:pt x="187" y="57"/>
                      <a:pt x="187" y="57"/>
                    </a:cubicBezTo>
                    <a:cubicBezTo>
                      <a:pt x="187" y="56"/>
                      <a:pt x="187" y="56"/>
                      <a:pt x="187" y="56"/>
                    </a:cubicBezTo>
                    <a:cubicBezTo>
                      <a:pt x="187" y="56"/>
                      <a:pt x="187" y="56"/>
                      <a:pt x="187" y="56"/>
                    </a:cubicBezTo>
                    <a:cubicBezTo>
                      <a:pt x="187" y="56"/>
                      <a:pt x="187" y="56"/>
                      <a:pt x="187" y="56"/>
                    </a:cubicBezTo>
                    <a:cubicBezTo>
                      <a:pt x="187" y="56"/>
                      <a:pt x="187" y="56"/>
                      <a:pt x="187" y="56"/>
                    </a:cubicBezTo>
                    <a:cubicBezTo>
                      <a:pt x="187" y="55"/>
                      <a:pt x="187" y="55"/>
                      <a:pt x="187" y="55"/>
                    </a:cubicBezTo>
                    <a:cubicBezTo>
                      <a:pt x="187" y="55"/>
                      <a:pt x="187" y="55"/>
                      <a:pt x="187" y="55"/>
                    </a:cubicBezTo>
                    <a:cubicBezTo>
                      <a:pt x="187" y="55"/>
                      <a:pt x="187" y="55"/>
                      <a:pt x="187" y="55"/>
                    </a:cubicBezTo>
                    <a:cubicBezTo>
                      <a:pt x="187" y="55"/>
                      <a:pt x="187" y="55"/>
                      <a:pt x="187" y="55"/>
                    </a:cubicBezTo>
                    <a:cubicBezTo>
                      <a:pt x="187" y="54"/>
                      <a:pt x="187" y="54"/>
                      <a:pt x="187" y="54"/>
                    </a:cubicBezTo>
                    <a:cubicBezTo>
                      <a:pt x="187" y="54"/>
                      <a:pt x="187" y="54"/>
                      <a:pt x="187" y="54"/>
                    </a:cubicBezTo>
                    <a:cubicBezTo>
                      <a:pt x="187" y="54"/>
                      <a:pt x="187" y="54"/>
                      <a:pt x="187" y="54"/>
                    </a:cubicBezTo>
                    <a:cubicBezTo>
                      <a:pt x="187" y="53"/>
                      <a:pt x="187" y="53"/>
                      <a:pt x="187" y="53"/>
                    </a:cubicBezTo>
                    <a:cubicBezTo>
                      <a:pt x="187" y="53"/>
                      <a:pt x="187" y="53"/>
                      <a:pt x="187" y="53"/>
                    </a:cubicBezTo>
                    <a:cubicBezTo>
                      <a:pt x="187" y="53"/>
                      <a:pt x="187" y="53"/>
                      <a:pt x="187" y="53"/>
                    </a:cubicBezTo>
                    <a:cubicBezTo>
                      <a:pt x="187" y="53"/>
                      <a:pt x="187" y="53"/>
                      <a:pt x="187" y="53"/>
                    </a:cubicBezTo>
                    <a:cubicBezTo>
                      <a:pt x="187" y="52"/>
                      <a:pt x="187" y="52"/>
                      <a:pt x="187" y="52"/>
                    </a:cubicBezTo>
                    <a:close/>
                  </a:path>
                </a:pathLst>
              </a:custGeom>
              <a:solidFill>
                <a:srgbClr val="5893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3" name="Freeform 1434"/>
              <p:cNvSpPr>
                <a:spLocks/>
              </p:cNvSpPr>
              <p:nvPr/>
            </p:nvSpPr>
            <p:spPr bwMode="auto">
              <a:xfrm>
                <a:off x="6286501" y="13209588"/>
                <a:ext cx="450850" cy="238125"/>
              </a:xfrm>
              <a:custGeom>
                <a:avLst/>
                <a:gdLst>
                  <a:gd name="T0" fmla="*/ 191 w 216"/>
                  <a:gd name="T1" fmla="*/ 73 h 114"/>
                  <a:gd name="T2" fmla="*/ 26 w 216"/>
                  <a:gd name="T3" fmla="*/ 79 h 114"/>
                  <a:gd name="T4" fmla="*/ 48 w 216"/>
                  <a:gd name="T5" fmla="*/ 15 h 114"/>
                  <a:gd name="T6" fmla="*/ 146 w 216"/>
                  <a:gd name="T7" fmla="*/ 8 h 114"/>
                  <a:gd name="T8" fmla="*/ 191 w 216"/>
                  <a:gd name="T9" fmla="*/ 73 h 114"/>
                </a:gdLst>
                <a:ahLst/>
                <a:cxnLst>
                  <a:cxn ang="0">
                    <a:pos x="T0" y="T1"/>
                  </a:cxn>
                  <a:cxn ang="0">
                    <a:pos x="T2" y="T3"/>
                  </a:cxn>
                  <a:cxn ang="0">
                    <a:pos x="T4" y="T5"/>
                  </a:cxn>
                  <a:cxn ang="0">
                    <a:pos x="T6" y="T7"/>
                  </a:cxn>
                  <a:cxn ang="0">
                    <a:pos x="T8" y="T9"/>
                  </a:cxn>
                </a:cxnLst>
                <a:rect l="0" t="0" r="r" b="b"/>
                <a:pathLst>
                  <a:path w="216" h="114">
                    <a:moveTo>
                      <a:pt x="191" y="73"/>
                    </a:moveTo>
                    <a:cubicBezTo>
                      <a:pt x="156" y="112"/>
                      <a:pt x="65" y="114"/>
                      <a:pt x="26" y="79"/>
                    </a:cubicBezTo>
                    <a:cubicBezTo>
                      <a:pt x="0" y="56"/>
                      <a:pt x="16" y="29"/>
                      <a:pt x="48" y="15"/>
                    </a:cubicBezTo>
                    <a:cubicBezTo>
                      <a:pt x="75" y="4"/>
                      <a:pt x="114" y="0"/>
                      <a:pt x="146" y="8"/>
                    </a:cubicBezTo>
                    <a:cubicBezTo>
                      <a:pt x="187" y="17"/>
                      <a:pt x="216" y="45"/>
                      <a:pt x="191" y="73"/>
                    </a:cubicBezTo>
                    <a:close/>
                  </a:path>
                </a:pathLst>
              </a:custGeom>
              <a:solidFill>
                <a:srgbClr val="76A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4" name="Freeform 1435"/>
              <p:cNvSpPr>
                <a:spLocks/>
              </p:cNvSpPr>
              <p:nvPr/>
            </p:nvSpPr>
            <p:spPr bwMode="auto">
              <a:xfrm>
                <a:off x="6392863" y="13242926"/>
                <a:ext cx="263525" cy="109538"/>
              </a:xfrm>
              <a:custGeom>
                <a:avLst/>
                <a:gdLst>
                  <a:gd name="T0" fmla="*/ 108 w 126"/>
                  <a:gd name="T1" fmla="*/ 51 h 53"/>
                  <a:gd name="T2" fmla="*/ 2 w 126"/>
                  <a:gd name="T3" fmla="*/ 5 h 53"/>
                  <a:gd name="T4" fmla="*/ 3 w 126"/>
                  <a:gd name="T5" fmla="*/ 1 h 53"/>
                  <a:gd name="T6" fmla="*/ 12 w 126"/>
                  <a:gd name="T7" fmla="*/ 1 h 53"/>
                  <a:gd name="T8" fmla="*/ 118 w 126"/>
                  <a:gd name="T9" fmla="*/ 41 h 53"/>
                  <a:gd name="T10" fmla="*/ 124 w 126"/>
                  <a:gd name="T11" fmla="*/ 50 h 53"/>
                  <a:gd name="T12" fmla="*/ 108 w 126"/>
                  <a:gd name="T13" fmla="*/ 51 h 53"/>
                </a:gdLst>
                <a:ahLst/>
                <a:cxnLst>
                  <a:cxn ang="0">
                    <a:pos x="T0" y="T1"/>
                  </a:cxn>
                  <a:cxn ang="0">
                    <a:pos x="T2" y="T3"/>
                  </a:cxn>
                  <a:cxn ang="0">
                    <a:pos x="T4" y="T5"/>
                  </a:cxn>
                  <a:cxn ang="0">
                    <a:pos x="T6" y="T7"/>
                  </a:cxn>
                  <a:cxn ang="0">
                    <a:pos x="T8" y="T9"/>
                  </a:cxn>
                  <a:cxn ang="0">
                    <a:pos x="T10" y="T11"/>
                  </a:cxn>
                  <a:cxn ang="0">
                    <a:pos x="T12" y="T13"/>
                  </a:cxn>
                </a:cxnLst>
                <a:rect l="0" t="0" r="r" b="b"/>
                <a:pathLst>
                  <a:path w="126" h="53">
                    <a:moveTo>
                      <a:pt x="108" y="51"/>
                    </a:moveTo>
                    <a:cubicBezTo>
                      <a:pt x="2" y="5"/>
                      <a:pt x="2" y="5"/>
                      <a:pt x="2" y="5"/>
                    </a:cubicBezTo>
                    <a:cubicBezTo>
                      <a:pt x="0" y="4"/>
                      <a:pt x="0" y="3"/>
                      <a:pt x="3" y="1"/>
                    </a:cubicBezTo>
                    <a:cubicBezTo>
                      <a:pt x="6" y="0"/>
                      <a:pt x="9" y="0"/>
                      <a:pt x="12" y="1"/>
                    </a:cubicBezTo>
                    <a:cubicBezTo>
                      <a:pt x="118" y="41"/>
                      <a:pt x="118" y="41"/>
                      <a:pt x="118" y="41"/>
                    </a:cubicBezTo>
                    <a:cubicBezTo>
                      <a:pt x="124" y="43"/>
                      <a:pt x="126" y="47"/>
                      <a:pt x="124" y="50"/>
                    </a:cubicBezTo>
                    <a:cubicBezTo>
                      <a:pt x="121" y="53"/>
                      <a:pt x="114" y="53"/>
                      <a:pt x="108" y="51"/>
                    </a:cubicBezTo>
                    <a:close/>
                  </a:path>
                </a:pathLst>
              </a:custGeom>
              <a:solidFill>
                <a:srgbClr val="5893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125" name="กลุ่ม 261"/>
            <p:cNvGrpSpPr/>
            <p:nvPr/>
          </p:nvGrpSpPr>
          <p:grpSpPr>
            <a:xfrm>
              <a:off x="4397161" y="5520988"/>
              <a:ext cx="652952" cy="650962"/>
              <a:chOff x="7713664" y="11049000"/>
              <a:chExt cx="520700" cy="519113"/>
            </a:xfrm>
          </p:grpSpPr>
          <p:sp>
            <p:nvSpPr>
              <p:cNvPr id="126" name="Freeform 1378"/>
              <p:cNvSpPr>
                <a:spLocks/>
              </p:cNvSpPr>
              <p:nvPr/>
            </p:nvSpPr>
            <p:spPr bwMode="auto">
              <a:xfrm>
                <a:off x="7713664" y="11049000"/>
                <a:ext cx="520700" cy="519113"/>
              </a:xfrm>
              <a:custGeom>
                <a:avLst/>
                <a:gdLst>
                  <a:gd name="T0" fmla="*/ 225 w 249"/>
                  <a:gd name="T1" fmla="*/ 113 h 249"/>
                  <a:gd name="T2" fmla="*/ 113 w 249"/>
                  <a:gd name="T3" fmla="*/ 225 h 249"/>
                  <a:gd name="T4" fmla="*/ 25 w 249"/>
                  <a:gd name="T5" fmla="*/ 225 h 249"/>
                  <a:gd name="T6" fmla="*/ 25 w 249"/>
                  <a:gd name="T7" fmla="*/ 137 h 249"/>
                  <a:gd name="T8" fmla="*/ 137 w 249"/>
                  <a:gd name="T9" fmla="*/ 25 h 249"/>
                  <a:gd name="T10" fmla="*/ 225 w 249"/>
                  <a:gd name="T11" fmla="*/ 25 h 249"/>
                  <a:gd name="T12" fmla="*/ 225 w 249"/>
                  <a:gd name="T13" fmla="*/ 113 h 249"/>
                </a:gdLst>
                <a:ahLst/>
                <a:cxnLst>
                  <a:cxn ang="0">
                    <a:pos x="T0" y="T1"/>
                  </a:cxn>
                  <a:cxn ang="0">
                    <a:pos x="T2" y="T3"/>
                  </a:cxn>
                  <a:cxn ang="0">
                    <a:pos x="T4" y="T5"/>
                  </a:cxn>
                  <a:cxn ang="0">
                    <a:pos x="T6" y="T7"/>
                  </a:cxn>
                  <a:cxn ang="0">
                    <a:pos x="T8" y="T9"/>
                  </a:cxn>
                  <a:cxn ang="0">
                    <a:pos x="T10" y="T11"/>
                  </a:cxn>
                  <a:cxn ang="0">
                    <a:pos x="T12" y="T13"/>
                  </a:cxn>
                </a:cxnLst>
                <a:rect l="0" t="0" r="r" b="b"/>
                <a:pathLst>
                  <a:path w="249" h="249">
                    <a:moveTo>
                      <a:pt x="225" y="113"/>
                    </a:moveTo>
                    <a:cubicBezTo>
                      <a:pt x="113" y="225"/>
                      <a:pt x="113" y="225"/>
                      <a:pt x="113" y="225"/>
                    </a:cubicBezTo>
                    <a:cubicBezTo>
                      <a:pt x="89" y="249"/>
                      <a:pt x="49" y="249"/>
                      <a:pt x="25" y="225"/>
                    </a:cubicBezTo>
                    <a:cubicBezTo>
                      <a:pt x="0" y="201"/>
                      <a:pt x="0" y="161"/>
                      <a:pt x="25" y="137"/>
                    </a:cubicBezTo>
                    <a:cubicBezTo>
                      <a:pt x="137" y="25"/>
                      <a:pt x="137" y="25"/>
                      <a:pt x="137" y="25"/>
                    </a:cubicBezTo>
                    <a:cubicBezTo>
                      <a:pt x="161" y="0"/>
                      <a:pt x="201" y="0"/>
                      <a:pt x="225" y="25"/>
                    </a:cubicBezTo>
                    <a:cubicBezTo>
                      <a:pt x="249" y="49"/>
                      <a:pt x="249" y="89"/>
                      <a:pt x="225" y="1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7" name="Freeform 1379"/>
              <p:cNvSpPr>
                <a:spLocks/>
              </p:cNvSpPr>
              <p:nvPr/>
            </p:nvSpPr>
            <p:spPr bwMode="auto">
              <a:xfrm>
                <a:off x="7713664" y="11222038"/>
                <a:ext cx="349250" cy="346075"/>
              </a:xfrm>
              <a:custGeom>
                <a:avLst/>
                <a:gdLst>
                  <a:gd name="T0" fmla="*/ 25 w 167"/>
                  <a:gd name="T1" fmla="*/ 142 h 166"/>
                  <a:gd name="T2" fmla="*/ 113 w 167"/>
                  <a:gd name="T3" fmla="*/ 142 h 166"/>
                  <a:gd name="T4" fmla="*/ 167 w 167"/>
                  <a:gd name="T5" fmla="*/ 88 h 166"/>
                  <a:gd name="T6" fmla="*/ 130 w 167"/>
                  <a:gd name="T7" fmla="*/ 37 h 166"/>
                  <a:gd name="T8" fmla="*/ 78 w 167"/>
                  <a:gd name="T9" fmla="*/ 0 h 166"/>
                  <a:gd name="T10" fmla="*/ 25 w 167"/>
                  <a:gd name="T11" fmla="*/ 54 h 166"/>
                  <a:gd name="T12" fmla="*/ 25 w 167"/>
                  <a:gd name="T13" fmla="*/ 142 h 166"/>
                </a:gdLst>
                <a:ahLst/>
                <a:cxnLst>
                  <a:cxn ang="0">
                    <a:pos x="T0" y="T1"/>
                  </a:cxn>
                  <a:cxn ang="0">
                    <a:pos x="T2" y="T3"/>
                  </a:cxn>
                  <a:cxn ang="0">
                    <a:pos x="T4" y="T5"/>
                  </a:cxn>
                  <a:cxn ang="0">
                    <a:pos x="T6" y="T7"/>
                  </a:cxn>
                  <a:cxn ang="0">
                    <a:pos x="T8" y="T9"/>
                  </a:cxn>
                  <a:cxn ang="0">
                    <a:pos x="T10" y="T11"/>
                  </a:cxn>
                  <a:cxn ang="0">
                    <a:pos x="T12" y="T13"/>
                  </a:cxn>
                </a:cxnLst>
                <a:rect l="0" t="0" r="r" b="b"/>
                <a:pathLst>
                  <a:path w="167" h="166">
                    <a:moveTo>
                      <a:pt x="25" y="142"/>
                    </a:moveTo>
                    <a:cubicBezTo>
                      <a:pt x="49" y="166"/>
                      <a:pt x="89" y="166"/>
                      <a:pt x="113" y="142"/>
                    </a:cubicBezTo>
                    <a:cubicBezTo>
                      <a:pt x="167" y="88"/>
                      <a:pt x="167" y="88"/>
                      <a:pt x="167" y="88"/>
                    </a:cubicBezTo>
                    <a:cubicBezTo>
                      <a:pt x="157" y="69"/>
                      <a:pt x="145" y="52"/>
                      <a:pt x="130" y="37"/>
                    </a:cubicBezTo>
                    <a:cubicBezTo>
                      <a:pt x="115" y="22"/>
                      <a:pt x="97" y="9"/>
                      <a:pt x="78" y="0"/>
                    </a:cubicBezTo>
                    <a:cubicBezTo>
                      <a:pt x="25" y="54"/>
                      <a:pt x="25" y="54"/>
                      <a:pt x="25" y="54"/>
                    </a:cubicBezTo>
                    <a:cubicBezTo>
                      <a:pt x="0" y="78"/>
                      <a:pt x="0" y="118"/>
                      <a:pt x="25" y="142"/>
                    </a:cubicBezTo>
                  </a:path>
                </a:pathLst>
              </a:custGeom>
              <a:solidFill>
                <a:srgbClr val="F161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8" name="Freeform 1380"/>
              <p:cNvSpPr>
                <a:spLocks noEditPoints="1"/>
              </p:cNvSpPr>
              <p:nvPr/>
            </p:nvSpPr>
            <p:spPr bwMode="auto">
              <a:xfrm>
                <a:off x="8183564" y="11282363"/>
                <a:ext cx="3175" cy="1588"/>
              </a:xfrm>
              <a:custGeom>
                <a:avLst/>
                <a:gdLst>
                  <a:gd name="T0" fmla="*/ 0 w 1"/>
                  <a:gd name="T1" fmla="*/ 1 h 1"/>
                  <a:gd name="T2" fmla="*/ 0 w 1"/>
                  <a:gd name="T3" fmla="*/ 1 h 1"/>
                  <a:gd name="T4" fmla="*/ 0 w 1"/>
                  <a:gd name="T5" fmla="*/ 1 h 1"/>
                  <a:gd name="T6" fmla="*/ 0 w 1"/>
                  <a:gd name="T7" fmla="*/ 1 h 1"/>
                  <a:gd name="T8" fmla="*/ 0 w 1"/>
                  <a:gd name="T9" fmla="*/ 1 h 1"/>
                  <a:gd name="T10" fmla="*/ 0 w 1"/>
                  <a:gd name="T11" fmla="*/ 1 h 1"/>
                  <a:gd name="T12" fmla="*/ 0 w 1"/>
                  <a:gd name="T13" fmla="*/ 1 h 1"/>
                  <a:gd name="T14" fmla="*/ 0 w 1"/>
                  <a:gd name="T15" fmla="*/ 1 h 1"/>
                  <a:gd name="T16" fmla="*/ 0 w 1"/>
                  <a:gd name="T17" fmla="*/ 1 h 1"/>
                  <a:gd name="T18" fmla="*/ 1 w 1"/>
                  <a:gd name="T19" fmla="*/ 1 h 1"/>
                  <a:gd name="T20" fmla="*/ 0 w 1"/>
                  <a:gd name="T21" fmla="*/ 1 h 1"/>
                  <a:gd name="T22" fmla="*/ 1 w 1"/>
                  <a:gd name="T23" fmla="*/ 1 h 1"/>
                  <a:gd name="T24" fmla="*/ 1 w 1"/>
                  <a:gd name="T25" fmla="*/ 1 h 1"/>
                  <a:gd name="T26" fmla="*/ 1 w 1"/>
                  <a:gd name="T27" fmla="*/ 1 h 1"/>
                  <a:gd name="T28" fmla="*/ 1 w 1"/>
                  <a:gd name="T29" fmla="*/ 1 h 1"/>
                  <a:gd name="T30" fmla="*/ 1 w 1"/>
                  <a:gd name="T31" fmla="*/ 0 h 1"/>
                  <a:gd name="T32" fmla="*/ 1 w 1"/>
                  <a:gd name="T33" fmla="*/ 0 h 1"/>
                  <a:gd name="T34" fmla="*/ 1 w 1"/>
                  <a:gd name="T35" fmla="*/ 0 h 1"/>
                  <a:gd name="T36" fmla="*/ 1 w 1"/>
                  <a:gd name="T37" fmla="*/ 0 h 1"/>
                  <a:gd name="T38" fmla="*/ 1 w 1"/>
                  <a:gd name="T39" fmla="*/ 0 h 1"/>
                  <a:gd name="T40" fmla="*/ 1 w 1"/>
                  <a:gd name="T41" fmla="*/ 0 h 1"/>
                  <a:gd name="T42" fmla="*/ 1 w 1"/>
                  <a:gd name="T43" fmla="*/ 0 h 1"/>
                  <a:gd name="T44" fmla="*/ 1 w 1"/>
                  <a:gd name="T45" fmla="*/ 0 h 1"/>
                  <a:gd name="T46" fmla="*/ 1 w 1"/>
                  <a:gd name="T4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 h="1">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1" y="1"/>
                    </a:moveTo>
                    <a:cubicBezTo>
                      <a:pt x="0" y="1"/>
                      <a:pt x="0" y="1"/>
                      <a:pt x="0" y="1"/>
                    </a:cubicBezTo>
                    <a:cubicBezTo>
                      <a:pt x="0" y="1"/>
                      <a:pt x="0" y="1"/>
                      <a:pt x="1" y="1"/>
                    </a:cubicBezTo>
                    <a:moveTo>
                      <a:pt x="1" y="1"/>
                    </a:moveTo>
                    <a:cubicBezTo>
                      <a:pt x="1" y="1"/>
                      <a:pt x="1" y="1"/>
                      <a:pt x="1" y="1"/>
                    </a:cubicBezTo>
                    <a:cubicBezTo>
                      <a:pt x="1" y="1"/>
                      <a:pt x="1" y="1"/>
                      <a:pt x="1" y="1"/>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BDB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9" name="Freeform 1381"/>
              <p:cNvSpPr>
                <a:spLocks noEditPoints="1"/>
              </p:cNvSpPr>
              <p:nvPr/>
            </p:nvSpPr>
            <p:spPr bwMode="auto">
              <a:xfrm>
                <a:off x="7764464" y="11163300"/>
                <a:ext cx="463550" cy="355600"/>
              </a:xfrm>
              <a:custGeom>
                <a:avLst/>
                <a:gdLst>
                  <a:gd name="T0" fmla="*/ 0 w 222"/>
                  <a:gd name="T1" fmla="*/ 170 h 170"/>
                  <a:gd name="T2" fmla="*/ 0 w 222"/>
                  <a:gd name="T3" fmla="*/ 170 h 170"/>
                  <a:gd name="T4" fmla="*/ 0 w 222"/>
                  <a:gd name="T5" fmla="*/ 170 h 170"/>
                  <a:gd name="T6" fmla="*/ 0 w 222"/>
                  <a:gd name="T7" fmla="*/ 170 h 170"/>
                  <a:gd name="T8" fmla="*/ 0 w 222"/>
                  <a:gd name="T9" fmla="*/ 170 h 170"/>
                  <a:gd name="T10" fmla="*/ 0 w 222"/>
                  <a:gd name="T11" fmla="*/ 170 h 170"/>
                  <a:gd name="T12" fmla="*/ 0 w 222"/>
                  <a:gd name="T13" fmla="*/ 169 h 170"/>
                  <a:gd name="T14" fmla="*/ 0 w 222"/>
                  <a:gd name="T15" fmla="*/ 170 h 170"/>
                  <a:gd name="T16" fmla="*/ 0 w 222"/>
                  <a:gd name="T17" fmla="*/ 169 h 170"/>
                  <a:gd name="T18" fmla="*/ 217 w 222"/>
                  <a:gd name="T19" fmla="*/ 0 h 170"/>
                  <a:gd name="T20" fmla="*/ 201 w 222"/>
                  <a:gd name="T21" fmla="*/ 30 h 170"/>
                  <a:gd name="T22" fmla="*/ 132 w 222"/>
                  <a:gd name="T23" fmla="*/ 98 h 170"/>
                  <a:gd name="T24" fmla="*/ 143 w 222"/>
                  <a:gd name="T25" fmla="*/ 116 h 170"/>
                  <a:gd name="T26" fmla="*/ 89 w 222"/>
                  <a:gd name="T27" fmla="*/ 170 h 170"/>
                  <a:gd name="T28" fmla="*/ 201 w 222"/>
                  <a:gd name="T29" fmla="*/ 58 h 170"/>
                  <a:gd name="T30" fmla="*/ 201 w 222"/>
                  <a:gd name="T31" fmla="*/ 58 h 170"/>
                  <a:gd name="T32" fmla="*/ 201 w 222"/>
                  <a:gd name="T33" fmla="*/ 58 h 170"/>
                  <a:gd name="T34" fmla="*/ 201 w 222"/>
                  <a:gd name="T35" fmla="*/ 58 h 170"/>
                  <a:gd name="T36" fmla="*/ 201 w 222"/>
                  <a:gd name="T37" fmla="*/ 58 h 170"/>
                  <a:gd name="T38" fmla="*/ 201 w 222"/>
                  <a:gd name="T39" fmla="*/ 58 h 170"/>
                  <a:gd name="T40" fmla="*/ 201 w 222"/>
                  <a:gd name="T41" fmla="*/ 58 h 170"/>
                  <a:gd name="T42" fmla="*/ 201 w 222"/>
                  <a:gd name="T43" fmla="*/ 58 h 170"/>
                  <a:gd name="T44" fmla="*/ 202 w 222"/>
                  <a:gd name="T45" fmla="*/ 58 h 170"/>
                  <a:gd name="T46" fmla="*/ 202 w 222"/>
                  <a:gd name="T47" fmla="*/ 58 h 170"/>
                  <a:gd name="T48" fmla="*/ 202 w 222"/>
                  <a:gd name="T49" fmla="*/ 58 h 170"/>
                  <a:gd name="T50" fmla="*/ 202 w 222"/>
                  <a:gd name="T51" fmla="*/ 57 h 170"/>
                  <a:gd name="T52" fmla="*/ 202 w 222"/>
                  <a:gd name="T53" fmla="*/ 57 h 170"/>
                  <a:gd name="T54" fmla="*/ 202 w 222"/>
                  <a:gd name="T55" fmla="*/ 57 h 170"/>
                  <a:gd name="T56" fmla="*/ 202 w 222"/>
                  <a:gd name="T57" fmla="*/ 57 h 170"/>
                  <a:gd name="T58" fmla="*/ 202 w 222"/>
                  <a:gd name="T59" fmla="*/ 57 h 170"/>
                  <a:gd name="T60" fmla="*/ 202 w 222"/>
                  <a:gd name="T61" fmla="*/ 57 h 170"/>
                  <a:gd name="T62" fmla="*/ 217 w 222"/>
                  <a:gd name="T6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2" h="170">
                    <a:moveTo>
                      <a:pt x="0" y="170"/>
                    </a:moveTo>
                    <a:cubicBezTo>
                      <a:pt x="0" y="170"/>
                      <a:pt x="0" y="170"/>
                      <a:pt x="0" y="170"/>
                    </a:cubicBezTo>
                    <a:cubicBezTo>
                      <a:pt x="0" y="170"/>
                      <a:pt x="0" y="170"/>
                      <a:pt x="0" y="170"/>
                    </a:cubicBezTo>
                    <a:moveTo>
                      <a:pt x="0" y="170"/>
                    </a:moveTo>
                    <a:cubicBezTo>
                      <a:pt x="0" y="170"/>
                      <a:pt x="0" y="170"/>
                      <a:pt x="0" y="170"/>
                    </a:cubicBezTo>
                    <a:cubicBezTo>
                      <a:pt x="0" y="170"/>
                      <a:pt x="0" y="170"/>
                      <a:pt x="0" y="170"/>
                    </a:cubicBezTo>
                    <a:moveTo>
                      <a:pt x="0" y="169"/>
                    </a:moveTo>
                    <a:cubicBezTo>
                      <a:pt x="0" y="170"/>
                      <a:pt x="0" y="170"/>
                      <a:pt x="0" y="170"/>
                    </a:cubicBezTo>
                    <a:cubicBezTo>
                      <a:pt x="0" y="170"/>
                      <a:pt x="0" y="170"/>
                      <a:pt x="0" y="169"/>
                    </a:cubicBezTo>
                    <a:moveTo>
                      <a:pt x="217" y="0"/>
                    </a:moveTo>
                    <a:cubicBezTo>
                      <a:pt x="215" y="11"/>
                      <a:pt x="209" y="21"/>
                      <a:pt x="201" y="30"/>
                    </a:cubicBezTo>
                    <a:cubicBezTo>
                      <a:pt x="132" y="98"/>
                      <a:pt x="132" y="98"/>
                      <a:pt x="132" y="98"/>
                    </a:cubicBezTo>
                    <a:cubicBezTo>
                      <a:pt x="136" y="104"/>
                      <a:pt x="140" y="110"/>
                      <a:pt x="143" y="116"/>
                    </a:cubicBezTo>
                    <a:cubicBezTo>
                      <a:pt x="89" y="170"/>
                      <a:pt x="89" y="170"/>
                      <a:pt x="89" y="170"/>
                    </a:cubicBezTo>
                    <a:cubicBezTo>
                      <a:pt x="201" y="58"/>
                      <a:pt x="201" y="58"/>
                      <a:pt x="201" y="58"/>
                    </a:cubicBezTo>
                    <a:cubicBezTo>
                      <a:pt x="201" y="58"/>
                      <a:pt x="201" y="58"/>
                      <a:pt x="201" y="58"/>
                    </a:cubicBezTo>
                    <a:cubicBezTo>
                      <a:pt x="201" y="58"/>
                      <a:pt x="201" y="58"/>
                      <a:pt x="201" y="58"/>
                    </a:cubicBezTo>
                    <a:cubicBezTo>
                      <a:pt x="201" y="58"/>
                      <a:pt x="201" y="58"/>
                      <a:pt x="201" y="58"/>
                    </a:cubicBezTo>
                    <a:cubicBezTo>
                      <a:pt x="201" y="58"/>
                      <a:pt x="201" y="58"/>
                      <a:pt x="201" y="58"/>
                    </a:cubicBezTo>
                    <a:cubicBezTo>
                      <a:pt x="201" y="58"/>
                      <a:pt x="201" y="58"/>
                      <a:pt x="201" y="58"/>
                    </a:cubicBezTo>
                    <a:cubicBezTo>
                      <a:pt x="201" y="58"/>
                      <a:pt x="201" y="58"/>
                      <a:pt x="201" y="58"/>
                    </a:cubicBezTo>
                    <a:cubicBezTo>
                      <a:pt x="201" y="58"/>
                      <a:pt x="201" y="58"/>
                      <a:pt x="201" y="58"/>
                    </a:cubicBezTo>
                    <a:cubicBezTo>
                      <a:pt x="201" y="58"/>
                      <a:pt x="201" y="58"/>
                      <a:pt x="202" y="58"/>
                    </a:cubicBezTo>
                    <a:cubicBezTo>
                      <a:pt x="202" y="58"/>
                      <a:pt x="202" y="58"/>
                      <a:pt x="202" y="58"/>
                    </a:cubicBezTo>
                    <a:cubicBezTo>
                      <a:pt x="202" y="58"/>
                      <a:pt x="202" y="58"/>
                      <a:pt x="202" y="58"/>
                    </a:cubicBezTo>
                    <a:cubicBezTo>
                      <a:pt x="202" y="58"/>
                      <a:pt x="202" y="58"/>
                      <a:pt x="202" y="57"/>
                    </a:cubicBezTo>
                    <a:cubicBezTo>
                      <a:pt x="202" y="57"/>
                      <a:pt x="202" y="57"/>
                      <a:pt x="202" y="57"/>
                    </a:cubicBezTo>
                    <a:cubicBezTo>
                      <a:pt x="202" y="57"/>
                      <a:pt x="202" y="57"/>
                      <a:pt x="202" y="57"/>
                    </a:cubicBezTo>
                    <a:cubicBezTo>
                      <a:pt x="202" y="57"/>
                      <a:pt x="202" y="57"/>
                      <a:pt x="202" y="57"/>
                    </a:cubicBezTo>
                    <a:cubicBezTo>
                      <a:pt x="202" y="57"/>
                      <a:pt x="202" y="57"/>
                      <a:pt x="202" y="57"/>
                    </a:cubicBezTo>
                    <a:cubicBezTo>
                      <a:pt x="202" y="57"/>
                      <a:pt x="202" y="57"/>
                      <a:pt x="202" y="57"/>
                    </a:cubicBezTo>
                    <a:cubicBezTo>
                      <a:pt x="217" y="41"/>
                      <a:pt x="222" y="20"/>
                      <a:pt x="217" y="0"/>
                    </a:cubicBezTo>
                  </a:path>
                </a:pathLst>
              </a:custGeom>
              <a:solidFill>
                <a:srgbClr val="BDB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0" name="Freeform 1382"/>
              <p:cNvSpPr>
                <a:spLocks/>
              </p:cNvSpPr>
              <p:nvPr/>
            </p:nvSpPr>
            <p:spPr bwMode="auto">
              <a:xfrm>
                <a:off x="7764464" y="115189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BDB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1" name="Oval 1383"/>
              <p:cNvSpPr>
                <a:spLocks noChangeArrowheads="1"/>
              </p:cNvSpPr>
              <p:nvPr/>
            </p:nvSpPr>
            <p:spPr bwMode="auto">
              <a:xfrm>
                <a:off x="7764464" y="11518900"/>
                <a:ext cx="1588" cy="1588"/>
              </a:xfrm>
              <a:prstGeom prst="ellipse">
                <a:avLst/>
              </a:prstGeom>
              <a:solidFill>
                <a:srgbClr val="BDB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2" name="Freeform 1384"/>
              <p:cNvSpPr>
                <a:spLocks/>
              </p:cNvSpPr>
              <p:nvPr/>
            </p:nvSpPr>
            <p:spPr bwMode="auto">
              <a:xfrm>
                <a:off x="7764464" y="11518900"/>
                <a:ext cx="1588"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path>
                </a:pathLst>
              </a:custGeom>
              <a:solidFill>
                <a:srgbClr val="BDB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3" name="Freeform 1385"/>
              <p:cNvSpPr>
                <a:spLocks/>
              </p:cNvSpPr>
              <p:nvPr/>
            </p:nvSpPr>
            <p:spPr bwMode="auto">
              <a:xfrm>
                <a:off x="7764464" y="11518900"/>
                <a:ext cx="1588" cy="0"/>
              </a:xfrm>
              <a:custGeom>
                <a:avLst/>
                <a:gdLst>
                  <a:gd name="T0" fmla="*/ 0 w 1"/>
                  <a:gd name="T1" fmla="*/ 0 w 1"/>
                  <a:gd name="T2" fmla="*/ 1 w 1"/>
                  <a:gd name="T3" fmla="*/ 1 w 1"/>
                  <a:gd name="T4" fmla="*/ 0 w 1"/>
                </a:gdLst>
                <a:ahLst/>
                <a:cxnLst>
                  <a:cxn ang="0">
                    <a:pos x="T0" y="0"/>
                  </a:cxn>
                  <a:cxn ang="0">
                    <a:pos x="T1" y="0"/>
                  </a:cxn>
                  <a:cxn ang="0">
                    <a:pos x="T2" y="0"/>
                  </a:cxn>
                  <a:cxn ang="0">
                    <a:pos x="T3" y="0"/>
                  </a:cxn>
                  <a:cxn ang="0">
                    <a:pos x="T4" y="0"/>
                  </a:cxn>
                </a:cxnLst>
                <a:rect l="0" t="0" r="r" b="b"/>
                <a:pathLst>
                  <a:path w="1">
                    <a:moveTo>
                      <a:pt x="0" y="0"/>
                    </a:moveTo>
                    <a:cubicBezTo>
                      <a:pt x="0" y="0"/>
                      <a:pt x="0" y="0"/>
                      <a:pt x="0" y="0"/>
                    </a:cubicBezTo>
                    <a:cubicBezTo>
                      <a:pt x="1" y="0"/>
                      <a:pt x="1" y="0"/>
                      <a:pt x="1" y="0"/>
                    </a:cubicBezTo>
                    <a:cubicBezTo>
                      <a:pt x="1" y="0"/>
                      <a:pt x="1" y="0"/>
                      <a:pt x="1" y="0"/>
                    </a:cubicBezTo>
                    <a:cubicBezTo>
                      <a:pt x="1" y="0"/>
                      <a:pt x="1" y="0"/>
                      <a:pt x="0" y="0"/>
                    </a:cubicBezTo>
                  </a:path>
                </a:pathLst>
              </a:custGeom>
              <a:solidFill>
                <a:srgbClr val="BDB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4" name="Freeform 1386"/>
              <p:cNvSpPr>
                <a:spLocks/>
              </p:cNvSpPr>
              <p:nvPr/>
            </p:nvSpPr>
            <p:spPr bwMode="auto">
              <a:xfrm>
                <a:off x="7720014" y="11368088"/>
                <a:ext cx="342900" cy="187325"/>
              </a:xfrm>
              <a:custGeom>
                <a:avLst/>
                <a:gdLst>
                  <a:gd name="T0" fmla="*/ 153 w 164"/>
                  <a:gd name="T1" fmla="*/ 0 h 90"/>
                  <a:gd name="T2" fmla="*/ 110 w 164"/>
                  <a:gd name="T3" fmla="*/ 44 h 90"/>
                  <a:gd name="T4" fmla="*/ 66 w 164"/>
                  <a:gd name="T5" fmla="*/ 62 h 90"/>
                  <a:gd name="T6" fmla="*/ 22 w 164"/>
                  <a:gd name="T7" fmla="*/ 44 h 90"/>
                  <a:gd name="T8" fmla="*/ 5 w 164"/>
                  <a:gd name="T9" fmla="*/ 14 h 90"/>
                  <a:gd name="T10" fmla="*/ 21 w 164"/>
                  <a:gd name="T11" fmla="*/ 71 h 90"/>
                  <a:gd name="T12" fmla="*/ 21 w 164"/>
                  <a:gd name="T13" fmla="*/ 72 h 90"/>
                  <a:gd name="T14" fmla="*/ 21 w 164"/>
                  <a:gd name="T15" fmla="*/ 72 h 90"/>
                  <a:gd name="T16" fmla="*/ 21 w 164"/>
                  <a:gd name="T17" fmla="*/ 72 h 90"/>
                  <a:gd name="T18" fmla="*/ 21 w 164"/>
                  <a:gd name="T19" fmla="*/ 72 h 90"/>
                  <a:gd name="T20" fmla="*/ 21 w 164"/>
                  <a:gd name="T21" fmla="*/ 72 h 90"/>
                  <a:gd name="T22" fmla="*/ 21 w 164"/>
                  <a:gd name="T23" fmla="*/ 72 h 90"/>
                  <a:gd name="T24" fmla="*/ 21 w 164"/>
                  <a:gd name="T25" fmla="*/ 72 h 90"/>
                  <a:gd name="T26" fmla="*/ 21 w 164"/>
                  <a:gd name="T27" fmla="*/ 72 h 90"/>
                  <a:gd name="T28" fmla="*/ 22 w 164"/>
                  <a:gd name="T29" fmla="*/ 72 h 90"/>
                  <a:gd name="T30" fmla="*/ 22 w 164"/>
                  <a:gd name="T31" fmla="*/ 72 h 90"/>
                  <a:gd name="T32" fmla="*/ 66 w 164"/>
                  <a:gd name="T33" fmla="*/ 90 h 90"/>
                  <a:gd name="T34" fmla="*/ 110 w 164"/>
                  <a:gd name="T35" fmla="*/ 72 h 90"/>
                  <a:gd name="T36" fmla="*/ 110 w 164"/>
                  <a:gd name="T37" fmla="*/ 72 h 90"/>
                  <a:gd name="T38" fmla="*/ 164 w 164"/>
                  <a:gd name="T39" fmla="*/ 18 h 90"/>
                  <a:gd name="T40" fmla="*/ 153 w 164"/>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4" h="90">
                    <a:moveTo>
                      <a:pt x="153" y="0"/>
                    </a:moveTo>
                    <a:cubicBezTo>
                      <a:pt x="110" y="44"/>
                      <a:pt x="110" y="44"/>
                      <a:pt x="110" y="44"/>
                    </a:cubicBezTo>
                    <a:cubicBezTo>
                      <a:pt x="98" y="56"/>
                      <a:pt x="82" y="62"/>
                      <a:pt x="66" y="62"/>
                    </a:cubicBezTo>
                    <a:cubicBezTo>
                      <a:pt x="50" y="62"/>
                      <a:pt x="34" y="56"/>
                      <a:pt x="22" y="44"/>
                    </a:cubicBezTo>
                    <a:cubicBezTo>
                      <a:pt x="13" y="35"/>
                      <a:pt x="8" y="25"/>
                      <a:pt x="5" y="14"/>
                    </a:cubicBezTo>
                    <a:cubicBezTo>
                      <a:pt x="0" y="34"/>
                      <a:pt x="6" y="56"/>
                      <a:pt x="21" y="71"/>
                    </a:cubicBezTo>
                    <a:cubicBezTo>
                      <a:pt x="21" y="72"/>
                      <a:pt x="21" y="72"/>
                      <a:pt x="21" y="72"/>
                    </a:cubicBezTo>
                    <a:cubicBezTo>
                      <a:pt x="21" y="72"/>
                      <a:pt x="21" y="72"/>
                      <a:pt x="21" y="72"/>
                    </a:cubicBezTo>
                    <a:cubicBezTo>
                      <a:pt x="21" y="72"/>
                      <a:pt x="21" y="72"/>
                      <a:pt x="21" y="72"/>
                    </a:cubicBezTo>
                    <a:cubicBezTo>
                      <a:pt x="21" y="72"/>
                      <a:pt x="21" y="72"/>
                      <a:pt x="21" y="72"/>
                    </a:cubicBezTo>
                    <a:cubicBezTo>
                      <a:pt x="21" y="72"/>
                      <a:pt x="21" y="72"/>
                      <a:pt x="21" y="72"/>
                    </a:cubicBezTo>
                    <a:cubicBezTo>
                      <a:pt x="21" y="72"/>
                      <a:pt x="21" y="72"/>
                      <a:pt x="21" y="72"/>
                    </a:cubicBezTo>
                    <a:cubicBezTo>
                      <a:pt x="21" y="72"/>
                      <a:pt x="21" y="72"/>
                      <a:pt x="21" y="72"/>
                    </a:cubicBezTo>
                    <a:cubicBezTo>
                      <a:pt x="21" y="72"/>
                      <a:pt x="21" y="72"/>
                      <a:pt x="21" y="72"/>
                    </a:cubicBezTo>
                    <a:cubicBezTo>
                      <a:pt x="22" y="72"/>
                      <a:pt x="22" y="72"/>
                      <a:pt x="22" y="72"/>
                    </a:cubicBezTo>
                    <a:cubicBezTo>
                      <a:pt x="22" y="72"/>
                      <a:pt x="22" y="72"/>
                      <a:pt x="22" y="72"/>
                    </a:cubicBezTo>
                    <a:cubicBezTo>
                      <a:pt x="34" y="84"/>
                      <a:pt x="50" y="90"/>
                      <a:pt x="66" y="90"/>
                    </a:cubicBezTo>
                    <a:cubicBezTo>
                      <a:pt x="82" y="90"/>
                      <a:pt x="98" y="84"/>
                      <a:pt x="110" y="72"/>
                    </a:cubicBezTo>
                    <a:cubicBezTo>
                      <a:pt x="110" y="72"/>
                      <a:pt x="110" y="72"/>
                      <a:pt x="110" y="72"/>
                    </a:cubicBezTo>
                    <a:cubicBezTo>
                      <a:pt x="164" y="18"/>
                      <a:pt x="164" y="18"/>
                      <a:pt x="164" y="18"/>
                    </a:cubicBezTo>
                    <a:cubicBezTo>
                      <a:pt x="161" y="12"/>
                      <a:pt x="157" y="6"/>
                      <a:pt x="153" y="0"/>
                    </a:cubicBezTo>
                  </a:path>
                </a:pathLst>
              </a:custGeom>
              <a:solidFill>
                <a:srgbClr val="BB58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5" name="Freeform 1387"/>
              <p:cNvSpPr>
                <a:spLocks/>
              </p:cNvSpPr>
              <p:nvPr/>
            </p:nvSpPr>
            <p:spPr bwMode="auto">
              <a:xfrm>
                <a:off x="7915276" y="11223625"/>
                <a:ext cx="47625" cy="44450"/>
              </a:xfrm>
              <a:custGeom>
                <a:avLst/>
                <a:gdLst>
                  <a:gd name="T0" fmla="*/ 12 w 23"/>
                  <a:gd name="T1" fmla="*/ 0 h 21"/>
                  <a:gd name="T2" fmla="*/ 5 w 23"/>
                  <a:gd name="T3" fmla="*/ 3 h 21"/>
                  <a:gd name="T4" fmla="*/ 0 w 23"/>
                  <a:gd name="T5" fmla="*/ 9 h 21"/>
                  <a:gd name="T6" fmla="*/ 17 w 23"/>
                  <a:gd name="T7" fmla="*/ 21 h 21"/>
                  <a:gd name="T8" fmla="*/ 19 w 23"/>
                  <a:gd name="T9" fmla="*/ 18 h 21"/>
                  <a:gd name="T10" fmla="*/ 19 w 23"/>
                  <a:gd name="T11" fmla="*/ 3 h 21"/>
                  <a:gd name="T12" fmla="*/ 12 w 2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12" y="0"/>
                    </a:moveTo>
                    <a:cubicBezTo>
                      <a:pt x="9" y="0"/>
                      <a:pt x="7" y="1"/>
                      <a:pt x="5" y="3"/>
                    </a:cubicBezTo>
                    <a:cubicBezTo>
                      <a:pt x="0" y="9"/>
                      <a:pt x="0" y="9"/>
                      <a:pt x="0" y="9"/>
                    </a:cubicBezTo>
                    <a:cubicBezTo>
                      <a:pt x="5" y="12"/>
                      <a:pt x="11" y="16"/>
                      <a:pt x="17" y="21"/>
                    </a:cubicBezTo>
                    <a:cubicBezTo>
                      <a:pt x="19" y="18"/>
                      <a:pt x="19" y="18"/>
                      <a:pt x="19" y="18"/>
                    </a:cubicBezTo>
                    <a:cubicBezTo>
                      <a:pt x="23" y="14"/>
                      <a:pt x="23" y="7"/>
                      <a:pt x="19" y="3"/>
                    </a:cubicBezTo>
                    <a:cubicBezTo>
                      <a:pt x="17" y="1"/>
                      <a:pt x="15" y="0"/>
                      <a:pt x="1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6" name="Freeform 1388"/>
              <p:cNvSpPr>
                <a:spLocks/>
              </p:cNvSpPr>
              <p:nvPr/>
            </p:nvSpPr>
            <p:spPr bwMode="auto">
              <a:xfrm>
                <a:off x="7785101" y="11242675"/>
                <a:ext cx="165100" cy="157163"/>
              </a:xfrm>
              <a:custGeom>
                <a:avLst/>
                <a:gdLst>
                  <a:gd name="T0" fmla="*/ 62 w 79"/>
                  <a:gd name="T1" fmla="*/ 0 h 75"/>
                  <a:gd name="T2" fmla="*/ 4 w 79"/>
                  <a:gd name="T3" fmla="*/ 57 h 75"/>
                  <a:gd name="T4" fmla="*/ 4 w 79"/>
                  <a:gd name="T5" fmla="*/ 72 h 75"/>
                  <a:gd name="T6" fmla="*/ 11 w 79"/>
                  <a:gd name="T7" fmla="*/ 75 h 75"/>
                  <a:gd name="T8" fmla="*/ 19 w 79"/>
                  <a:gd name="T9" fmla="*/ 72 h 75"/>
                  <a:gd name="T10" fmla="*/ 79 w 79"/>
                  <a:gd name="T11" fmla="*/ 12 h 75"/>
                  <a:gd name="T12" fmla="*/ 62 w 79"/>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79" h="75">
                    <a:moveTo>
                      <a:pt x="62" y="0"/>
                    </a:moveTo>
                    <a:cubicBezTo>
                      <a:pt x="4" y="57"/>
                      <a:pt x="4" y="57"/>
                      <a:pt x="4" y="57"/>
                    </a:cubicBezTo>
                    <a:cubicBezTo>
                      <a:pt x="0" y="61"/>
                      <a:pt x="0" y="68"/>
                      <a:pt x="4" y="72"/>
                    </a:cubicBezTo>
                    <a:cubicBezTo>
                      <a:pt x="6" y="74"/>
                      <a:pt x="9" y="75"/>
                      <a:pt x="11" y="75"/>
                    </a:cubicBezTo>
                    <a:cubicBezTo>
                      <a:pt x="14" y="75"/>
                      <a:pt x="17" y="74"/>
                      <a:pt x="19" y="72"/>
                    </a:cubicBezTo>
                    <a:cubicBezTo>
                      <a:pt x="79" y="12"/>
                      <a:pt x="79" y="12"/>
                      <a:pt x="79" y="12"/>
                    </a:cubicBezTo>
                    <a:cubicBezTo>
                      <a:pt x="73" y="7"/>
                      <a:pt x="67" y="3"/>
                      <a:pt x="62" y="0"/>
                    </a:cubicBezTo>
                  </a:path>
                </a:pathLst>
              </a:custGeom>
              <a:solidFill>
                <a:srgbClr val="F59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7" name="Freeform 1389"/>
              <p:cNvSpPr>
                <a:spLocks/>
              </p:cNvSpPr>
              <p:nvPr/>
            </p:nvSpPr>
            <p:spPr bwMode="auto">
              <a:xfrm>
                <a:off x="7983539" y="11131550"/>
                <a:ext cx="71438" cy="69850"/>
              </a:xfrm>
              <a:custGeom>
                <a:avLst/>
                <a:gdLst>
                  <a:gd name="T0" fmla="*/ 23 w 34"/>
                  <a:gd name="T1" fmla="*/ 0 h 33"/>
                  <a:gd name="T2" fmla="*/ 16 w 34"/>
                  <a:gd name="T3" fmla="*/ 3 h 33"/>
                  <a:gd name="T4" fmla="*/ 4 w 34"/>
                  <a:gd name="T5" fmla="*/ 15 h 33"/>
                  <a:gd name="T6" fmla="*/ 4 w 34"/>
                  <a:gd name="T7" fmla="*/ 30 h 33"/>
                  <a:gd name="T8" fmla="*/ 11 w 34"/>
                  <a:gd name="T9" fmla="*/ 33 h 33"/>
                  <a:gd name="T10" fmla="*/ 19 w 34"/>
                  <a:gd name="T11" fmla="*/ 30 h 33"/>
                  <a:gd name="T12" fmla="*/ 30 w 34"/>
                  <a:gd name="T13" fmla="*/ 18 h 33"/>
                  <a:gd name="T14" fmla="*/ 30 w 34"/>
                  <a:gd name="T15" fmla="*/ 3 h 33"/>
                  <a:gd name="T16" fmla="*/ 23 w 34"/>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3">
                    <a:moveTo>
                      <a:pt x="23" y="0"/>
                    </a:moveTo>
                    <a:cubicBezTo>
                      <a:pt x="21" y="0"/>
                      <a:pt x="18" y="1"/>
                      <a:pt x="16" y="3"/>
                    </a:cubicBezTo>
                    <a:cubicBezTo>
                      <a:pt x="4" y="15"/>
                      <a:pt x="4" y="15"/>
                      <a:pt x="4" y="15"/>
                    </a:cubicBezTo>
                    <a:cubicBezTo>
                      <a:pt x="0" y="19"/>
                      <a:pt x="0" y="26"/>
                      <a:pt x="4" y="30"/>
                    </a:cubicBezTo>
                    <a:cubicBezTo>
                      <a:pt x="6" y="32"/>
                      <a:pt x="9" y="33"/>
                      <a:pt x="11" y="33"/>
                    </a:cubicBezTo>
                    <a:cubicBezTo>
                      <a:pt x="14" y="33"/>
                      <a:pt x="17" y="32"/>
                      <a:pt x="19" y="30"/>
                    </a:cubicBezTo>
                    <a:cubicBezTo>
                      <a:pt x="30" y="18"/>
                      <a:pt x="30" y="18"/>
                      <a:pt x="30" y="18"/>
                    </a:cubicBezTo>
                    <a:cubicBezTo>
                      <a:pt x="34" y="14"/>
                      <a:pt x="34" y="7"/>
                      <a:pt x="30" y="3"/>
                    </a:cubicBezTo>
                    <a:cubicBezTo>
                      <a:pt x="28" y="1"/>
                      <a:pt x="26" y="0"/>
                      <a:pt x="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138" name="กลุ่ม 286"/>
            <p:cNvGrpSpPr/>
            <p:nvPr/>
          </p:nvGrpSpPr>
          <p:grpSpPr>
            <a:xfrm>
              <a:off x="5800446" y="551514"/>
              <a:ext cx="1838652" cy="908575"/>
              <a:chOff x="3321051" y="12895263"/>
              <a:chExt cx="542925" cy="268288"/>
            </a:xfrm>
          </p:grpSpPr>
          <p:sp>
            <p:nvSpPr>
              <p:cNvPr id="139" name="Freeform 1558"/>
              <p:cNvSpPr>
                <a:spLocks/>
              </p:cNvSpPr>
              <p:nvPr/>
            </p:nvSpPr>
            <p:spPr bwMode="auto">
              <a:xfrm>
                <a:off x="3557588" y="13103226"/>
                <a:ext cx="306388" cy="60325"/>
              </a:xfrm>
              <a:custGeom>
                <a:avLst/>
                <a:gdLst>
                  <a:gd name="T0" fmla="*/ 115 w 147"/>
                  <a:gd name="T1" fmla="*/ 29 h 29"/>
                  <a:gd name="T2" fmla="*/ 6 w 147"/>
                  <a:gd name="T3" fmla="*/ 29 h 29"/>
                  <a:gd name="T4" fmla="*/ 0 w 147"/>
                  <a:gd name="T5" fmla="*/ 24 h 29"/>
                  <a:gd name="T6" fmla="*/ 6 w 147"/>
                  <a:gd name="T7" fmla="*/ 18 h 29"/>
                  <a:gd name="T8" fmla="*/ 115 w 147"/>
                  <a:gd name="T9" fmla="*/ 18 h 29"/>
                  <a:gd name="T10" fmla="*/ 136 w 147"/>
                  <a:gd name="T11" fmla="*/ 6 h 29"/>
                  <a:gd name="T12" fmla="*/ 141 w 147"/>
                  <a:gd name="T13" fmla="*/ 0 h 29"/>
                  <a:gd name="T14" fmla="*/ 147 w 147"/>
                  <a:gd name="T15" fmla="*/ 6 h 29"/>
                  <a:gd name="T16" fmla="*/ 115 w 147"/>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29">
                    <a:moveTo>
                      <a:pt x="115" y="29"/>
                    </a:moveTo>
                    <a:cubicBezTo>
                      <a:pt x="6" y="29"/>
                      <a:pt x="6" y="29"/>
                      <a:pt x="6" y="29"/>
                    </a:cubicBezTo>
                    <a:cubicBezTo>
                      <a:pt x="3" y="29"/>
                      <a:pt x="0" y="27"/>
                      <a:pt x="0" y="24"/>
                    </a:cubicBezTo>
                    <a:cubicBezTo>
                      <a:pt x="0" y="20"/>
                      <a:pt x="3" y="18"/>
                      <a:pt x="6" y="18"/>
                    </a:cubicBezTo>
                    <a:cubicBezTo>
                      <a:pt x="115" y="18"/>
                      <a:pt x="115" y="18"/>
                      <a:pt x="115" y="18"/>
                    </a:cubicBezTo>
                    <a:cubicBezTo>
                      <a:pt x="123" y="18"/>
                      <a:pt x="136" y="16"/>
                      <a:pt x="136" y="6"/>
                    </a:cubicBezTo>
                    <a:cubicBezTo>
                      <a:pt x="136" y="2"/>
                      <a:pt x="138" y="0"/>
                      <a:pt x="141" y="0"/>
                    </a:cubicBezTo>
                    <a:cubicBezTo>
                      <a:pt x="144" y="0"/>
                      <a:pt x="147" y="2"/>
                      <a:pt x="147" y="6"/>
                    </a:cubicBezTo>
                    <a:cubicBezTo>
                      <a:pt x="147" y="23"/>
                      <a:pt x="130" y="29"/>
                      <a:pt x="115" y="29"/>
                    </a:cubicBezTo>
                    <a:close/>
                  </a:path>
                </a:pathLst>
              </a:custGeom>
              <a:solidFill>
                <a:srgbClr val="484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0" name="Freeform 1559"/>
              <p:cNvSpPr>
                <a:spLocks/>
              </p:cNvSpPr>
              <p:nvPr/>
            </p:nvSpPr>
            <p:spPr bwMode="auto">
              <a:xfrm>
                <a:off x="3717926" y="13093701"/>
                <a:ext cx="44450" cy="58738"/>
              </a:xfrm>
              <a:custGeom>
                <a:avLst/>
                <a:gdLst>
                  <a:gd name="T0" fmla="*/ 14 w 28"/>
                  <a:gd name="T1" fmla="*/ 37 h 37"/>
                  <a:gd name="T2" fmla="*/ 0 w 28"/>
                  <a:gd name="T3" fmla="*/ 37 h 37"/>
                  <a:gd name="T4" fmla="*/ 13 w 28"/>
                  <a:gd name="T5" fmla="*/ 0 h 37"/>
                  <a:gd name="T6" fmla="*/ 28 w 28"/>
                  <a:gd name="T7" fmla="*/ 0 h 37"/>
                  <a:gd name="T8" fmla="*/ 14 w 28"/>
                  <a:gd name="T9" fmla="*/ 37 h 37"/>
                </a:gdLst>
                <a:ahLst/>
                <a:cxnLst>
                  <a:cxn ang="0">
                    <a:pos x="T0" y="T1"/>
                  </a:cxn>
                  <a:cxn ang="0">
                    <a:pos x="T2" y="T3"/>
                  </a:cxn>
                  <a:cxn ang="0">
                    <a:pos x="T4" y="T5"/>
                  </a:cxn>
                  <a:cxn ang="0">
                    <a:pos x="T6" y="T7"/>
                  </a:cxn>
                  <a:cxn ang="0">
                    <a:pos x="T8" y="T9"/>
                  </a:cxn>
                </a:cxnLst>
                <a:rect l="0" t="0" r="r" b="b"/>
                <a:pathLst>
                  <a:path w="28" h="37">
                    <a:moveTo>
                      <a:pt x="14" y="37"/>
                    </a:moveTo>
                    <a:lnTo>
                      <a:pt x="0" y="37"/>
                    </a:lnTo>
                    <a:lnTo>
                      <a:pt x="13" y="0"/>
                    </a:lnTo>
                    <a:lnTo>
                      <a:pt x="28" y="0"/>
                    </a:lnTo>
                    <a:lnTo>
                      <a:pt x="14" y="37"/>
                    </a:lnTo>
                    <a:close/>
                  </a:path>
                </a:pathLst>
              </a:custGeom>
              <a:solidFill>
                <a:srgbClr val="484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1" name="Freeform 1560"/>
              <p:cNvSpPr>
                <a:spLocks/>
              </p:cNvSpPr>
              <p:nvPr/>
            </p:nvSpPr>
            <p:spPr bwMode="auto">
              <a:xfrm>
                <a:off x="3630613" y="13093701"/>
                <a:ext cx="41275" cy="58738"/>
              </a:xfrm>
              <a:custGeom>
                <a:avLst/>
                <a:gdLst>
                  <a:gd name="T0" fmla="*/ 13 w 26"/>
                  <a:gd name="T1" fmla="*/ 37 h 37"/>
                  <a:gd name="T2" fmla="*/ 0 w 26"/>
                  <a:gd name="T3" fmla="*/ 37 h 37"/>
                  <a:gd name="T4" fmla="*/ 13 w 26"/>
                  <a:gd name="T5" fmla="*/ 0 h 37"/>
                  <a:gd name="T6" fmla="*/ 26 w 26"/>
                  <a:gd name="T7" fmla="*/ 0 h 37"/>
                  <a:gd name="T8" fmla="*/ 13 w 26"/>
                  <a:gd name="T9" fmla="*/ 37 h 37"/>
                </a:gdLst>
                <a:ahLst/>
                <a:cxnLst>
                  <a:cxn ang="0">
                    <a:pos x="T0" y="T1"/>
                  </a:cxn>
                  <a:cxn ang="0">
                    <a:pos x="T2" y="T3"/>
                  </a:cxn>
                  <a:cxn ang="0">
                    <a:pos x="T4" y="T5"/>
                  </a:cxn>
                  <a:cxn ang="0">
                    <a:pos x="T6" y="T7"/>
                  </a:cxn>
                  <a:cxn ang="0">
                    <a:pos x="T8" y="T9"/>
                  </a:cxn>
                </a:cxnLst>
                <a:rect l="0" t="0" r="r" b="b"/>
                <a:pathLst>
                  <a:path w="26" h="37">
                    <a:moveTo>
                      <a:pt x="13" y="37"/>
                    </a:moveTo>
                    <a:lnTo>
                      <a:pt x="0" y="37"/>
                    </a:lnTo>
                    <a:lnTo>
                      <a:pt x="13" y="0"/>
                    </a:lnTo>
                    <a:lnTo>
                      <a:pt x="26" y="0"/>
                    </a:lnTo>
                    <a:lnTo>
                      <a:pt x="13" y="37"/>
                    </a:lnTo>
                    <a:close/>
                  </a:path>
                </a:pathLst>
              </a:custGeom>
              <a:solidFill>
                <a:srgbClr val="484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2" name="Freeform 1561"/>
              <p:cNvSpPr>
                <a:spLocks/>
              </p:cNvSpPr>
              <p:nvPr/>
            </p:nvSpPr>
            <p:spPr bwMode="auto">
              <a:xfrm>
                <a:off x="3468688" y="12906376"/>
                <a:ext cx="349250" cy="14288"/>
              </a:xfrm>
              <a:custGeom>
                <a:avLst/>
                <a:gdLst>
                  <a:gd name="T0" fmla="*/ 167 w 167"/>
                  <a:gd name="T1" fmla="*/ 4 h 7"/>
                  <a:gd name="T2" fmla="*/ 164 w 167"/>
                  <a:gd name="T3" fmla="*/ 7 h 7"/>
                  <a:gd name="T4" fmla="*/ 3 w 167"/>
                  <a:gd name="T5" fmla="*/ 7 h 7"/>
                  <a:gd name="T6" fmla="*/ 0 w 167"/>
                  <a:gd name="T7" fmla="*/ 4 h 7"/>
                  <a:gd name="T8" fmla="*/ 3 w 167"/>
                  <a:gd name="T9" fmla="*/ 0 h 7"/>
                  <a:gd name="T10" fmla="*/ 164 w 167"/>
                  <a:gd name="T11" fmla="*/ 0 h 7"/>
                  <a:gd name="T12" fmla="*/ 167 w 167"/>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67" h="7">
                    <a:moveTo>
                      <a:pt x="167" y="4"/>
                    </a:moveTo>
                    <a:cubicBezTo>
                      <a:pt x="167" y="6"/>
                      <a:pt x="166" y="7"/>
                      <a:pt x="164" y="7"/>
                    </a:cubicBezTo>
                    <a:cubicBezTo>
                      <a:pt x="3" y="7"/>
                      <a:pt x="3" y="7"/>
                      <a:pt x="3" y="7"/>
                    </a:cubicBezTo>
                    <a:cubicBezTo>
                      <a:pt x="1" y="7"/>
                      <a:pt x="0" y="6"/>
                      <a:pt x="0" y="4"/>
                    </a:cubicBezTo>
                    <a:cubicBezTo>
                      <a:pt x="0" y="2"/>
                      <a:pt x="1" y="0"/>
                      <a:pt x="3" y="0"/>
                    </a:cubicBezTo>
                    <a:cubicBezTo>
                      <a:pt x="164" y="0"/>
                      <a:pt x="164" y="0"/>
                      <a:pt x="164" y="0"/>
                    </a:cubicBezTo>
                    <a:cubicBezTo>
                      <a:pt x="166" y="0"/>
                      <a:pt x="167" y="2"/>
                      <a:pt x="167" y="4"/>
                    </a:cubicBezTo>
                    <a:close/>
                  </a:path>
                </a:pathLst>
              </a:custGeom>
              <a:solidFill>
                <a:srgbClr val="484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3" name="Freeform 1562"/>
              <p:cNvSpPr>
                <a:spLocks/>
              </p:cNvSpPr>
              <p:nvPr/>
            </p:nvSpPr>
            <p:spPr bwMode="auto">
              <a:xfrm>
                <a:off x="3636963" y="12895263"/>
                <a:ext cx="14288" cy="82550"/>
              </a:xfrm>
              <a:custGeom>
                <a:avLst/>
                <a:gdLst>
                  <a:gd name="T0" fmla="*/ 7 w 7"/>
                  <a:gd name="T1" fmla="*/ 35 h 39"/>
                  <a:gd name="T2" fmla="*/ 3 w 7"/>
                  <a:gd name="T3" fmla="*/ 39 h 39"/>
                  <a:gd name="T4" fmla="*/ 0 w 7"/>
                  <a:gd name="T5" fmla="*/ 35 h 39"/>
                  <a:gd name="T6" fmla="*/ 0 w 7"/>
                  <a:gd name="T7" fmla="*/ 3 h 39"/>
                  <a:gd name="T8" fmla="*/ 3 w 7"/>
                  <a:gd name="T9" fmla="*/ 0 h 39"/>
                  <a:gd name="T10" fmla="*/ 7 w 7"/>
                  <a:gd name="T11" fmla="*/ 3 h 39"/>
                  <a:gd name="T12" fmla="*/ 7 w 7"/>
                  <a:gd name="T13" fmla="*/ 35 h 39"/>
                </a:gdLst>
                <a:ahLst/>
                <a:cxnLst>
                  <a:cxn ang="0">
                    <a:pos x="T0" y="T1"/>
                  </a:cxn>
                  <a:cxn ang="0">
                    <a:pos x="T2" y="T3"/>
                  </a:cxn>
                  <a:cxn ang="0">
                    <a:pos x="T4" y="T5"/>
                  </a:cxn>
                  <a:cxn ang="0">
                    <a:pos x="T6" y="T7"/>
                  </a:cxn>
                  <a:cxn ang="0">
                    <a:pos x="T8" y="T9"/>
                  </a:cxn>
                  <a:cxn ang="0">
                    <a:pos x="T10" y="T11"/>
                  </a:cxn>
                  <a:cxn ang="0">
                    <a:pos x="T12" y="T13"/>
                  </a:cxn>
                </a:cxnLst>
                <a:rect l="0" t="0" r="r" b="b"/>
                <a:pathLst>
                  <a:path w="7" h="39">
                    <a:moveTo>
                      <a:pt x="7" y="35"/>
                    </a:moveTo>
                    <a:cubicBezTo>
                      <a:pt x="7" y="37"/>
                      <a:pt x="5" y="39"/>
                      <a:pt x="3" y="39"/>
                    </a:cubicBezTo>
                    <a:cubicBezTo>
                      <a:pt x="2" y="39"/>
                      <a:pt x="0" y="37"/>
                      <a:pt x="0" y="35"/>
                    </a:cubicBezTo>
                    <a:cubicBezTo>
                      <a:pt x="0" y="3"/>
                      <a:pt x="0" y="3"/>
                      <a:pt x="0" y="3"/>
                    </a:cubicBezTo>
                    <a:cubicBezTo>
                      <a:pt x="0" y="1"/>
                      <a:pt x="2" y="0"/>
                      <a:pt x="3" y="0"/>
                    </a:cubicBezTo>
                    <a:cubicBezTo>
                      <a:pt x="5" y="0"/>
                      <a:pt x="7" y="1"/>
                      <a:pt x="7" y="3"/>
                    </a:cubicBezTo>
                    <a:lnTo>
                      <a:pt x="7" y="35"/>
                    </a:lnTo>
                    <a:close/>
                  </a:path>
                </a:pathLst>
              </a:custGeom>
              <a:solidFill>
                <a:srgbClr val="8B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4" name="Freeform 1563"/>
              <p:cNvSpPr>
                <a:spLocks/>
              </p:cNvSpPr>
              <p:nvPr/>
            </p:nvSpPr>
            <p:spPr bwMode="auto">
              <a:xfrm>
                <a:off x="3597276" y="12933363"/>
                <a:ext cx="90488" cy="28575"/>
              </a:xfrm>
              <a:custGeom>
                <a:avLst/>
                <a:gdLst>
                  <a:gd name="T0" fmla="*/ 32 w 44"/>
                  <a:gd name="T1" fmla="*/ 0 h 14"/>
                  <a:gd name="T2" fmla="*/ 22 w 44"/>
                  <a:gd name="T3" fmla="*/ 0 h 14"/>
                  <a:gd name="T4" fmla="*/ 13 w 44"/>
                  <a:gd name="T5" fmla="*/ 0 h 14"/>
                  <a:gd name="T6" fmla="*/ 0 w 44"/>
                  <a:gd name="T7" fmla="*/ 14 h 14"/>
                  <a:gd name="T8" fmla="*/ 22 w 44"/>
                  <a:gd name="T9" fmla="*/ 14 h 14"/>
                  <a:gd name="T10" fmla="*/ 44 w 44"/>
                  <a:gd name="T11" fmla="*/ 14 h 14"/>
                  <a:gd name="T12" fmla="*/ 32 w 4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4" h="14">
                    <a:moveTo>
                      <a:pt x="32" y="0"/>
                    </a:moveTo>
                    <a:cubicBezTo>
                      <a:pt x="29" y="0"/>
                      <a:pt x="22" y="0"/>
                      <a:pt x="22" y="0"/>
                    </a:cubicBezTo>
                    <a:cubicBezTo>
                      <a:pt x="22" y="0"/>
                      <a:pt x="16" y="0"/>
                      <a:pt x="13" y="0"/>
                    </a:cubicBezTo>
                    <a:cubicBezTo>
                      <a:pt x="10" y="0"/>
                      <a:pt x="3" y="7"/>
                      <a:pt x="0" y="14"/>
                    </a:cubicBezTo>
                    <a:cubicBezTo>
                      <a:pt x="22" y="14"/>
                      <a:pt x="22" y="14"/>
                      <a:pt x="22" y="14"/>
                    </a:cubicBezTo>
                    <a:cubicBezTo>
                      <a:pt x="44" y="14"/>
                      <a:pt x="44" y="14"/>
                      <a:pt x="44" y="14"/>
                    </a:cubicBezTo>
                    <a:cubicBezTo>
                      <a:pt x="41" y="7"/>
                      <a:pt x="35" y="0"/>
                      <a:pt x="32" y="0"/>
                    </a:cubicBezTo>
                    <a:close/>
                  </a:path>
                </a:pathLst>
              </a:custGeom>
              <a:solidFill>
                <a:srgbClr val="484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5" name="Freeform 1564"/>
              <p:cNvSpPr>
                <a:spLocks/>
              </p:cNvSpPr>
              <p:nvPr/>
            </p:nvSpPr>
            <p:spPr bwMode="auto">
              <a:xfrm>
                <a:off x="3321051" y="12901613"/>
                <a:ext cx="117475" cy="65088"/>
              </a:xfrm>
              <a:custGeom>
                <a:avLst/>
                <a:gdLst>
                  <a:gd name="T0" fmla="*/ 56 w 56"/>
                  <a:gd name="T1" fmla="*/ 30 h 31"/>
                  <a:gd name="T2" fmla="*/ 55 w 56"/>
                  <a:gd name="T3" fmla="*/ 28 h 31"/>
                  <a:gd name="T4" fmla="*/ 24 w 56"/>
                  <a:gd name="T5" fmla="*/ 0 h 31"/>
                  <a:gd name="T6" fmla="*/ 23 w 56"/>
                  <a:gd name="T7" fmla="*/ 0 h 31"/>
                  <a:gd name="T8" fmla="*/ 2 w 56"/>
                  <a:gd name="T9" fmla="*/ 0 h 31"/>
                  <a:gd name="T10" fmla="*/ 1 w 56"/>
                  <a:gd name="T11" fmla="*/ 1 h 31"/>
                  <a:gd name="T12" fmla="*/ 1 w 56"/>
                  <a:gd name="T13" fmla="*/ 3 h 31"/>
                  <a:gd name="T14" fmla="*/ 19 w 56"/>
                  <a:gd name="T15" fmla="*/ 30 h 31"/>
                  <a:gd name="T16" fmla="*/ 21 w 56"/>
                  <a:gd name="T17" fmla="*/ 31 h 31"/>
                  <a:gd name="T18" fmla="*/ 54 w 56"/>
                  <a:gd name="T19" fmla="*/ 31 h 31"/>
                  <a:gd name="T20" fmla="*/ 56 w 56"/>
                  <a:gd name="T21"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31">
                    <a:moveTo>
                      <a:pt x="56" y="30"/>
                    </a:moveTo>
                    <a:cubicBezTo>
                      <a:pt x="56" y="29"/>
                      <a:pt x="56" y="28"/>
                      <a:pt x="55" y="28"/>
                    </a:cubicBezTo>
                    <a:cubicBezTo>
                      <a:pt x="24" y="0"/>
                      <a:pt x="24" y="0"/>
                      <a:pt x="24" y="0"/>
                    </a:cubicBezTo>
                    <a:cubicBezTo>
                      <a:pt x="24" y="0"/>
                      <a:pt x="23" y="0"/>
                      <a:pt x="23" y="0"/>
                    </a:cubicBezTo>
                    <a:cubicBezTo>
                      <a:pt x="2" y="0"/>
                      <a:pt x="2" y="0"/>
                      <a:pt x="2" y="0"/>
                    </a:cubicBezTo>
                    <a:cubicBezTo>
                      <a:pt x="2" y="0"/>
                      <a:pt x="1" y="0"/>
                      <a:pt x="1" y="1"/>
                    </a:cubicBezTo>
                    <a:cubicBezTo>
                      <a:pt x="0" y="1"/>
                      <a:pt x="0" y="2"/>
                      <a:pt x="1" y="3"/>
                    </a:cubicBezTo>
                    <a:cubicBezTo>
                      <a:pt x="19" y="30"/>
                      <a:pt x="19" y="30"/>
                      <a:pt x="19" y="30"/>
                    </a:cubicBezTo>
                    <a:cubicBezTo>
                      <a:pt x="19" y="31"/>
                      <a:pt x="20" y="31"/>
                      <a:pt x="21" y="31"/>
                    </a:cubicBezTo>
                    <a:cubicBezTo>
                      <a:pt x="54" y="31"/>
                      <a:pt x="54" y="31"/>
                      <a:pt x="54" y="31"/>
                    </a:cubicBezTo>
                    <a:cubicBezTo>
                      <a:pt x="55" y="31"/>
                      <a:pt x="56" y="31"/>
                      <a:pt x="56" y="30"/>
                    </a:cubicBezTo>
                    <a:close/>
                  </a:path>
                </a:pathLst>
              </a:custGeom>
              <a:solidFill>
                <a:srgbClr val="F15A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6" name="Freeform 1565"/>
              <p:cNvSpPr>
                <a:spLocks/>
              </p:cNvSpPr>
              <p:nvPr/>
            </p:nvSpPr>
            <p:spPr bwMode="auto">
              <a:xfrm>
                <a:off x="3340101" y="12977813"/>
                <a:ext cx="85725" cy="57150"/>
              </a:xfrm>
              <a:custGeom>
                <a:avLst/>
                <a:gdLst>
                  <a:gd name="T0" fmla="*/ 16 w 41"/>
                  <a:gd name="T1" fmla="*/ 28 h 28"/>
                  <a:gd name="T2" fmla="*/ 40 w 41"/>
                  <a:gd name="T3" fmla="*/ 4 h 28"/>
                  <a:gd name="T4" fmla="*/ 41 w 41"/>
                  <a:gd name="T5" fmla="*/ 1 h 28"/>
                  <a:gd name="T6" fmla="*/ 39 w 41"/>
                  <a:gd name="T7" fmla="*/ 0 h 28"/>
                  <a:gd name="T8" fmla="*/ 17 w 41"/>
                  <a:gd name="T9" fmla="*/ 0 h 28"/>
                  <a:gd name="T10" fmla="*/ 15 w 41"/>
                  <a:gd name="T11" fmla="*/ 1 h 28"/>
                  <a:gd name="T12" fmla="*/ 1 w 41"/>
                  <a:gd name="T13" fmla="*/ 25 h 28"/>
                  <a:gd name="T14" fmla="*/ 1 w 41"/>
                  <a:gd name="T15" fmla="*/ 27 h 28"/>
                  <a:gd name="T16" fmla="*/ 2 w 41"/>
                  <a:gd name="T17" fmla="*/ 28 h 28"/>
                  <a:gd name="T18" fmla="*/ 15 w 41"/>
                  <a:gd name="T19" fmla="*/ 28 h 28"/>
                  <a:gd name="T20" fmla="*/ 16 w 41"/>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28">
                    <a:moveTo>
                      <a:pt x="16" y="28"/>
                    </a:moveTo>
                    <a:cubicBezTo>
                      <a:pt x="40" y="4"/>
                      <a:pt x="40" y="4"/>
                      <a:pt x="40" y="4"/>
                    </a:cubicBezTo>
                    <a:cubicBezTo>
                      <a:pt x="41" y="3"/>
                      <a:pt x="41" y="2"/>
                      <a:pt x="41" y="1"/>
                    </a:cubicBezTo>
                    <a:cubicBezTo>
                      <a:pt x="41" y="1"/>
                      <a:pt x="40" y="0"/>
                      <a:pt x="39" y="0"/>
                    </a:cubicBezTo>
                    <a:cubicBezTo>
                      <a:pt x="17" y="0"/>
                      <a:pt x="17" y="0"/>
                      <a:pt x="17" y="0"/>
                    </a:cubicBezTo>
                    <a:cubicBezTo>
                      <a:pt x="16" y="0"/>
                      <a:pt x="15" y="1"/>
                      <a:pt x="15" y="1"/>
                    </a:cubicBezTo>
                    <a:cubicBezTo>
                      <a:pt x="1" y="25"/>
                      <a:pt x="1" y="25"/>
                      <a:pt x="1" y="25"/>
                    </a:cubicBezTo>
                    <a:cubicBezTo>
                      <a:pt x="0" y="26"/>
                      <a:pt x="0" y="27"/>
                      <a:pt x="1" y="27"/>
                    </a:cubicBezTo>
                    <a:cubicBezTo>
                      <a:pt x="1" y="28"/>
                      <a:pt x="2" y="28"/>
                      <a:pt x="2" y="28"/>
                    </a:cubicBezTo>
                    <a:cubicBezTo>
                      <a:pt x="15" y="28"/>
                      <a:pt x="15" y="28"/>
                      <a:pt x="15" y="28"/>
                    </a:cubicBezTo>
                    <a:cubicBezTo>
                      <a:pt x="15" y="28"/>
                      <a:pt x="16" y="28"/>
                      <a:pt x="16" y="28"/>
                    </a:cubicBezTo>
                    <a:close/>
                  </a:path>
                </a:pathLst>
              </a:custGeom>
              <a:solidFill>
                <a:srgbClr val="F15A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7" name="Freeform 1566"/>
              <p:cNvSpPr>
                <a:spLocks/>
              </p:cNvSpPr>
              <p:nvPr/>
            </p:nvSpPr>
            <p:spPr bwMode="auto">
              <a:xfrm>
                <a:off x="3333751" y="12954001"/>
                <a:ext cx="517525" cy="157163"/>
              </a:xfrm>
              <a:custGeom>
                <a:avLst/>
                <a:gdLst>
                  <a:gd name="T0" fmla="*/ 248 w 248"/>
                  <a:gd name="T1" fmla="*/ 46 h 75"/>
                  <a:gd name="T2" fmla="*/ 172 w 248"/>
                  <a:gd name="T3" fmla="*/ 0 h 75"/>
                  <a:gd name="T4" fmla="*/ 2 w 248"/>
                  <a:gd name="T5" fmla="*/ 0 h 75"/>
                  <a:gd name="T6" fmla="*/ 0 w 248"/>
                  <a:gd name="T7" fmla="*/ 1 h 75"/>
                  <a:gd name="T8" fmla="*/ 0 w 248"/>
                  <a:gd name="T9" fmla="*/ 2 h 75"/>
                  <a:gd name="T10" fmla="*/ 4 w 248"/>
                  <a:gd name="T11" fmla="*/ 13 h 75"/>
                  <a:gd name="T12" fmla="*/ 5 w 248"/>
                  <a:gd name="T13" fmla="*/ 14 h 75"/>
                  <a:gd name="T14" fmla="*/ 92 w 248"/>
                  <a:gd name="T15" fmla="*/ 37 h 75"/>
                  <a:gd name="T16" fmla="*/ 126 w 248"/>
                  <a:gd name="T17" fmla="*/ 74 h 75"/>
                  <a:gd name="T18" fmla="*/ 127 w 248"/>
                  <a:gd name="T19" fmla="*/ 75 h 75"/>
                  <a:gd name="T20" fmla="*/ 206 w 248"/>
                  <a:gd name="T21" fmla="*/ 75 h 75"/>
                  <a:gd name="T22" fmla="*/ 248 w 248"/>
                  <a:gd name="T23" fmla="*/ 4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8" h="75">
                    <a:moveTo>
                      <a:pt x="248" y="46"/>
                    </a:moveTo>
                    <a:cubicBezTo>
                      <a:pt x="248" y="27"/>
                      <a:pt x="219" y="0"/>
                      <a:pt x="172" y="0"/>
                    </a:cubicBezTo>
                    <a:cubicBezTo>
                      <a:pt x="2" y="0"/>
                      <a:pt x="2" y="0"/>
                      <a:pt x="2" y="0"/>
                    </a:cubicBezTo>
                    <a:cubicBezTo>
                      <a:pt x="1" y="0"/>
                      <a:pt x="1" y="0"/>
                      <a:pt x="0" y="1"/>
                    </a:cubicBezTo>
                    <a:cubicBezTo>
                      <a:pt x="0" y="1"/>
                      <a:pt x="0" y="2"/>
                      <a:pt x="0" y="2"/>
                    </a:cubicBezTo>
                    <a:cubicBezTo>
                      <a:pt x="4" y="13"/>
                      <a:pt x="4" y="13"/>
                      <a:pt x="4" y="13"/>
                    </a:cubicBezTo>
                    <a:cubicBezTo>
                      <a:pt x="4" y="14"/>
                      <a:pt x="5" y="14"/>
                      <a:pt x="5" y="14"/>
                    </a:cubicBezTo>
                    <a:cubicBezTo>
                      <a:pt x="92" y="37"/>
                      <a:pt x="92" y="37"/>
                      <a:pt x="92" y="37"/>
                    </a:cubicBezTo>
                    <a:cubicBezTo>
                      <a:pt x="126" y="74"/>
                      <a:pt x="126" y="74"/>
                      <a:pt x="126" y="74"/>
                    </a:cubicBezTo>
                    <a:cubicBezTo>
                      <a:pt x="126" y="75"/>
                      <a:pt x="127" y="75"/>
                      <a:pt x="127" y="75"/>
                    </a:cubicBezTo>
                    <a:cubicBezTo>
                      <a:pt x="206" y="75"/>
                      <a:pt x="206" y="75"/>
                      <a:pt x="206" y="75"/>
                    </a:cubicBezTo>
                    <a:cubicBezTo>
                      <a:pt x="232" y="75"/>
                      <a:pt x="248" y="64"/>
                      <a:pt x="248" y="46"/>
                    </a:cubicBezTo>
                    <a:close/>
                  </a:path>
                </a:pathLst>
              </a:custGeom>
              <a:solidFill>
                <a:srgbClr val="F15A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8" name="Freeform 1567"/>
              <p:cNvSpPr>
                <a:spLocks/>
              </p:cNvSpPr>
              <p:nvPr/>
            </p:nvSpPr>
            <p:spPr bwMode="auto">
              <a:xfrm>
                <a:off x="3694113" y="12973051"/>
                <a:ext cx="141288" cy="90488"/>
              </a:xfrm>
              <a:custGeom>
                <a:avLst/>
                <a:gdLst>
                  <a:gd name="T0" fmla="*/ 66 w 67"/>
                  <a:gd name="T1" fmla="*/ 42 h 43"/>
                  <a:gd name="T2" fmla="*/ 66 w 67"/>
                  <a:gd name="T3" fmla="*/ 41 h 43"/>
                  <a:gd name="T4" fmla="*/ 55 w 67"/>
                  <a:gd name="T5" fmla="*/ 20 h 43"/>
                  <a:gd name="T6" fmla="*/ 2 w 67"/>
                  <a:gd name="T7" fmla="*/ 0 h 43"/>
                  <a:gd name="T8" fmla="*/ 0 w 67"/>
                  <a:gd name="T9" fmla="*/ 2 h 43"/>
                  <a:gd name="T10" fmla="*/ 0 w 67"/>
                  <a:gd name="T11" fmla="*/ 30 h 43"/>
                  <a:gd name="T12" fmla="*/ 1 w 67"/>
                  <a:gd name="T13" fmla="*/ 32 h 43"/>
                  <a:gd name="T14" fmla="*/ 28 w 67"/>
                  <a:gd name="T15" fmla="*/ 43 h 43"/>
                  <a:gd name="T16" fmla="*/ 29 w 67"/>
                  <a:gd name="T17" fmla="*/ 43 h 43"/>
                  <a:gd name="T18" fmla="*/ 65 w 67"/>
                  <a:gd name="T19" fmla="*/ 43 h 43"/>
                  <a:gd name="T20" fmla="*/ 66 w 67"/>
                  <a:gd name="T21"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43">
                    <a:moveTo>
                      <a:pt x="66" y="42"/>
                    </a:moveTo>
                    <a:cubicBezTo>
                      <a:pt x="66" y="42"/>
                      <a:pt x="67" y="41"/>
                      <a:pt x="66" y="41"/>
                    </a:cubicBezTo>
                    <a:cubicBezTo>
                      <a:pt x="66" y="40"/>
                      <a:pt x="64" y="30"/>
                      <a:pt x="55" y="20"/>
                    </a:cubicBezTo>
                    <a:cubicBezTo>
                      <a:pt x="47" y="11"/>
                      <a:pt x="31" y="0"/>
                      <a:pt x="2" y="0"/>
                    </a:cubicBezTo>
                    <a:cubicBezTo>
                      <a:pt x="1" y="0"/>
                      <a:pt x="0" y="1"/>
                      <a:pt x="0" y="2"/>
                    </a:cubicBezTo>
                    <a:cubicBezTo>
                      <a:pt x="0" y="30"/>
                      <a:pt x="0" y="30"/>
                      <a:pt x="0" y="30"/>
                    </a:cubicBezTo>
                    <a:cubicBezTo>
                      <a:pt x="0" y="31"/>
                      <a:pt x="0" y="32"/>
                      <a:pt x="1" y="32"/>
                    </a:cubicBezTo>
                    <a:cubicBezTo>
                      <a:pt x="28" y="43"/>
                      <a:pt x="28" y="43"/>
                      <a:pt x="28" y="43"/>
                    </a:cubicBezTo>
                    <a:cubicBezTo>
                      <a:pt x="28" y="43"/>
                      <a:pt x="28" y="43"/>
                      <a:pt x="29" y="43"/>
                    </a:cubicBezTo>
                    <a:cubicBezTo>
                      <a:pt x="65" y="43"/>
                      <a:pt x="65" y="43"/>
                      <a:pt x="65" y="43"/>
                    </a:cubicBezTo>
                    <a:cubicBezTo>
                      <a:pt x="65" y="43"/>
                      <a:pt x="66" y="43"/>
                      <a:pt x="66" y="42"/>
                    </a:cubicBezTo>
                    <a:close/>
                  </a:path>
                </a:pathLst>
              </a:custGeom>
              <a:solidFill>
                <a:srgbClr val="FBE4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9" name="Freeform 1568"/>
              <p:cNvSpPr>
                <a:spLocks/>
              </p:cNvSpPr>
              <p:nvPr/>
            </p:nvSpPr>
            <p:spPr bwMode="auto">
              <a:xfrm>
                <a:off x="3581401" y="12998451"/>
                <a:ext cx="69850" cy="66675"/>
              </a:xfrm>
              <a:custGeom>
                <a:avLst/>
                <a:gdLst>
                  <a:gd name="T0" fmla="*/ 44 w 44"/>
                  <a:gd name="T1" fmla="*/ 14 h 42"/>
                  <a:gd name="T2" fmla="*/ 29 w 44"/>
                  <a:gd name="T3" fmla="*/ 14 h 42"/>
                  <a:gd name="T4" fmla="*/ 29 w 44"/>
                  <a:gd name="T5" fmla="*/ 0 h 42"/>
                  <a:gd name="T6" fmla="*/ 15 w 44"/>
                  <a:gd name="T7" fmla="*/ 0 h 42"/>
                  <a:gd name="T8" fmla="*/ 15 w 44"/>
                  <a:gd name="T9" fmla="*/ 14 h 42"/>
                  <a:gd name="T10" fmla="*/ 0 w 44"/>
                  <a:gd name="T11" fmla="*/ 14 h 42"/>
                  <a:gd name="T12" fmla="*/ 0 w 44"/>
                  <a:gd name="T13" fmla="*/ 29 h 42"/>
                  <a:gd name="T14" fmla="*/ 15 w 44"/>
                  <a:gd name="T15" fmla="*/ 29 h 42"/>
                  <a:gd name="T16" fmla="*/ 15 w 44"/>
                  <a:gd name="T17" fmla="*/ 42 h 42"/>
                  <a:gd name="T18" fmla="*/ 29 w 44"/>
                  <a:gd name="T19" fmla="*/ 42 h 42"/>
                  <a:gd name="T20" fmla="*/ 29 w 44"/>
                  <a:gd name="T21" fmla="*/ 29 h 42"/>
                  <a:gd name="T22" fmla="*/ 44 w 44"/>
                  <a:gd name="T23" fmla="*/ 29 h 42"/>
                  <a:gd name="T24" fmla="*/ 44 w 44"/>
                  <a:gd name="T25"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42">
                    <a:moveTo>
                      <a:pt x="44" y="14"/>
                    </a:moveTo>
                    <a:lnTo>
                      <a:pt x="29" y="14"/>
                    </a:lnTo>
                    <a:lnTo>
                      <a:pt x="29" y="0"/>
                    </a:lnTo>
                    <a:lnTo>
                      <a:pt x="15" y="0"/>
                    </a:lnTo>
                    <a:lnTo>
                      <a:pt x="15" y="14"/>
                    </a:lnTo>
                    <a:lnTo>
                      <a:pt x="0" y="14"/>
                    </a:lnTo>
                    <a:lnTo>
                      <a:pt x="0" y="29"/>
                    </a:lnTo>
                    <a:lnTo>
                      <a:pt x="15" y="29"/>
                    </a:lnTo>
                    <a:lnTo>
                      <a:pt x="15" y="42"/>
                    </a:lnTo>
                    <a:lnTo>
                      <a:pt x="29" y="42"/>
                    </a:lnTo>
                    <a:lnTo>
                      <a:pt x="29" y="29"/>
                    </a:lnTo>
                    <a:lnTo>
                      <a:pt x="44" y="29"/>
                    </a:lnTo>
                    <a:lnTo>
                      <a:pt x="44" y="14"/>
                    </a:lnTo>
                    <a:close/>
                  </a:path>
                </a:pathLst>
              </a:custGeom>
              <a:solidFill>
                <a:srgbClr val="FBE4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sp>
        <p:nvSpPr>
          <p:cNvPr id="150" name="Title 11">
            <a:extLst>
              <a:ext uri="{FF2B5EF4-FFF2-40B4-BE49-F238E27FC236}">
                <a16:creationId xmlns:a16="http://schemas.microsoft.com/office/drawing/2014/main" id="{DDE6DC91-D43E-401A-9DA2-920ADDDCD748}"/>
              </a:ext>
            </a:extLst>
          </p:cNvPr>
          <p:cNvSpPr txBox="1">
            <a:spLocks/>
          </p:cNvSpPr>
          <p:nvPr/>
        </p:nvSpPr>
        <p:spPr>
          <a:xfrm>
            <a:off x="4111879" y="2959278"/>
            <a:ext cx="3586329"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800" b="1" spc="-150" dirty="0">
                <a:solidFill>
                  <a:srgbClr val="01678C"/>
                </a:solidFill>
                <a:latin typeface="Montserrat" panose="00000500000000000000" pitchFamily="50" charset="0"/>
                <a:ea typeface="Roboto" panose="02000000000000000000" pitchFamily="2" charset="0"/>
                <a:cs typeface="Segoe UI" panose="020B0502040204020203" pitchFamily="34" charset="0"/>
              </a:rPr>
              <a:t>MEDICAL</a:t>
            </a:r>
            <a:r>
              <a:rPr lang="en-US" sz="4800" b="1" spc="-150" dirty="0">
                <a:solidFill>
                  <a:schemeClr val="accent1"/>
                </a:solidFill>
                <a:latin typeface="Montserrat" panose="00000500000000000000" pitchFamily="50" charset="0"/>
                <a:ea typeface="Roboto" panose="02000000000000000000" pitchFamily="2" charset="0"/>
                <a:cs typeface="Segoe UI" panose="020B0502040204020203" pitchFamily="34" charset="0"/>
              </a:rPr>
              <a:t> </a:t>
            </a:r>
            <a:r>
              <a:rPr lang="en-US" sz="4800" b="1" spc="-150" dirty="0">
                <a:solidFill>
                  <a:schemeClr val="tx1">
                    <a:lumMod val="85000"/>
                    <a:lumOff val="15000"/>
                  </a:schemeClr>
                </a:solidFill>
                <a:latin typeface="Montserrat" panose="00000500000000000000" pitchFamily="50" charset="0"/>
                <a:ea typeface="Roboto" panose="02000000000000000000" pitchFamily="2" charset="0"/>
                <a:cs typeface="Segoe UI" panose="020B0502040204020203" pitchFamily="34" charset="0"/>
              </a:rPr>
              <a:t>TEMPLATE</a:t>
            </a:r>
          </a:p>
        </p:txBody>
      </p:sp>
    </p:spTree>
    <p:extLst>
      <p:ext uri="{BB962C8B-B14F-4D97-AF65-F5344CB8AC3E}">
        <p14:creationId xmlns:p14="http://schemas.microsoft.com/office/powerpoint/2010/main" val="2962172904"/>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0" name="Rectangle 419"/>
          <p:cNvSpPr/>
          <p:nvPr/>
        </p:nvSpPr>
        <p:spPr>
          <a:xfrm>
            <a:off x="0" y="0"/>
            <a:ext cx="12192000" cy="4396248"/>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p:nvSpPr>
        <p:spPr>
          <a:xfrm>
            <a:off x="2023" y="6664283"/>
            <a:ext cx="12189983" cy="206419"/>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
          <p:cNvSpPr/>
          <p:nvPr/>
        </p:nvSpPr>
        <p:spPr>
          <a:xfrm>
            <a:off x="5056966" y="6530678"/>
            <a:ext cx="2078068" cy="222924"/>
          </a:xfrm>
          <a:prstGeom prst="roundRect">
            <a:avLst>
              <a:gd name="adj" fmla="val 50000"/>
            </a:avLst>
          </a:prstGeom>
          <a:solidFill>
            <a:srgbClr val="018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effectLst>
                <a:outerShdw blurRad="63500" sx="102000" sy="102000" algn="ctr" rotWithShape="0">
                  <a:prstClr val="black">
                    <a:alpha val="40000"/>
                  </a:prstClr>
                </a:outerShdw>
              </a:effectLst>
              <a:latin typeface="+mj-lt"/>
            </a:endParaRPr>
          </a:p>
        </p:txBody>
      </p:sp>
      <p:sp>
        <p:nvSpPr>
          <p:cNvPr id="4" name="Date Placeholder 1"/>
          <p:cNvSpPr txBox="1">
            <a:spLocks/>
          </p:cNvSpPr>
          <p:nvPr>
            <p:custDataLst>
              <p:tags r:id="rId1"/>
            </p:custDataLst>
          </p:nvPr>
        </p:nvSpPr>
        <p:spPr>
          <a:xfrm>
            <a:off x="5006809" y="6498189"/>
            <a:ext cx="1530941"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Segoe UI" panose="020B0502040204020203" pitchFamily="34" charset="0"/>
                <a:ea typeface="Open Sans Light" panose="020B0306030504020204" pitchFamily="34" charset="0"/>
                <a:cs typeface="Segoe UI" panose="020B0502040204020203" pitchFamily="34" charset="0"/>
              </a:rPr>
              <a:t>www.yourcompanyname.com</a:t>
            </a:r>
          </a:p>
        </p:txBody>
      </p:sp>
      <p:cxnSp>
        <p:nvCxnSpPr>
          <p:cNvPr id="5" name="Straight Connector 4"/>
          <p:cNvCxnSpPr/>
          <p:nvPr/>
        </p:nvCxnSpPr>
        <p:spPr>
          <a:xfrm>
            <a:off x="6512721" y="6567488"/>
            <a:ext cx="0" cy="154781"/>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6665393" y="6505535"/>
            <a:ext cx="335348" cy="261610"/>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09</a:t>
            </a:r>
          </a:p>
        </p:txBody>
      </p:sp>
      <p:grpSp>
        <p:nvGrpSpPr>
          <p:cNvPr id="419" name="Group 418"/>
          <p:cNvGrpSpPr/>
          <p:nvPr/>
        </p:nvGrpSpPr>
        <p:grpSpPr>
          <a:xfrm>
            <a:off x="340894" y="1227959"/>
            <a:ext cx="11531792" cy="3733414"/>
            <a:chOff x="2497057" y="2465258"/>
            <a:chExt cx="19342180" cy="6262024"/>
          </a:xfrm>
        </p:grpSpPr>
        <p:grpSp>
          <p:nvGrpSpPr>
            <p:cNvPr id="7" name="กลุ่ม 36"/>
            <p:cNvGrpSpPr/>
            <p:nvPr/>
          </p:nvGrpSpPr>
          <p:grpSpPr>
            <a:xfrm>
              <a:off x="8264759" y="2711056"/>
              <a:ext cx="3135078" cy="4776706"/>
              <a:chOff x="11302172" y="2020628"/>
              <a:chExt cx="1276350" cy="1944688"/>
            </a:xfrm>
          </p:grpSpPr>
          <p:sp>
            <p:nvSpPr>
              <p:cNvPr id="8" name="Rectangle 348"/>
              <p:cNvSpPr>
                <a:spLocks noChangeArrowheads="1"/>
              </p:cNvSpPr>
              <p:nvPr/>
            </p:nvSpPr>
            <p:spPr bwMode="auto">
              <a:xfrm>
                <a:off x="11368847" y="2220653"/>
                <a:ext cx="1152525" cy="1744663"/>
              </a:xfrm>
              <a:prstGeom prst="rect">
                <a:avLst/>
              </a:prstGeom>
              <a:solidFill>
                <a:srgbClr val="F9A0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 name="Rectangle 349"/>
              <p:cNvSpPr>
                <a:spLocks noChangeArrowheads="1"/>
              </p:cNvSpPr>
              <p:nvPr/>
            </p:nvSpPr>
            <p:spPr bwMode="auto">
              <a:xfrm>
                <a:off x="11368847" y="2220653"/>
                <a:ext cx="1152525" cy="174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 name="Rectangle 350"/>
              <p:cNvSpPr>
                <a:spLocks noChangeArrowheads="1"/>
              </p:cNvSpPr>
              <p:nvPr/>
            </p:nvSpPr>
            <p:spPr bwMode="auto">
              <a:xfrm>
                <a:off x="11368847" y="2077778"/>
                <a:ext cx="1152525" cy="190500"/>
              </a:xfrm>
              <a:prstGeom prst="rect">
                <a:avLst/>
              </a:prstGeom>
              <a:solidFill>
                <a:srgbClr val="EE863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 name="Rectangle 351"/>
              <p:cNvSpPr>
                <a:spLocks noChangeArrowheads="1"/>
              </p:cNvSpPr>
              <p:nvPr/>
            </p:nvSpPr>
            <p:spPr bwMode="auto">
              <a:xfrm>
                <a:off x="11702222" y="2868353"/>
                <a:ext cx="104775" cy="47625"/>
              </a:xfrm>
              <a:prstGeom prst="rect">
                <a:avLst/>
              </a:prstGeom>
              <a:solidFill>
                <a:srgbClr val="EE863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 name="Rectangle 352"/>
              <p:cNvSpPr>
                <a:spLocks noChangeArrowheads="1"/>
              </p:cNvSpPr>
              <p:nvPr/>
            </p:nvSpPr>
            <p:spPr bwMode="auto">
              <a:xfrm>
                <a:off x="11759372" y="2811203"/>
                <a:ext cx="104775" cy="47625"/>
              </a:xfrm>
              <a:prstGeom prst="rect">
                <a:avLst/>
              </a:prstGeom>
              <a:solidFill>
                <a:srgbClr val="EE863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 name="Rectangle 353"/>
              <p:cNvSpPr>
                <a:spLocks noChangeArrowheads="1"/>
              </p:cNvSpPr>
              <p:nvPr/>
            </p:nvSpPr>
            <p:spPr bwMode="auto">
              <a:xfrm>
                <a:off x="12321347" y="2868353"/>
                <a:ext cx="95250" cy="47625"/>
              </a:xfrm>
              <a:prstGeom prst="rect">
                <a:avLst/>
              </a:prstGeom>
              <a:solidFill>
                <a:srgbClr val="EE863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 name="Rectangle 354"/>
              <p:cNvSpPr>
                <a:spLocks noChangeArrowheads="1"/>
              </p:cNvSpPr>
              <p:nvPr/>
            </p:nvSpPr>
            <p:spPr bwMode="auto">
              <a:xfrm>
                <a:off x="12254672" y="2811203"/>
                <a:ext cx="104775" cy="57150"/>
              </a:xfrm>
              <a:prstGeom prst="rect">
                <a:avLst/>
              </a:prstGeom>
              <a:solidFill>
                <a:srgbClr val="EE863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5" name="Rectangle 355"/>
              <p:cNvSpPr>
                <a:spLocks noChangeArrowheads="1"/>
              </p:cNvSpPr>
              <p:nvPr/>
            </p:nvSpPr>
            <p:spPr bwMode="auto">
              <a:xfrm>
                <a:off x="11302172" y="2144453"/>
                <a:ext cx="1276350" cy="76200"/>
              </a:xfrm>
              <a:prstGeom prst="rect">
                <a:avLst/>
              </a:prstGeom>
              <a:solidFill>
                <a:srgbClr val="FAAC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 name="Rectangle 356"/>
              <p:cNvSpPr>
                <a:spLocks noChangeArrowheads="1"/>
              </p:cNvSpPr>
              <p:nvPr/>
            </p:nvSpPr>
            <p:spPr bwMode="auto">
              <a:xfrm>
                <a:off x="11302172" y="2020628"/>
                <a:ext cx="1276350" cy="76200"/>
              </a:xfrm>
              <a:prstGeom prst="rect">
                <a:avLst/>
              </a:prstGeom>
              <a:solidFill>
                <a:srgbClr val="FAAC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7" name="Freeform 357"/>
              <p:cNvSpPr>
                <a:spLocks/>
              </p:cNvSpPr>
              <p:nvPr/>
            </p:nvSpPr>
            <p:spPr bwMode="auto">
              <a:xfrm>
                <a:off x="11368847" y="2268278"/>
                <a:ext cx="1152525" cy="0"/>
              </a:xfrm>
              <a:custGeom>
                <a:avLst/>
                <a:gdLst>
                  <a:gd name="T0" fmla="*/ 726 w 726"/>
                  <a:gd name="T1" fmla="*/ 0 w 726"/>
                  <a:gd name="T2" fmla="*/ 726 w 726"/>
                </a:gdLst>
                <a:ahLst/>
                <a:cxnLst>
                  <a:cxn ang="0">
                    <a:pos x="T0" y="0"/>
                  </a:cxn>
                  <a:cxn ang="0">
                    <a:pos x="T1" y="0"/>
                  </a:cxn>
                  <a:cxn ang="0">
                    <a:pos x="T2" y="0"/>
                  </a:cxn>
                </a:cxnLst>
                <a:rect l="0" t="0" r="r" b="b"/>
                <a:pathLst>
                  <a:path w="726">
                    <a:moveTo>
                      <a:pt x="726" y="0"/>
                    </a:moveTo>
                    <a:lnTo>
                      <a:pt x="0" y="0"/>
                    </a:lnTo>
                    <a:lnTo>
                      <a:pt x="726" y="0"/>
                    </a:lnTo>
                    <a:close/>
                  </a:path>
                </a:pathLst>
              </a:custGeom>
              <a:solidFill>
                <a:srgbClr val="EE86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8" name="Line 358"/>
              <p:cNvSpPr>
                <a:spLocks noChangeShapeType="1"/>
              </p:cNvSpPr>
              <p:nvPr/>
            </p:nvSpPr>
            <p:spPr bwMode="auto">
              <a:xfrm flipH="1">
                <a:off x="11368847" y="2268278"/>
                <a:ext cx="115252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 name="Rectangle 359"/>
              <p:cNvSpPr>
                <a:spLocks noChangeArrowheads="1"/>
              </p:cNvSpPr>
              <p:nvPr/>
            </p:nvSpPr>
            <p:spPr bwMode="auto">
              <a:xfrm>
                <a:off x="11692697" y="2344478"/>
                <a:ext cx="104775" cy="47625"/>
              </a:xfrm>
              <a:prstGeom prst="rect">
                <a:avLst/>
              </a:prstGeom>
              <a:solidFill>
                <a:srgbClr val="EE863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0" name="Rectangle 360"/>
              <p:cNvSpPr>
                <a:spLocks noChangeArrowheads="1"/>
              </p:cNvSpPr>
              <p:nvPr/>
            </p:nvSpPr>
            <p:spPr bwMode="auto">
              <a:xfrm>
                <a:off x="11749847" y="2287328"/>
                <a:ext cx="104775" cy="47625"/>
              </a:xfrm>
              <a:prstGeom prst="rect">
                <a:avLst/>
              </a:prstGeom>
              <a:solidFill>
                <a:srgbClr val="EE863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 name="Rectangle 361"/>
              <p:cNvSpPr>
                <a:spLocks noChangeArrowheads="1"/>
              </p:cNvSpPr>
              <p:nvPr/>
            </p:nvSpPr>
            <p:spPr bwMode="auto">
              <a:xfrm>
                <a:off x="11635547" y="2287328"/>
                <a:ext cx="104775" cy="47625"/>
              </a:xfrm>
              <a:prstGeom prst="rect">
                <a:avLst/>
              </a:prstGeom>
              <a:solidFill>
                <a:srgbClr val="EE863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2" name="Rectangle 362"/>
              <p:cNvSpPr>
                <a:spLocks noChangeArrowheads="1"/>
              </p:cNvSpPr>
              <p:nvPr/>
            </p:nvSpPr>
            <p:spPr bwMode="auto">
              <a:xfrm>
                <a:off x="11702222" y="3346191"/>
                <a:ext cx="104775" cy="47625"/>
              </a:xfrm>
              <a:prstGeom prst="rect">
                <a:avLst/>
              </a:prstGeom>
              <a:solidFill>
                <a:srgbClr val="EE863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3" name="Rectangle 363"/>
              <p:cNvSpPr>
                <a:spLocks noChangeArrowheads="1"/>
              </p:cNvSpPr>
              <p:nvPr/>
            </p:nvSpPr>
            <p:spPr bwMode="auto">
              <a:xfrm>
                <a:off x="11759372" y="3289041"/>
                <a:ext cx="104775" cy="47625"/>
              </a:xfrm>
              <a:prstGeom prst="rect">
                <a:avLst/>
              </a:prstGeom>
              <a:solidFill>
                <a:srgbClr val="EE863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4" name="Rectangle 364"/>
              <p:cNvSpPr>
                <a:spLocks noChangeArrowheads="1"/>
              </p:cNvSpPr>
              <p:nvPr/>
            </p:nvSpPr>
            <p:spPr bwMode="auto">
              <a:xfrm>
                <a:off x="11645072" y="3289041"/>
                <a:ext cx="104775" cy="47625"/>
              </a:xfrm>
              <a:prstGeom prst="rect">
                <a:avLst/>
              </a:prstGeom>
              <a:solidFill>
                <a:srgbClr val="EE863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5" name="Rectangle 365"/>
              <p:cNvSpPr>
                <a:spLocks noChangeArrowheads="1"/>
              </p:cNvSpPr>
              <p:nvPr/>
            </p:nvSpPr>
            <p:spPr bwMode="auto">
              <a:xfrm>
                <a:off x="11368847" y="3412866"/>
                <a:ext cx="1152525" cy="552450"/>
              </a:xfrm>
              <a:prstGeom prst="rect">
                <a:avLst/>
              </a:prstGeom>
              <a:solidFill>
                <a:srgbClr val="989C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6" name="Rectangle 366"/>
              <p:cNvSpPr>
                <a:spLocks noChangeArrowheads="1"/>
              </p:cNvSpPr>
              <p:nvPr/>
            </p:nvSpPr>
            <p:spPr bwMode="auto">
              <a:xfrm>
                <a:off x="11368847" y="3412866"/>
                <a:ext cx="1152525"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7" name="Rectangle 367"/>
              <p:cNvSpPr>
                <a:spLocks noChangeArrowheads="1"/>
              </p:cNvSpPr>
              <p:nvPr/>
            </p:nvSpPr>
            <p:spPr bwMode="auto">
              <a:xfrm>
                <a:off x="12378497" y="3173153"/>
                <a:ext cx="114300" cy="58738"/>
              </a:xfrm>
              <a:prstGeom prst="rect">
                <a:avLst/>
              </a:prstGeom>
              <a:solidFill>
                <a:srgbClr val="EE863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8" name="Rectangle 368"/>
              <p:cNvSpPr>
                <a:spLocks noChangeArrowheads="1"/>
              </p:cNvSpPr>
              <p:nvPr/>
            </p:nvSpPr>
            <p:spPr bwMode="auto">
              <a:xfrm>
                <a:off x="11435522" y="2811203"/>
                <a:ext cx="104775" cy="57150"/>
              </a:xfrm>
              <a:prstGeom prst="rect">
                <a:avLst/>
              </a:prstGeom>
              <a:solidFill>
                <a:srgbClr val="EE863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9" name="Rectangle 369"/>
              <p:cNvSpPr>
                <a:spLocks noChangeArrowheads="1"/>
              </p:cNvSpPr>
              <p:nvPr/>
            </p:nvSpPr>
            <p:spPr bwMode="auto">
              <a:xfrm>
                <a:off x="11483147" y="2963603"/>
                <a:ext cx="190500" cy="315913"/>
              </a:xfrm>
              <a:prstGeom prst="rect">
                <a:avLst/>
              </a:prstGeom>
              <a:solidFill>
                <a:srgbClr val="4F50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0" name="Rectangle 370"/>
              <p:cNvSpPr>
                <a:spLocks noChangeArrowheads="1"/>
              </p:cNvSpPr>
              <p:nvPr/>
            </p:nvSpPr>
            <p:spPr bwMode="auto">
              <a:xfrm>
                <a:off x="11483147" y="3135053"/>
                <a:ext cx="200025"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1" name="Freeform 371"/>
              <p:cNvSpPr>
                <a:spLocks noEditPoints="1"/>
              </p:cNvSpPr>
              <p:nvPr/>
            </p:nvSpPr>
            <p:spPr bwMode="auto">
              <a:xfrm>
                <a:off x="11473622" y="2954078"/>
                <a:ext cx="209550" cy="334963"/>
              </a:xfrm>
              <a:custGeom>
                <a:avLst/>
                <a:gdLst>
                  <a:gd name="T0" fmla="*/ 0 w 132"/>
                  <a:gd name="T1" fmla="*/ 211 h 211"/>
                  <a:gd name="T2" fmla="*/ 132 w 132"/>
                  <a:gd name="T3" fmla="*/ 211 h 211"/>
                  <a:gd name="T4" fmla="*/ 132 w 132"/>
                  <a:gd name="T5" fmla="*/ 0 h 211"/>
                  <a:gd name="T6" fmla="*/ 0 w 132"/>
                  <a:gd name="T7" fmla="*/ 0 h 211"/>
                  <a:gd name="T8" fmla="*/ 0 w 132"/>
                  <a:gd name="T9" fmla="*/ 211 h 211"/>
                  <a:gd name="T10" fmla="*/ 12 w 132"/>
                  <a:gd name="T11" fmla="*/ 12 h 211"/>
                  <a:gd name="T12" fmla="*/ 120 w 132"/>
                  <a:gd name="T13" fmla="*/ 12 h 211"/>
                  <a:gd name="T14" fmla="*/ 120 w 132"/>
                  <a:gd name="T15" fmla="*/ 199 h 211"/>
                  <a:gd name="T16" fmla="*/ 12 w 132"/>
                  <a:gd name="T17" fmla="*/ 199 h 211"/>
                  <a:gd name="T18" fmla="*/ 12 w 132"/>
                  <a:gd name="T19" fmla="*/ 12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211">
                    <a:moveTo>
                      <a:pt x="0" y="211"/>
                    </a:moveTo>
                    <a:lnTo>
                      <a:pt x="132" y="211"/>
                    </a:lnTo>
                    <a:lnTo>
                      <a:pt x="132" y="0"/>
                    </a:lnTo>
                    <a:lnTo>
                      <a:pt x="0" y="0"/>
                    </a:lnTo>
                    <a:lnTo>
                      <a:pt x="0" y="211"/>
                    </a:lnTo>
                    <a:close/>
                    <a:moveTo>
                      <a:pt x="12" y="12"/>
                    </a:moveTo>
                    <a:lnTo>
                      <a:pt x="120" y="12"/>
                    </a:lnTo>
                    <a:lnTo>
                      <a:pt x="120" y="199"/>
                    </a:lnTo>
                    <a:lnTo>
                      <a:pt x="12" y="199"/>
                    </a:lnTo>
                    <a:lnTo>
                      <a:pt x="12" y="12"/>
                    </a:lnTo>
                    <a:close/>
                  </a:path>
                </a:pathLst>
              </a:custGeom>
              <a:solidFill>
                <a:srgbClr val="DF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2" name="Rectangle 372"/>
              <p:cNvSpPr>
                <a:spLocks noChangeArrowheads="1"/>
              </p:cNvSpPr>
              <p:nvPr/>
            </p:nvSpPr>
            <p:spPr bwMode="auto">
              <a:xfrm>
                <a:off x="11464097" y="2954078"/>
                <a:ext cx="228600" cy="9525"/>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3" name="Rectangle 373"/>
              <p:cNvSpPr>
                <a:spLocks noChangeArrowheads="1"/>
              </p:cNvSpPr>
              <p:nvPr/>
            </p:nvSpPr>
            <p:spPr bwMode="auto">
              <a:xfrm>
                <a:off x="11454572" y="3289041"/>
                <a:ext cx="247650" cy="28575"/>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4" name="Rectangle 374"/>
              <p:cNvSpPr>
                <a:spLocks noChangeArrowheads="1"/>
              </p:cNvSpPr>
              <p:nvPr/>
            </p:nvSpPr>
            <p:spPr bwMode="auto">
              <a:xfrm>
                <a:off x="11854622" y="2963603"/>
                <a:ext cx="180975" cy="315913"/>
              </a:xfrm>
              <a:prstGeom prst="rect">
                <a:avLst/>
              </a:prstGeom>
              <a:solidFill>
                <a:srgbClr val="4F50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5" name="Rectangle 375"/>
              <p:cNvSpPr>
                <a:spLocks noChangeArrowheads="1"/>
              </p:cNvSpPr>
              <p:nvPr/>
            </p:nvSpPr>
            <p:spPr bwMode="auto">
              <a:xfrm>
                <a:off x="11845097" y="3135053"/>
                <a:ext cx="200025"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6" name="Freeform 376"/>
              <p:cNvSpPr>
                <a:spLocks noEditPoints="1"/>
              </p:cNvSpPr>
              <p:nvPr/>
            </p:nvSpPr>
            <p:spPr bwMode="auto">
              <a:xfrm>
                <a:off x="11845097" y="2954078"/>
                <a:ext cx="200025" cy="334963"/>
              </a:xfrm>
              <a:custGeom>
                <a:avLst/>
                <a:gdLst>
                  <a:gd name="T0" fmla="*/ 0 w 126"/>
                  <a:gd name="T1" fmla="*/ 211 h 211"/>
                  <a:gd name="T2" fmla="*/ 126 w 126"/>
                  <a:gd name="T3" fmla="*/ 211 h 211"/>
                  <a:gd name="T4" fmla="*/ 126 w 126"/>
                  <a:gd name="T5" fmla="*/ 0 h 211"/>
                  <a:gd name="T6" fmla="*/ 0 w 126"/>
                  <a:gd name="T7" fmla="*/ 0 h 211"/>
                  <a:gd name="T8" fmla="*/ 0 w 126"/>
                  <a:gd name="T9" fmla="*/ 211 h 211"/>
                  <a:gd name="T10" fmla="*/ 12 w 126"/>
                  <a:gd name="T11" fmla="*/ 12 h 211"/>
                  <a:gd name="T12" fmla="*/ 114 w 126"/>
                  <a:gd name="T13" fmla="*/ 12 h 211"/>
                  <a:gd name="T14" fmla="*/ 114 w 126"/>
                  <a:gd name="T15" fmla="*/ 199 h 211"/>
                  <a:gd name="T16" fmla="*/ 12 w 126"/>
                  <a:gd name="T17" fmla="*/ 199 h 211"/>
                  <a:gd name="T18" fmla="*/ 12 w 126"/>
                  <a:gd name="T19" fmla="*/ 12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211">
                    <a:moveTo>
                      <a:pt x="0" y="211"/>
                    </a:moveTo>
                    <a:lnTo>
                      <a:pt x="126" y="211"/>
                    </a:lnTo>
                    <a:lnTo>
                      <a:pt x="126" y="0"/>
                    </a:lnTo>
                    <a:lnTo>
                      <a:pt x="0" y="0"/>
                    </a:lnTo>
                    <a:lnTo>
                      <a:pt x="0" y="211"/>
                    </a:lnTo>
                    <a:close/>
                    <a:moveTo>
                      <a:pt x="12" y="12"/>
                    </a:moveTo>
                    <a:lnTo>
                      <a:pt x="114" y="12"/>
                    </a:lnTo>
                    <a:lnTo>
                      <a:pt x="114" y="199"/>
                    </a:lnTo>
                    <a:lnTo>
                      <a:pt x="12" y="199"/>
                    </a:lnTo>
                    <a:lnTo>
                      <a:pt x="12" y="12"/>
                    </a:lnTo>
                    <a:close/>
                  </a:path>
                </a:pathLst>
              </a:custGeom>
              <a:solidFill>
                <a:srgbClr val="DF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7" name="Rectangle 377"/>
              <p:cNvSpPr>
                <a:spLocks noChangeArrowheads="1"/>
              </p:cNvSpPr>
              <p:nvPr/>
            </p:nvSpPr>
            <p:spPr bwMode="auto">
              <a:xfrm>
                <a:off x="11835572" y="2954078"/>
                <a:ext cx="219075" cy="9525"/>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8" name="Rectangle 378"/>
              <p:cNvSpPr>
                <a:spLocks noChangeArrowheads="1"/>
              </p:cNvSpPr>
              <p:nvPr/>
            </p:nvSpPr>
            <p:spPr bwMode="auto">
              <a:xfrm>
                <a:off x="11816522" y="3289041"/>
                <a:ext cx="257175" cy="28575"/>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9" name="Rectangle 379"/>
              <p:cNvSpPr>
                <a:spLocks noChangeArrowheads="1"/>
              </p:cNvSpPr>
              <p:nvPr/>
            </p:nvSpPr>
            <p:spPr bwMode="auto">
              <a:xfrm>
                <a:off x="12216572" y="2963603"/>
                <a:ext cx="180975" cy="315913"/>
              </a:xfrm>
              <a:prstGeom prst="rect">
                <a:avLst/>
              </a:prstGeom>
              <a:solidFill>
                <a:srgbClr val="4F50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0" name="Rectangle 380"/>
              <p:cNvSpPr>
                <a:spLocks noChangeArrowheads="1"/>
              </p:cNvSpPr>
              <p:nvPr/>
            </p:nvSpPr>
            <p:spPr bwMode="auto">
              <a:xfrm>
                <a:off x="12207047" y="3135053"/>
                <a:ext cx="200025"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1" name="Freeform 381"/>
              <p:cNvSpPr>
                <a:spLocks noEditPoints="1"/>
              </p:cNvSpPr>
              <p:nvPr/>
            </p:nvSpPr>
            <p:spPr bwMode="auto">
              <a:xfrm>
                <a:off x="12207047" y="2954078"/>
                <a:ext cx="200025" cy="334963"/>
              </a:xfrm>
              <a:custGeom>
                <a:avLst/>
                <a:gdLst>
                  <a:gd name="T0" fmla="*/ 0 w 126"/>
                  <a:gd name="T1" fmla="*/ 211 h 211"/>
                  <a:gd name="T2" fmla="*/ 126 w 126"/>
                  <a:gd name="T3" fmla="*/ 211 h 211"/>
                  <a:gd name="T4" fmla="*/ 126 w 126"/>
                  <a:gd name="T5" fmla="*/ 0 h 211"/>
                  <a:gd name="T6" fmla="*/ 0 w 126"/>
                  <a:gd name="T7" fmla="*/ 0 h 211"/>
                  <a:gd name="T8" fmla="*/ 0 w 126"/>
                  <a:gd name="T9" fmla="*/ 211 h 211"/>
                  <a:gd name="T10" fmla="*/ 12 w 126"/>
                  <a:gd name="T11" fmla="*/ 12 h 211"/>
                  <a:gd name="T12" fmla="*/ 114 w 126"/>
                  <a:gd name="T13" fmla="*/ 12 h 211"/>
                  <a:gd name="T14" fmla="*/ 114 w 126"/>
                  <a:gd name="T15" fmla="*/ 199 h 211"/>
                  <a:gd name="T16" fmla="*/ 12 w 126"/>
                  <a:gd name="T17" fmla="*/ 199 h 211"/>
                  <a:gd name="T18" fmla="*/ 12 w 126"/>
                  <a:gd name="T19" fmla="*/ 12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211">
                    <a:moveTo>
                      <a:pt x="0" y="211"/>
                    </a:moveTo>
                    <a:lnTo>
                      <a:pt x="126" y="211"/>
                    </a:lnTo>
                    <a:lnTo>
                      <a:pt x="126" y="0"/>
                    </a:lnTo>
                    <a:lnTo>
                      <a:pt x="0" y="0"/>
                    </a:lnTo>
                    <a:lnTo>
                      <a:pt x="0" y="211"/>
                    </a:lnTo>
                    <a:close/>
                    <a:moveTo>
                      <a:pt x="12" y="12"/>
                    </a:moveTo>
                    <a:lnTo>
                      <a:pt x="114" y="12"/>
                    </a:lnTo>
                    <a:lnTo>
                      <a:pt x="114" y="199"/>
                    </a:lnTo>
                    <a:lnTo>
                      <a:pt x="12" y="199"/>
                    </a:lnTo>
                    <a:lnTo>
                      <a:pt x="12" y="12"/>
                    </a:lnTo>
                    <a:close/>
                  </a:path>
                </a:pathLst>
              </a:custGeom>
              <a:solidFill>
                <a:srgbClr val="DF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2" name="Rectangle 382"/>
              <p:cNvSpPr>
                <a:spLocks noChangeArrowheads="1"/>
              </p:cNvSpPr>
              <p:nvPr/>
            </p:nvSpPr>
            <p:spPr bwMode="auto">
              <a:xfrm>
                <a:off x="12197522" y="2954078"/>
                <a:ext cx="219075" cy="9525"/>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3" name="Rectangle 383"/>
              <p:cNvSpPr>
                <a:spLocks noChangeArrowheads="1"/>
              </p:cNvSpPr>
              <p:nvPr/>
            </p:nvSpPr>
            <p:spPr bwMode="auto">
              <a:xfrm>
                <a:off x="12178472" y="3289041"/>
                <a:ext cx="257175" cy="28575"/>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4" name="Rectangle 384"/>
              <p:cNvSpPr>
                <a:spLocks noChangeArrowheads="1"/>
              </p:cNvSpPr>
              <p:nvPr/>
            </p:nvSpPr>
            <p:spPr bwMode="auto">
              <a:xfrm>
                <a:off x="11483147" y="2420678"/>
                <a:ext cx="190500" cy="304800"/>
              </a:xfrm>
              <a:prstGeom prst="rect">
                <a:avLst/>
              </a:prstGeom>
              <a:solidFill>
                <a:srgbClr val="4F50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5" name="Rectangle 385"/>
              <p:cNvSpPr>
                <a:spLocks noChangeArrowheads="1"/>
              </p:cNvSpPr>
              <p:nvPr/>
            </p:nvSpPr>
            <p:spPr bwMode="auto">
              <a:xfrm>
                <a:off x="11483147" y="2582603"/>
                <a:ext cx="200025"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6" name="Freeform 386"/>
              <p:cNvSpPr>
                <a:spLocks noEditPoints="1"/>
              </p:cNvSpPr>
              <p:nvPr/>
            </p:nvSpPr>
            <p:spPr bwMode="auto">
              <a:xfrm>
                <a:off x="11473622" y="2411153"/>
                <a:ext cx="209550" cy="323850"/>
              </a:xfrm>
              <a:custGeom>
                <a:avLst/>
                <a:gdLst>
                  <a:gd name="T0" fmla="*/ 0 w 132"/>
                  <a:gd name="T1" fmla="*/ 204 h 204"/>
                  <a:gd name="T2" fmla="*/ 132 w 132"/>
                  <a:gd name="T3" fmla="*/ 204 h 204"/>
                  <a:gd name="T4" fmla="*/ 132 w 132"/>
                  <a:gd name="T5" fmla="*/ 0 h 204"/>
                  <a:gd name="T6" fmla="*/ 0 w 132"/>
                  <a:gd name="T7" fmla="*/ 0 h 204"/>
                  <a:gd name="T8" fmla="*/ 0 w 132"/>
                  <a:gd name="T9" fmla="*/ 204 h 204"/>
                  <a:gd name="T10" fmla="*/ 12 w 132"/>
                  <a:gd name="T11" fmla="*/ 12 h 204"/>
                  <a:gd name="T12" fmla="*/ 120 w 132"/>
                  <a:gd name="T13" fmla="*/ 12 h 204"/>
                  <a:gd name="T14" fmla="*/ 120 w 132"/>
                  <a:gd name="T15" fmla="*/ 192 h 204"/>
                  <a:gd name="T16" fmla="*/ 12 w 132"/>
                  <a:gd name="T17" fmla="*/ 192 h 204"/>
                  <a:gd name="T18" fmla="*/ 12 w 132"/>
                  <a:gd name="T19"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204">
                    <a:moveTo>
                      <a:pt x="0" y="204"/>
                    </a:moveTo>
                    <a:lnTo>
                      <a:pt x="132" y="204"/>
                    </a:lnTo>
                    <a:lnTo>
                      <a:pt x="132" y="0"/>
                    </a:lnTo>
                    <a:lnTo>
                      <a:pt x="0" y="0"/>
                    </a:lnTo>
                    <a:lnTo>
                      <a:pt x="0" y="204"/>
                    </a:lnTo>
                    <a:close/>
                    <a:moveTo>
                      <a:pt x="12" y="12"/>
                    </a:moveTo>
                    <a:lnTo>
                      <a:pt x="120" y="12"/>
                    </a:lnTo>
                    <a:lnTo>
                      <a:pt x="120" y="192"/>
                    </a:lnTo>
                    <a:lnTo>
                      <a:pt x="12" y="192"/>
                    </a:lnTo>
                    <a:lnTo>
                      <a:pt x="12" y="12"/>
                    </a:lnTo>
                    <a:close/>
                  </a:path>
                </a:pathLst>
              </a:custGeom>
              <a:solidFill>
                <a:srgbClr val="DF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7" name="Rectangle 387"/>
              <p:cNvSpPr>
                <a:spLocks noChangeArrowheads="1"/>
              </p:cNvSpPr>
              <p:nvPr/>
            </p:nvSpPr>
            <p:spPr bwMode="auto">
              <a:xfrm>
                <a:off x="11464097" y="2401628"/>
                <a:ext cx="228600"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8" name="Rectangle 388"/>
              <p:cNvSpPr>
                <a:spLocks noChangeArrowheads="1"/>
              </p:cNvSpPr>
              <p:nvPr/>
            </p:nvSpPr>
            <p:spPr bwMode="auto">
              <a:xfrm>
                <a:off x="11454572" y="2735003"/>
                <a:ext cx="247650" cy="3810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9" name="Rectangle 389"/>
              <p:cNvSpPr>
                <a:spLocks noChangeArrowheads="1"/>
              </p:cNvSpPr>
              <p:nvPr/>
            </p:nvSpPr>
            <p:spPr bwMode="auto">
              <a:xfrm>
                <a:off x="11854622" y="2420678"/>
                <a:ext cx="180975" cy="304800"/>
              </a:xfrm>
              <a:prstGeom prst="rect">
                <a:avLst/>
              </a:prstGeom>
              <a:solidFill>
                <a:srgbClr val="4F50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0" name="Rectangle 390"/>
              <p:cNvSpPr>
                <a:spLocks noChangeArrowheads="1"/>
              </p:cNvSpPr>
              <p:nvPr/>
            </p:nvSpPr>
            <p:spPr bwMode="auto">
              <a:xfrm>
                <a:off x="11845097" y="2582603"/>
                <a:ext cx="200025"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1" name="Freeform 391"/>
              <p:cNvSpPr>
                <a:spLocks noEditPoints="1"/>
              </p:cNvSpPr>
              <p:nvPr/>
            </p:nvSpPr>
            <p:spPr bwMode="auto">
              <a:xfrm>
                <a:off x="11845097" y="2411153"/>
                <a:ext cx="200025" cy="323850"/>
              </a:xfrm>
              <a:custGeom>
                <a:avLst/>
                <a:gdLst>
                  <a:gd name="T0" fmla="*/ 0 w 126"/>
                  <a:gd name="T1" fmla="*/ 204 h 204"/>
                  <a:gd name="T2" fmla="*/ 126 w 126"/>
                  <a:gd name="T3" fmla="*/ 204 h 204"/>
                  <a:gd name="T4" fmla="*/ 126 w 126"/>
                  <a:gd name="T5" fmla="*/ 0 h 204"/>
                  <a:gd name="T6" fmla="*/ 0 w 126"/>
                  <a:gd name="T7" fmla="*/ 0 h 204"/>
                  <a:gd name="T8" fmla="*/ 0 w 126"/>
                  <a:gd name="T9" fmla="*/ 204 h 204"/>
                  <a:gd name="T10" fmla="*/ 12 w 126"/>
                  <a:gd name="T11" fmla="*/ 12 h 204"/>
                  <a:gd name="T12" fmla="*/ 114 w 126"/>
                  <a:gd name="T13" fmla="*/ 12 h 204"/>
                  <a:gd name="T14" fmla="*/ 114 w 126"/>
                  <a:gd name="T15" fmla="*/ 192 h 204"/>
                  <a:gd name="T16" fmla="*/ 12 w 126"/>
                  <a:gd name="T17" fmla="*/ 192 h 204"/>
                  <a:gd name="T18" fmla="*/ 12 w 126"/>
                  <a:gd name="T19"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204">
                    <a:moveTo>
                      <a:pt x="0" y="204"/>
                    </a:moveTo>
                    <a:lnTo>
                      <a:pt x="126" y="204"/>
                    </a:lnTo>
                    <a:lnTo>
                      <a:pt x="126" y="0"/>
                    </a:lnTo>
                    <a:lnTo>
                      <a:pt x="0" y="0"/>
                    </a:lnTo>
                    <a:lnTo>
                      <a:pt x="0" y="204"/>
                    </a:lnTo>
                    <a:close/>
                    <a:moveTo>
                      <a:pt x="12" y="12"/>
                    </a:moveTo>
                    <a:lnTo>
                      <a:pt x="114" y="12"/>
                    </a:lnTo>
                    <a:lnTo>
                      <a:pt x="114" y="192"/>
                    </a:lnTo>
                    <a:lnTo>
                      <a:pt x="12" y="192"/>
                    </a:lnTo>
                    <a:lnTo>
                      <a:pt x="12" y="12"/>
                    </a:lnTo>
                    <a:close/>
                  </a:path>
                </a:pathLst>
              </a:custGeom>
              <a:solidFill>
                <a:srgbClr val="DF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2" name="Rectangle 392"/>
              <p:cNvSpPr>
                <a:spLocks noChangeArrowheads="1"/>
              </p:cNvSpPr>
              <p:nvPr/>
            </p:nvSpPr>
            <p:spPr bwMode="auto">
              <a:xfrm>
                <a:off x="11835572" y="2401628"/>
                <a:ext cx="219075"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3" name="Rectangle 393"/>
              <p:cNvSpPr>
                <a:spLocks noChangeArrowheads="1"/>
              </p:cNvSpPr>
              <p:nvPr/>
            </p:nvSpPr>
            <p:spPr bwMode="auto">
              <a:xfrm>
                <a:off x="11816522" y="2735003"/>
                <a:ext cx="257175" cy="3810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4" name="Rectangle 394"/>
              <p:cNvSpPr>
                <a:spLocks noChangeArrowheads="1"/>
              </p:cNvSpPr>
              <p:nvPr/>
            </p:nvSpPr>
            <p:spPr bwMode="auto">
              <a:xfrm>
                <a:off x="12216572" y="2420678"/>
                <a:ext cx="180975" cy="304800"/>
              </a:xfrm>
              <a:prstGeom prst="rect">
                <a:avLst/>
              </a:prstGeom>
              <a:solidFill>
                <a:srgbClr val="4F50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5" name="Rectangle 395"/>
              <p:cNvSpPr>
                <a:spLocks noChangeArrowheads="1"/>
              </p:cNvSpPr>
              <p:nvPr/>
            </p:nvSpPr>
            <p:spPr bwMode="auto">
              <a:xfrm>
                <a:off x="12207047" y="2582603"/>
                <a:ext cx="200025"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6" name="Freeform 396"/>
              <p:cNvSpPr>
                <a:spLocks noEditPoints="1"/>
              </p:cNvSpPr>
              <p:nvPr/>
            </p:nvSpPr>
            <p:spPr bwMode="auto">
              <a:xfrm>
                <a:off x="12207047" y="2411153"/>
                <a:ext cx="200025" cy="323850"/>
              </a:xfrm>
              <a:custGeom>
                <a:avLst/>
                <a:gdLst>
                  <a:gd name="T0" fmla="*/ 0 w 126"/>
                  <a:gd name="T1" fmla="*/ 204 h 204"/>
                  <a:gd name="T2" fmla="*/ 126 w 126"/>
                  <a:gd name="T3" fmla="*/ 204 h 204"/>
                  <a:gd name="T4" fmla="*/ 126 w 126"/>
                  <a:gd name="T5" fmla="*/ 0 h 204"/>
                  <a:gd name="T6" fmla="*/ 0 w 126"/>
                  <a:gd name="T7" fmla="*/ 0 h 204"/>
                  <a:gd name="T8" fmla="*/ 0 w 126"/>
                  <a:gd name="T9" fmla="*/ 204 h 204"/>
                  <a:gd name="T10" fmla="*/ 12 w 126"/>
                  <a:gd name="T11" fmla="*/ 12 h 204"/>
                  <a:gd name="T12" fmla="*/ 114 w 126"/>
                  <a:gd name="T13" fmla="*/ 12 h 204"/>
                  <a:gd name="T14" fmla="*/ 114 w 126"/>
                  <a:gd name="T15" fmla="*/ 192 h 204"/>
                  <a:gd name="T16" fmla="*/ 12 w 126"/>
                  <a:gd name="T17" fmla="*/ 192 h 204"/>
                  <a:gd name="T18" fmla="*/ 12 w 126"/>
                  <a:gd name="T19"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204">
                    <a:moveTo>
                      <a:pt x="0" y="204"/>
                    </a:moveTo>
                    <a:lnTo>
                      <a:pt x="126" y="204"/>
                    </a:lnTo>
                    <a:lnTo>
                      <a:pt x="126" y="0"/>
                    </a:lnTo>
                    <a:lnTo>
                      <a:pt x="0" y="0"/>
                    </a:lnTo>
                    <a:lnTo>
                      <a:pt x="0" y="204"/>
                    </a:lnTo>
                    <a:close/>
                    <a:moveTo>
                      <a:pt x="12" y="12"/>
                    </a:moveTo>
                    <a:lnTo>
                      <a:pt x="114" y="12"/>
                    </a:lnTo>
                    <a:lnTo>
                      <a:pt x="114" y="192"/>
                    </a:lnTo>
                    <a:lnTo>
                      <a:pt x="12" y="192"/>
                    </a:lnTo>
                    <a:lnTo>
                      <a:pt x="12" y="12"/>
                    </a:lnTo>
                    <a:close/>
                  </a:path>
                </a:pathLst>
              </a:custGeom>
              <a:solidFill>
                <a:srgbClr val="DF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7" name="Rectangle 397"/>
              <p:cNvSpPr>
                <a:spLocks noChangeArrowheads="1"/>
              </p:cNvSpPr>
              <p:nvPr/>
            </p:nvSpPr>
            <p:spPr bwMode="auto">
              <a:xfrm>
                <a:off x="12197522" y="2401628"/>
                <a:ext cx="219075"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8" name="Rectangle 398"/>
              <p:cNvSpPr>
                <a:spLocks noChangeArrowheads="1"/>
              </p:cNvSpPr>
              <p:nvPr/>
            </p:nvSpPr>
            <p:spPr bwMode="auto">
              <a:xfrm>
                <a:off x="12178472" y="2735003"/>
                <a:ext cx="257175" cy="3810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9" name="Rectangle 399"/>
              <p:cNvSpPr>
                <a:spLocks noChangeArrowheads="1"/>
              </p:cNvSpPr>
              <p:nvPr/>
            </p:nvSpPr>
            <p:spPr bwMode="auto">
              <a:xfrm>
                <a:off x="11416472" y="3517641"/>
                <a:ext cx="352425" cy="342900"/>
              </a:xfrm>
              <a:prstGeom prst="rect">
                <a:avLst/>
              </a:prstGeom>
              <a:solidFill>
                <a:srgbClr val="4F50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0" name="Freeform 400"/>
              <p:cNvSpPr>
                <a:spLocks noEditPoints="1"/>
              </p:cNvSpPr>
              <p:nvPr/>
            </p:nvSpPr>
            <p:spPr bwMode="auto">
              <a:xfrm>
                <a:off x="11406947" y="3508116"/>
                <a:ext cx="371475" cy="361950"/>
              </a:xfrm>
              <a:custGeom>
                <a:avLst/>
                <a:gdLst>
                  <a:gd name="T0" fmla="*/ 234 w 234"/>
                  <a:gd name="T1" fmla="*/ 228 h 228"/>
                  <a:gd name="T2" fmla="*/ 0 w 234"/>
                  <a:gd name="T3" fmla="*/ 0 h 228"/>
                  <a:gd name="T4" fmla="*/ 180 w 234"/>
                  <a:gd name="T5" fmla="*/ 12 h 228"/>
                  <a:gd name="T6" fmla="*/ 222 w 234"/>
                  <a:gd name="T7" fmla="*/ 60 h 228"/>
                  <a:gd name="T8" fmla="*/ 180 w 234"/>
                  <a:gd name="T9" fmla="*/ 12 h 228"/>
                  <a:gd name="T10" fmla="*/ 222 w 234"/>
                  <a:gd name="T11" fmla="*/ 66 h 228"/>
                  <a:gd name="T12" fmla="*/ 180 w 234"/>
                  <a:gd name="T13" fmla="*/ 108 h 228"/>
                  <a:gd name="T14" fmla="*/ 180 w 234"/>
                  <a:gd name="T15" fmla="*/ 120 h 228"/>
                  <a:gd name="T16" fmla="*/ 222 w 234"/>
                  <a:gd name="T17" fmla="*/ 162 h 228"/>
                  <a:gd name="T18" fmla="*/ 180 w 234"/>
                  <a:gd name="T19" fmla="*/ 120 h 228"/>
                  <a:gd name="T20" fmla="*/ 222 w 234"/>
                  <a:gd name="T21" fmla="*/ 168 h 228"/>
                  <a:gd name="T22" fmla="*/ 180 w 234"/>
                  <a:gd name="T23" fmla="*/ 216 h 228"/>
                  <a:gd name="T24" fmla="*/ 120 w 234"/>
                  <a:gd name="T25" fmla="*/ 12 h 228"/>
                  <a:gd name="T26" fmla="*/ 174 w 234"/>
                  <a:gd name="T27" fmla="*/ 60 h 228"/>
                  <a:gd name="T28" fmla="*/ 120 w 234"/>
                  <a:gd name="T29" fmla="*/ 12 h 228"/>
                  <a:gd name="T30" fmla="*/ 174 w 234"/>
                  <a:gd name="T31" fmla="*/ 66 h 228"/>
                  <a:gd name="T32" fmla="*/ 120 w 234"/>
                  <a:gd name="T33" fmla="*/ 108 h 228"/>
                  <a:gd name="T34" fmla="*/ 120 w 234"/>
                  <a:gd name="T35" fmla="*/ 120 h 228"/>
                  <a:gd name="T36" fmla="*/ 174 w 234"/>
                  <a:gd name="T37" fmla="*/ 162 h 228"/>
                  <a:gd name="T38" fmla="*/ 120 w 234"/>
                  <a:gd name="T39" fmla="*/ 120 h 228"/>
                  <a:gd name="T40" fmla="*/ 174 w 234"/>
                  <a:gd name="T41" fmla="*/ 168 h 228"/>
                  <a:gd name="T42" fmla="*/ 120 w 234"/>
                  <a:gd name="T43" fmla="*/ 216 h 228"/>
                  <a:gd name="T44" fmla="*/ 66 w 234"/>
                  <a:gd name="T45" fmla="*/ 12 h 228"/>
                  <a:gd name="T46" fmla="*/ 114 w 234"/>
                  <a:gd name="T47" fmla="*/ 60 h 228"/>
                  <a:gd name="T48" fmla="*/ 66 w 234"/>
                  <a:gd name="T49" fmla="*/ 12 h 228"/>
                  <a:gd name="T50" fmla="*/ 114 w 234"/>
                  <a:gd name="T51" fmla="*/ 66 h 228"/>
                  <a:gd name="T52" fmla="*/ 66 w 234"/>
                  <a:gd name="T53" fmla="*/ 108 h 228"/>
                  <a:gd name="T54" fmla="*/ 66 w 234"/>
                  <a:gd name="T55" fmla="*/ 120 h 228"/>
                  <a:gd name="T56" fmla="*/ 114 w 234"/>
                  <a:gd name="T57" fmla="*/ 162 h 228"/>
                  <a:gd name="T58" fmla="*/ 66 w 234"/>
                  <a:gd name="T59" fmla="*/ 120 h 228"/>
                  <a:gd name="T60" fmla="*/ 114 w 234"/>
                  <a:gd name="T61" fmla="*/ 168 h 228"/>
                  <a:gd name="T62" fmla="*/ 66 w 234"/>
                  <a:gd name="T63" fmla="*/ 216 h 228"/>
                  <a:gd name="T64" fmla="*/ 12 w 234"/>
                  <a:gd name="T65" fmla="*/ 12 h 228"/>
                  <a:gd name="T66" fmla="*/ 60 w 234"/>
                  <a:gd name="T67" fmla="*/ 60 h 228"/>
                  <a:gd name="T68" fmla="*/ 12 w 234"/>
                  <a:gd name="T69" fmla="*/ 12 h 228"/>
                  <a:gd name="T70" fmla="*/ 60 w 234"/>
                  <a:gd name="T71" fmla="*/ 66 h 228"/>
                  <a:gd name="T72" fmla="*/ 12 w 234"/>
                  <a:gd name="T73" fmla="*/ 108 h 228"/>
                  <a:gd name="T74" fmla="*/ 12 w 234"/>
                  <a:gd name="T75" fmla="*/ 120 h 228"/>
                  <a:gd name="T76" fmla="*/ 60 w 234"/>
                  <a:gd name="T77" fmla="*/ 162 h 228"/>
                  <a:gd name="T78" fmla="*/ 12 w 234"/>
                  <a:gd name="T79" fmla="*/ 120 h 228"/>
                  <a:gd name="T80" fmla="*/ 60 w 234"/>
                  <a:gd name="T81" fmla="*/ 168 h 228"/>
                  <a:gd name="T82" fmla="*/ 12 w 234"/>
                  <a:gd name="T83" fmla="*/ 21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4" h="228">
                    <a:moveTo>
                      <a:pt x="0" y="228"/>
                    </a:moveTo>
                    <a:lnTo>
                      <a:pt x="234" y="228"/>
                    </a:lnTo>
                    <a:lnTo>
                      <a:pt x="234" y="0"/>
                    </a:lnTo>
                    <a:lnTo>
                      <a:pt x="0" y="0"/>
                    </a:lnTo>
                    <a:lnTo>
                      <a:pt x="0" y="228"/>
                    </a:lnTo>
                    <a:close/>
                    <a:moveTo>
                      <a:pt x="180" y="12"/>
                    </a:moveTo>
                    <a:lnTo>
                      <a:pt x="222" y="12"/>
                    </a:lnTo>
                    <a:lnTo>
                      <a:pt x="222" y="60"/>
                    </a:lnTo>
                    <a:lnTo>
                      <a:pt x="180" y="60"/>
                    </a:lnTo>
                    <a:lnTo>
                      <a:pt x="180" y="12"/>
                    </a:lnTo>
                    <a:close/>
                    <a:moveTo>
                      <a:pt x="180" y="66"/>
                    </a:moveTo>
                    <a:lnTo>
                      <a:pt x="222" y="66"/>
                    </a:lnTo>
                    <a:lnTo>
                      <a:pt x="222" y="108"/>
                    </a:lnTo>
                    <a:lnTo>
                      <a:pt x="180" y="108"/>
                    </a:lnTo>
                    <a:lnTo>
                      <a:pt x="180" y="66"/>
                    </a:lnTo>
                    <a:close/>
                    <a:moveTo>
                      <a:pt x="180" y="120"/>
                    </a:moveTo>
                    <a:lnTo>
                      <a:pt x="222" y="120"/>
                    </a:lnTo>
                    <a:lnTo>
                      <a:pt x="222" y="162"/>
                    </a:lnTo>
                    <a:lnTo>
                      <a:pt x="180" y="162"/>
                    </a:lnTo>
                    <a:lnTo>
                      <a:pt x="180" y="120"/>
                    </a:lnTo>
                    <a:close/>
                    <a:moveTo>
                      <a:pt x="180" y="168"/>
                    </a:moveTo>
                    <a:lnTo>
                      <a:pt x="222" y="168"/>
                    </a:lnTo>
                    <a:lnTo>
                      <a:pt x="222" y="216"/>
                    </a:lnTo>
                    <a:lnTo>
                      <a:pt x="180" y="216"/>
                    </a:lnTo>
                    <a:lnTo>
                      <a:pt x="180" y="168"/>
                    </a:lnTo>
                    <a:close/>
                    <a:moveTo>
                      <a:pt x="120" y="12"/>
                    </a:moveTo>
                    <a:lnTo>
                      <a:pt x="174" y="12"/>
                    </a:lnTo>
                    <a:lnTo>
                      <a:pt x="174" y="60"/>
                    </a:lnTo>
                    <a:lnTo>
                      <a:pt x="120" y="60"/>
                    </a:lnTo>
                    <a:lnTo>
                      <a:pt x="120" y="12"/>
                    </a:lnTo>
                    <a:close/>
                    <a:moveTo>
                      <a:pt x="120" y="66"/>
                    </a:moveTo>
                    <a:lnTo>
                      <a:pt x="174" y="66"/>
                    </a:lnTo>
                    <a:lnTo>
                      <a:pt x="174" y="108"/>
                    </a:lnTo>
                    <a:lnTo>
                      <a:pt x="120" y="108"/>
                    </a:lnTo>
                    <a:lnTo>
                      <a:pt x="120" y="66"/>
                    </a:lnTo>
                    <a:close/>
                    <a:moveTo>
                      <a:pt x="120" y="120"/>
                    </a:moveTo>
                    <a:lnTo>
                      <a:pt x="174" y="120"/>
                    </a:lnTo>
                    <a:lnTo>
                      <a:pt x="174" y="162"/>
                    </a:lnTo>
                    <a:lnTo>
                      <a:pt x="120" y="162"/>
                    </a:lnTo>
                    <a:lnTo>
                      <a:pt x="120" y="120"/>
                    </a:lnTo>
                    <a:close/>
                    <a:moveTo>
                      <a:pt x="120" y="168"/>
                    </a:moveTo>
                    <a:lnTo>
                      <a:pt x="174" y="168"/>
                    </a:lnTo>
                    <a:lnTo>
                      <a:pt x="174" y="216"/>
                    </a:lnTo>
                    <a:lnTo>
                      <a:pt x="120" y="216"/>
                    </a:lnTo>
                    <a:lnTo>
                      <a:pt x="120" y="168"/>
                    </a:lnTo>
                    <a:close/>
                    <a:moveTo>
                      <a:pt x="66" y="12"/>
                    </a:moveTo>
                    <a:lnTo>
                      <a:pt x="114" y="12"/>
                    </a:lnTo>
                    <a:lnTo>
                      <a:pt x="114" y="60"/>
                    </a:lnTo>
                    <a:lnTo>
                      <a:pt x="66" y="60"/>
                    </a:lnTo>
                    <a:lnTo>
                      <a:pt x="66" y="12"/>
                    </a:lnTo>
                    <a:close/>
                    <a:moveTo>
                      <a:pt x="66" y="66"/>
                    </a:moveTo>
                    <a:lnTo>
                      <a:pt x="114" y="66"/>
                    </a:lnTo>
                    <a:lnTo>
                      <a:pt x="114" y="108"/>
                    </a:lnTo>
                    <a:lnTo>
                      <a:pt x="66" y="108"/>
                    </a:lnTo>
                    <a:lnTo>
                      <a:pt x="66" y="66"/>
                    </a:lnTo>
                    <a:close/>
                    <a:moveTo>
                      <a:pt x="66" y="120"/>
                    </a:moveTo>
                    <a:lnTo>
                      <a:pt x="114" y="120"/>
                    </a:lnTo>
                    <a:lnTo>
                      <a:pt x="114" y="162"/>
                    </a:lnTo>
                    <a:lnTo>
                      <a:pt x="66" y="162"/>
                    </a:lnTo>
                    <a:lnTo>
                      <a:pt x="66" y="120"/>
                    </a:lnTo>
                    <a:close/>
                    <a:moveTo>
                      <a:pt x="66" y="168"/>
                    </a:moveTo>
                    <a:lnTo>
                      <a:pt x="114" y="168"/>
                    </a:lnTo>
                    <a:lnTo>
                      <a:pt x="114" y="216"/>
                    </a:lnTo>
                    <a:lnTo>
                      <a:pt x="66" y="216"/>
                    </a:lnTo>
                    <a:lnTo>
                      <a:pt x="66" y="168"/>
                    </a:lnTo>
                    <a:close/>
                    <a:moveTo>
                      <a:pt x="12" y="12"/>
                    </a:moveTo>
                    <a:lnTo>
                      <a:pt x="60" y="12"/>
                    </a:lnTo>
                    <a:lnTo>
                      <a:pt x="60" y="60"/>
                    </a:lnTo>
                    <a:lnTo>
                      <a:pt x="12" y="60"/>
                    </a:lnTo>
                    <a:lnTo>
                      <a:pt x="12" y="12"/>
                    </a:lnTo>
                    <a:close/>
                    <a:moveTo>
                      <a:pt x="12" y="66"/>
                    </a:moveTo>
                    <a:lnTo>
                      <a:pt x="60" y="66"/>
                    </a:lnTo>
                    <a:lnTo>
                      <a:pt x="60" y="108"/>
                    </a:lnTo>
                    <a:lnTo>
                      <a:pt x="12" y="108"/>
                    </a:lnTo>
                    <a:lnTo>
                      <a:pt x="12" y="66"/>
                    </a:lnTo>
                    <a:close/>
                    <a:moveTo>
                      <a:pt x="12" y="120"/>
                    </a:moveTo>
                    <a:lnTo>
                      <a:pt x="60" y="120"/>
                    </a:lnTo>
                    <a:lnTo>
                      <a:pt x="60" y="162"/>
                    </a:lnTo>
                    <a:lnTo>
                      <a:pt x="12" y="162"/>
                    </a:lnTo>
                    <a:lnTo>
                      <a:pt x="12" y="120"/>
                    </a:lnTo>
                    <a:close/>
                    <a:moveTo>
                      <a:pt x="12" y="168"/>
                    </a:moveTo>
                    <a:lnTo>
                      <a:pt x="60" y="168"/>
                    </a:lnTo>
                    <a:lnTo>
                      <a:pt x="60" y="216"/>
                    </a:lnTo>
                    <a:lnTo>
                      <a:pt x="12" y="216"/>
                    </a:lnTo>
                    <a:lnTo>
                      <a:pt x="12" y="168"/>
                    </a:lnTo>
                    <a:close/>
                  </a:path>
                </a:pathLst>
              </a:custGeom>
              <a:solidFill>
                <a:srgbClr val="C6C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1" name="Rectangle 401"/>
              <p:cNvSpPr>
                <a:spLocks noChangeArrowheads="1"/>
              </p:cNvSpPr>
              <p:nvPr/>
            </p:nvSpPr>
            <p:spPr bwMode="auto">
              <a:xfrm>
                <a:off x="11397422" y="3489066"/>
                <a:ext cx="400050"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2" name="Rectangle 402"/>
              <p:cNvSpPr>
                <a:spLocks noChangeArrowheads="1"/>
              </p:cNvSpPr>
              <p:nvPr/>
            </p:nvSpPr>
            <p:spPr bwMode="auto">
              <a:xfrm>
                <a:off x="12111797" y="3517641"/>
                <a:ext cx="352425" cy="342900"/>
              </a:xfrm>
              <a:prstGeom prst="rect">
                <a:avLst/>
              </a:prstGeom>
              <a:solidFill>
                <a:srgbClr val="4F50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3" name="Freeform 403"/>
              <p:cNvSpPr>
                <a:spLocks noEditPoints="1"/>
              </p:cNvSpPr>
              <p:nvPr/>
            </p:nvSpPr>
            <p:spPr bwMode="auto">
              <a:xfrm>
                <a:off x="12102272" y="3508116"/>
                <a:ext cx="371475" cy="361950"/>
              </a:xfrm>
              <a:custGeom>
                <a:avLst/>
                <a:gdLst>
                  <a:gd name="T0" fmla="*/ 234 w 234"/>
                  <a:gd name="T1" fmla="*/ 228 h 228"/>
                  <a:gd name="T2" fmla="*/ 0 w 234"/>
                  <a:gd name="T3" fmla="*/ 0 h 228"/>
                  <a:gd name="T4" fmla="*/ 174 w 234"/>
                  <a:gd name="T5" fmla="*/ 12 h 228"/>
                  <a:gd name="T6" fmla="*/ 222 w 234"/>
                  <a:gd name="T7" fmla="*/ 60 h 228"/>
                  <a:gd name="T8" fmla="*/ 174 w 234"/>
                  <a:gd name="T9" fmla="*/ 12 h 228"/>
                  <a:gd name="T10" fmla="*/ 222 w 234"/>
                  <a:gd name="T11" fmla="*/ 66 h 228"/>
                  <a:gd name="T12" fmla="*/ 174 w 234"/>
                  <a:gd name="T13" fmla="*/ 108 h 228"/>
                  <a:gd name="T14" fmla="*/ 174 w 234"/>
                  <a:gd name="T15" fmla="*/ 120 h 228"/>
                  <a:gd name="T16" fmla="*/ 222 w 234"/>
                  <a:gd name="T17" fmla="*/ 162 h 228"/>
                  <a:gd name="T18" fmla="*/ 174 w 234"/>
                  <a:gd name="T19" fmla="*/ 120 h 228"/>
                  <a:gd name="T20" fmla="*/ 222 w 234"/>
                  <a:gd name="T21" fmla="*/ 168 h 228"/>
                  <a:gd name="T22" fmla="*/ 174 w 234"/>
                  <a:gd name="T23" fmla="*/ 216 h 228"/>
                  <a:gd name="T24" fmla="*/ 120 w 234"/>
                  <a:gd name="T25" fmla="*/ 12 h 228"/>
                  <a:gd name="T26" fmla="*/ 168 w 234"/>
                  <a:gd name="T27" fmla="*/ 60 h 228"/>
                  <a:gd name="T28" fmla="*/ 120 w 234"/>
                  <a:gd name="T29" fmla="*/ 12 h 228"/>
                  <a:gd name="T30" fmla="*/ 168 w 234"/>
                  <a:gd name="T31" fmla="*/ 66 h 228"/>
                  <a:gd name="T32" fmla="*/ 120 w 234"/>
                  <a:gd name="T33" fmla="*/ 108 h 228"/>
                  <a:gd name="T34" fmla="*/ 120 w 234"/>
                  <a:gd name="T35" fmla="*/ 120 h 228"/>
                  <a:gd name="T36" fmla="*/ 168 w 234"/>
                  <a:gd name="T37" fmla="*/ 162 h 228"/>
                  <a:gd name="T38" fmla="*/ 120 w 234"/>
                  <a:gd name="T39" fmla="*/ 120 h 228"/>
                  <a:gd name="T40" fmla="*/ 168 w 234"/>
                  <a:gd name="T41" fmla="*/ 168 h 228"/>
                  <a:gd name="T42" fmla="*/ 120 w 234"/>
                  <a:gd name="T43" fmla="*/ 216 h 228"/>
                  <a:gd name="T44" fmla="*/ 66 w 234"/>
                  <a:gd name="T45" fmla="*/ 12 h 228"/>
                  <a:gd name="T46" fmla="*/ 114 w 234"/>
                  <a:gd name="T47" fmla="*/ 60 h 228"/>
                  <a:gd name="T48" fmla="*/ 66 w 234"/>
                  <a:gd name="T49" fmla="*/ 12 h 228"/>
                  <a:gd name="T50" fmla="*/ 114 w 234"/>
                  <a:gd name="T51" fmla="*/ 66 h 228"/>
                  <a:gd name="T52" fmla="*/ 66 w 234"/>
                  <a:gd name="T53" fmla="*/ 108 h 228"/>
                  <a:gd name="T54" fmla="*/ 66 w 234"/>
                  <a:gd name="T55" fmla="*/ 120 h 228"/>
                  <a:gd name="T56" fmla="*/ 114 w 234"/>
                  <a:gd name="T57" fmla="*/ 162 h 228"/>
                  <a:gd name="T58" fmla="*/ 66 w 234"/>
                  <a:gd name="T59" fmla="*/ 120 h 228"/>
                  <a:gd name="T60" fmla="*/ 114 w 234"/>
                  <a:gd name="T61" fmla="*/ 168 h 228"/>
                  <a:gd name="T62" fmla="*/ 66 w 234"/>
                  <a:gd name="T63" fmla="*/ 216 h 228"/>
                  <a:gd name="T64" fmla="*/ 12 w 234"/>
                  <a:gd name="T65" fmla="*/ 12 h 228"/>
                  <a:gd name="T66" fmla="*/ 60 w 234"/>
                  <a:gd name="T67" fmla="*/ 60 h 228"/>
                  <a:gd name="T68" fmla="*/ 12 w 234"/>
                  <a:gd name="T69" fmla="*/ 12 h 228"/>
                  <a:gd name="T70" fmla="*/ 60 w 234"/>
                  <a:gd name="T71" fmla="*/ 66 h 228"/>
                  <a:gd name="T72" fmla="*/ 12 w 234"/>
                  <a:gd name="T73" fmla="*/ 108 h 228"/>
                  <a:gd name="T74" fmla="*/ 12 w 234"/>
                  <a:gd name="T75" fmla="*/ 120 h 228"/>
                  <a:gd name="T76" fmla="*/ 60 w 234"/>
                  <a:gd name="T77" fmla="*/ 162 h 228"/>
                  <a:gd name="T78" fmla="*/ 12 w 234"/>
                  <a:gd name="T79" fmla="*/ 120 h 228"/>
                  <a:gd name="T80" fmla="*/ 60 w 234"/>
                  <a:gd name="T81" fmla="*/ 168 h 228"/>
                  <a:gd name="T82" fmla="*/ 12 w 234"/>
                  <a:gd name="T83" fmla="*/ 21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4" h="228">
                    <a:moveTo>
                      <a:pt x="0" y="228"/>
                    </a:moveTo>
                    <a:lnTo>
                      <a:pt x="234" y="228"/>
                    </a:lnTo>
                    <a:lnTo>
                      <a:pt x="234" y="0"/>
                    </a:lnTo>
                    <a:lnTo>
                      <a:pt x="0" y="0"/>
                    </a:lnTo>
                    <a:lnTo>
                      <a:pt x="0" y="228"/>
                    </a:lnTo>
                    <a:close/>
                    <a:moveTo>
                      <a:pt x="174" y="12"/>
                    </a:moveTo>
                    <a:lnTo>
                      <a:pt x="222" y="12"/>
                    </a:lnTo>
                    <a:lnTo>
                      <a:pt x="222" y="60"/>
                    </a:lnTo>
                    <a:lnTo>
                      <a:pt x="174" y="60"/>
                    </a:lnTo>
                    <a:lnTo>
                      <a:pt x="174" y="12"/>
                    </a:lnTo>
                    <a:close/>
                    <a:moveTo>
                      <a:pt x="174" y="66"/>
                    </a:moveTo>
                    <a:lnTo>
                      <a:pt x="222" y="66"/>
                    </a:lnTo>
                    <a:lnTo>
                      <a:pt x="222" y="108"/>
                    </a:lnTo>
                    <a:lnTo>
                      <a:pt x="174" y="108"/>
                    </a:lnTo>
                    <a:lnTo>
                      <a:pt x="174" y="66"/>
                    </a:lnTo>
                    <a:close/>
                    <a:moveTo>
                      <a:pt x="174" y="120"/>
                    </a:moveTo>
                    <a:lnTo>
                      <a:pt x="222" y="120"/>
                    </a:lnTo>
                    <a:lnTo>
                      <a:pt x="222" y="162"/>
                    </a:lnTo>
                    <a:lnTo>
                      <a:pt x="174" y="162"/>
                    </a:lnTo>
                    <a:lnTo>
                      <a:pt x="174" y="120"/>
                    </a:lnTo>
                    <a:close/>
                    <a:moveTo>
                      <a:pt x="174" y="168"/>
                    </a:moveTo>
                    <a:lnTo>
                      <a:pt x="222" y="168"/>
                    </a:lnTo>
                    <a:lnTo>
                      <a:pt x="222" y="216"/>
                    </a:lnTo>
                    <a:lnTo>
                      <a:pt x="174" y="216"/>
                    </a:lnTo>
                    <a:lnTo>
                      <a:pt x="174" y="168"/>
                    </a:lnTo>
                    <a:close/>
                    <a:moveTo>
                      <a:pt x="120" y="12"/>
                    </a:moveTo>
                    <a:lnTo>
                      <a:pt x="168" y="12"/>
                    </a:lnTo>
                    <a:lnTo>
                      <a:pt x="168" y="60"/>
                    </a:lnTo>
                    <a:lnTo>
                      <a:pt x="120" y="60"/>
                    </a:lnTo>
                    <a:lnTo>
                      <a:pt x="120" y="12"/>
                    </a:lnTo>
                    <a:close/>
                    <a:moveTo>
                      <a:pt x="120" y="66"/>
                    </a:moveTo>
                    <a:lnTo>
                      <a:pt x="168" y="66"/>
                    </a:lnTo>
                    <a:lnTo>
                      <a:pt x="168" y="108"/>
                    </a:lnTo>
                    <a:lnTo>
                      <a:pt x="120" y="108"/>
                    </a:lnTo>
                    <a:lnTo>
                      <a:pt x="120" y="66"/>
                    </a:lnTo>
                    <a:close/>
                    <a:moveTo>
                      <a:pt x="120" y="120"/>
                    </a:moveTo>
                    <a:lnTo>
                      <a:pt x="168" y="120"/>
                    </a:lnTo>
                    <a:lnTo>
                      <a:pt x="168" y="162"/>
                    </a:lnTo>
                    <a:lnTo>
                      <a:pt x="120" y="162"/>
                    </a:lnTo>
                    <a:lnTo>
                      <a:pt x="120" y="120"/>
                    </a:lnTo>
                    <a:close/>
                    <a:moveTo>
                      <a:pt x="120" y="168"/>
                    </a:moveTo>
                    <a:lnTo>
                      <a:pt x="168" y="168"/>
                    </a:lnTo>
                    <a:lnTo>
                      <a:pt x="168" y="216"/>
                    </a:lnTo>
                    <a:lnTo>
                      <a:pt x="120" y="216"/>
                    </a:lnTo>
                    <a:lnTo>
                      <a:pt x="120" y="168"/>
                    </a:lnTo>
                    <a:close/>
                    <a:moveTo>
                      <a:pt x="66" y="12"/>
                    </a:moveTo>
                    <a:lnTo>
                      <a:pt x="114" y="12"/>
                    </a:lnTo>
                    <a:lnTo>
                      <a:pt x="114" y="60"/>
                    </a:lnTo>
                    <a:lnTo>
                      <a:pt x="66" y="60"/>
                    </a:lnTo>
                    <a:lnTo>
                      <a:pt x="66" y="12"/>
                    </a:lnTo>
                    <a:close/>
                    <a:moveTo>
                      <a:pt x="66" y="66"/>
                    </a:moveTo>
                    <a:lnTo>
                      <a:pt x="114" y="66"/>
                    </a:lnTo>
                    <a:lnTo>
                      <a:pt x="114" y="108"/>
                    </a:lnTo>
                    <a:lnTo>
                      <a:pt x="66" y="108"/>
                    </a:lnTo>
                    <a:lnTo>
                      <a:pt x="66" y="66"/>
                    </a:lnTo>
                    <a:close/>
                    <a:moveTo>
                      <a:pt x="66" y="120"/>
                    </a:moveTo>
                    <a:lnTo>
                      <a:pt x="114" y="120"/>
                    </a:lnTo>
                    <a:lnTo>
                      <a:pt x="114" y="162"/>
                    </a:lnTo>
                    <a:lnTo>
                      <a:pt x="66" y="162"/>
                    </a:lnTo>
                    <a:lnTo>
                      <a:pt x="66" y="120"/>
                    </a:lnTo>
                    <a:close/>
                    <a:moveTo>
                      <a:pt x="66" y="168"/>
                    </a:moveTo>
                    <a:lnTo>
                      <a:pt x="114" y="168"/>
                    </a:lnTo>
                    <a:lnTo>
                      <a:pt x="114" y="216"/>
                    </a:lnTo>
                    <a:lnTo>
                      <a:pt x="66" y="216"/>
                    </a:lnTo>
                    <a:lnTo>
                      <a:pt x="66" y="168"/>
                    </a:lnTo>
                    <a:close/>
                    <a:moveTo>
                      <a:pt x="12" y="12"/>
                    </a:moveTo>
                    <a:lnTo>
                      <a:pt x="60" y="12"/>
                    </a:lnTo>
                    <a:lnTo>
                      <a:pt x="60" y="60"/>
                    </a:lnTo>
                    <a:lnTo>
                      <a:pt x="12" y="60"/>
                    </a:lnTo>
                    <a:lnTo>
                      <a:pt x="12" y="12"/>
                    </a:lnTo>
                    <a:close/>
                    <a:moveTo>
                      <a:pt x="12" y="66"/>
                    </a:moveTo>
                    <a:lnTo>
                      <a:pt x="60" y="66"/>
                    </a:lnTo>
                    <a:lnTo>
                      <a:pt x="60" y="108"/>
                    </a:lnTo>
                    <a:lnTo>
                      <a:pt x="12" y="108"/>
                    </a:lnTo>
                    <a:lnTo>
                      <a:pt x="12" y="66"/>
                    </a:lnTo>
                    <a:close/>
                    <a:moveTo>
                      <a:pt x="12" y="120"/>
                    </a:moveTo>
                    <a:lnTo>
                      <a:pt x="60" y="120"/>
                    </a:lnTo>
                    <a:lnTo>
                      <a:pt x="60" y="162"/>
                    </a:lnTo>
                    <a:lnTo>
                      <a:pt x="12" y="162"/>
                    </a:lnTo>
                    <a:lnTo>
                      <a:pt x="12" y="120"/>
                    </a:lnTo>
                    <a:close/>
                    <a:moveTo>
                      <a:pt x="12" y="168"/>
                    </a:moveTo>
                    <a:lnTo>
                      <a:pt x="60" y="168"/>
                    </a:lnTo>
                    <a:lnTo>
                      <a:pt x="60" y="216"/>
                    </a:lnTo>
                    <a:lnTo>
                      <a:pt x="12" y="216"/>
                    </a:lnTo>
                    <a:lnTo>
                      <a:pt x="12" y="168"/>
                    </a:lnTo>
                    <a:close/>
                  </a:path>
                </a:pathLst>
              </a:custGeom>
              <a:solidFill>
                <a:srgbClr val="C6C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4" name="Rectangle 404"/>
              <p:cNvSpPr>
                <a:spLocks noChangeArrowheads="1"/>
              </p:cNvSpPr>
              <p:nvPr/>
            </p:nvSpPr>
            <p:spPr bwMode="auto">
              <a:xfrm>
                <a:off x="12092747" y="3489066"/>
                <a:ext cx="400050"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5" name="Freeform 405"/>
              <p:cNvSpPr>
                <a:spLocks noEditPoints="1"/>
              </p:cNvSpPr>
              <p:nvPr/>
            </p:nvSpPr>
            <p:spPr bwMode="auto">
              <a:xfrm>
                <a:off x="11826047" y="3479541"/>
                <a:ext cx="238125" cy="485775"/>
              </a:xfrm>
              <a:custGeom>
                <a:avLst/>
                <a:gdLst>
                  <a:gd name="T0" fmla="*/ 0 w 150"/>
                  <a:gd name="T1" fmla="*/ 306 h 306"/>
                  <a:gd name="T2" fmla="*/ 150 w 150"/>
                  <a:gd name="T3" fmla="*/ 306 h 306"/>
                  <a:gd name="T4" fmla="*/ 150 w 150"/>
                  <a:gd name="T5" fmla="*/ 0 h 306"/>
                  <a:gd name="T6" fmla="*/ 0 w 150"/>
                  <a:gd name="T7" fmla="*/ 0 h 306"/>
                  <a:gd name="T8" fmla="*/ 0 w 150"/>
                  <a:gd name="T9" fmla="*/ 306 h 306"/>
                  <a:gd name="T10" fmla="*/ 12 w 150"/>
                  <a:gd name="T11" fmla="*/ 18 h 306"/>
                  <a:gd name="T12" fmla="*/ 138 w 150"/>
                  <a:gd name="T13" fmla="*/ 18 h 306"/>
                  <a:gd name="T14" fmla="*/ 138 w 150"/>
                  <a:gd name="T15" fmla="*/ 300 h 306"/>
                  <a:gd name="T16" fmla="*/ 12 w 150"/>
                  <a:gd name="T17" fmla="*/ 300 h 306"/>
                  <a:gd name="T18" fmla="*/ 12 w 150"/>
                  <a:gd name="T19" fmla="*/ 18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306">
                    <a:moveTo>
                      <a:pt x="0" y="306"/>
                    </a:moveTo>
                    <a:lnTo>
                      <a:pt x="150" y="306"/>
                    </a:lnTo>
                    <a:lnTo>
                      <a:pt x="150" y="0"/>
                    </a:lnTo>
                    <a:lnTo>
                      <a:pt x="0" y="0"/>
                    </a:lnTo>
                    <a:lnTo>
                      <a:pt x="0" y="306"/>
                    </a:lnTo>
                    <a:close/>
                    <a:moveTo>
                      <a:pt x="12" y="18"/>
                    </a:moveTo>
                    <a:lnTo>
                      <a:pt x="138" y="18"/>
                    </a:lnTo>
                    <a:lnTo>
                      <a:pt x="138" y="300"/>
                    </a:lnTo>
                    <a:lnTo>
                      <a:pt x="12" y="300"/>
                    </a:lnTo>
                    <a:lnTo>
                      <a:pt x="12" y="18"/>
                    </a:lnTo>
                    <a:close/>
                  </a:path>
                </a:pathLst>
              </a:custGeom>
              <a:solidFill>
                <a:srgbClr val="F1F0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6" name="Freeform 406"/>
              <p:cNvSpPr>
                <a:spLocks noEditPoints="1"/>
              </p:cNvSpPr>
              <p:nvPr/>
            </p:nvSpPr>
            <p:spPr bwMode="auto">
              <a:xfrm>
                <a:off x="11826047" y="3479541"/>
                <a:ext cx="238125" cy="485775"/>
              </a:xfrm>
              <a:custGeom>
                <a:avLst/>
                <a:gdLst>
                  <a:gd name="T0" fmla="*/ 0 w 150"/>
                  <a:gd name="T1" fmla="*/ 306 h 306"/>
                  <a:gd name="T2" fmla="*/ 150 w 150"/>
                  <a:gd name="T3" fmla="*/ 306 h 306"/>
                  <a:gd name="T4" fmla="*/ 150 w 150"/>
                  <a:gd name="T5" fmla="*/ 0 h 306"/>
                  <a:gd name="T6" fmla="*/ 0 w 150"/>
                  <a:gd name="T7" fmla="*/ 0 h 306"/>
                  <a:gd name="T8" fmla="*/ 0 w 150"/>
                  <a:gd name="T9" fmla="*/ 306 h 306"/>
                  <a:gd name="T10" fmla="*/ 12 w 150"/>
                  <a:gd name="T11" fmla="*/ 18 h 306"/>
                  <a:gd name="T12" fmla="*/ 138 w 150"/>
                  <a:gd name="T13" fmla="*/ 18 h 306"/>
                  <a:gd name="T14" fmla="*/ 138 w 150"/>
                  <a:gd name="T15" fmla="*/ 300 h 306"/>
                  <a:gd name="T16" fmla="*/ 12 w 150"/>
                  <a:gd name="T17" fmla="*/ 300 h 306"/>
                  <a:gd name="T18" fmla="*/ 12 w 150"/>
                  <a:gd name="T19" fmla="*/ 18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306">
                    <a:moveTo>
                      <a:pt x="0" y="306"/>
                    </a:moveTo>
                    <a:lnTo>
                      <a:pt x="150" y="306"/>
                    </a:lnTo>
                    <a:lnTo>
                      <a:pt x="150" y="0"/>
                    </a:lnTo>
                    <a:lnTo>
                      <a:pt x="0" y="0"/>
                    </a:lnTo>
                    <a:lnTo>
                      <a:pt x="0" y="306"/>
                    </a:lnTo>
                    <a:moveTo>
                      <a:pt x="12" y="18"/>
                    </a:moveTo>
                    <a:lnTo>
                      <a:pt x="138" y="18"/>
                    </a:lnTo>
                    <a:lnTo>
                      <a:pt x="138" y="300"/>
                    </a:lnTo>
                    <a:lnTo>
                      <a:pt x="12" y="300"/>
                    </a:lnTo>
                    <a:lnTo>
                      <a:pt x="12"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7" name="Rectangle 408"/>
              <p:cNvSpPr>
                <a:spLocks noChangeArrowheads="1"/>
              </p:cNvSpPr>
              <p:nvPr/>
            </p:nvSpPr>
            <p:spPr bwMode="auto">
              <a:xfrm>
                <a:off x="11835572" y="3489066"/>
                <a:ext cx="219075" cy="476250"/>
              </a:xfrm>
              <a:prstGeom prst="rect">
                <a:avLst/>
              </a:prstGeom>
              <a:solidFill>
                <a:srgbClr val="C6CA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8" name="Rectangle 409"/>
              <p:cNvSpPr>
                <a:spLocks noChangeArrowheads="1"/>
              </p:cNvSpPr>
              <p:nvPr/>
            </p:nvSpPr>
            <p:spPr bwMode="auto">
              <a:xfrm>
                <a:off x="11835572" y="3489066"/>
                <a:ext cx="219075"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9" name="Rectangle 410"/>
              <p:cNvSpPr>
                <a:spLocks noChangeArrowheads="1"/>
              </p:cNvSpPr>
              <p:nvPr/>
            </p:nvSpPr>
            <p:spPr bwMode="auto">
              <a:xfrm>
                <a:off x="11854622" y="3517641"/>
                <a:ext cx="180975" cy="257175"/>
              </a:xfrm>
              <a:prstGeom prst="rect">
                <a:avLst/>
              </a:prstGeom>
              <a:solidFill>
                <a:srgbClr val="4F50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0" name="Rectangle 411"/>
              <p:cNvSpPr>
                <a:spLocks noChangeArrowheads="1"/>
              </p:cNvSpPr>
              <p:nvPr/>
            </p:nvSpPr>
            <p:spPr bwMode="auto">
              <a:xfrm>
                <a:off x="11854622" y="3803391"/>
                <a:ext cx="180975" cy="142875"/>
              </a:xfrm>
              <a:prstGeom prst="rect">
                <a:avLst/>
              </a:prstGeom>
              <a:solidFill>
                <a:srgbClr val="DFE0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1" name="Rectangle 412"/>
              <p:cNvSpPr>
                <a:spLocks noChangeArrowheads="1"/>
              </p:cNvSpPr>
              <p:nvPr/>
            </p:nvSpPr>
            <p:spPr bwMode="auto">
              <a:xfrm>
                <a:off x="11854622" y="3803391"/>
                <a:ext cx="180975"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2" name="Rectangle 413"/>
              <p:cNvSpPr>
                <a:spLocks noChangeArrowheads="1"/>
              </p:cNvSpPr>
              <p:nvPr/>
            </p:nvSpPr>
            <p:spPr bwMode="auto">
              <a:xfrm>
                <a:off x="11845097" y="3593841"/>
                <a:ext cx="200025" cy="9525"/>
              </a:xfrm>
              <a:prstGeom prst="rect">
                <a:avLst/>
              </a:prstGeom>
              <a:solidFill>
                <a:srgbClr val="C6CA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3" name="Rectangle 414"/>
              <p:cNvSpPr>
                <a:spLocks noChangeArrowheads="1"/>
              </p:cNvSpPr>
              <p:nvPr/>
            </p:nvSpPr>
            <p:spPr bwMode="auto">
              <a:xfrm>
                <a:off x="11845097" y="3679566"/>
                <a:ext cx="200025" cy="19050"/>
              </a:xfrm>
              <a:prstGeom prst="rect">
                <a:avLst/>
              </a:prstGeom>
              <a:solidFill>
                <a:srgbClr val="C6CA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4" name="Rectangle 415"/>
              <p:cNvSpPr>
                <a:spLocks noChangeArrowheads="1"/>
              </p:cNvSpPr>
              <p:nvPr/>
            </p:nvSpPr>
            <p:spPr bwMode="auto">
              <a:xfrm>
                <a:off x="11940347" y="3508116"/>
                <a:ext cx="9525" cy="295275"/>
              </a:xfrm>
              <a:prstGeom prst="rect">
                <a:avLst/>
              </a:prstGeom>
              <a:solidFill>
                <a:srgbClr val="C6CA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5" name="Rectangle 416"/>
              <p:cNvSpPr>
                <a:spLocks noChangeArrowheads="1"/>
              </p:cNvSpPr>
              <p:nvPr/>
            </p:nvSpPr>
            <p:spPr bwMode="auto">
              <a:xfrm>
                <a:off x="11349797" y="3403341"/>
                <a:ext cx="1190625" cy="28575"/>
              </a:xfrm>
              <a:prstGeom prst="rect">
                <a:avLst/>
              </a:prstGeom>
              <a:solidFill>
                <a:srgbClr val="B5B9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6" name="Rectangle 417"/>
              <p:cNvSpPr>
                <a:spLocks noChangeArrowheads="1"/>
              </p:cNvSpPr>
              <p:nvPr/>
            </p:nvSpPr>
            <p:spPr bwMode="auto">
              <a:xfrm>
                <a:off x="11987972" y="2811203"/>
                <a:ext cx="104775" cy="57150"/>
              </a:xfrm>
              <a:prstGeom prst="rect">
                <a:avLst/>
              </a:prstGeom>
              <a:solidFill>
                <a:srgbClr val="EE863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7" name="Rectangle 418"/>
              <p:cNvSpPr>
                <a:spLocks noChangeArrowheads="1"/>
              </p:cNvSpPr>
              <p:nvPr/>
            </p:nvSpPr>
            <p:spPr bwMode="auto">
              <a:xfrm>
                <a:off x="11902247" y="2287328"/>
                <a:ext cx="104775" cy="47625"/>
              </a:xfrm>
              <a:prstGeom prst="rect">
                <a:avLst/>
              </a:prstGeom>
              <a:solidFill>
                <a:srgbClr val="EE863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78" name="กลุ่ม 107"/>
            <p:cNvGrpSpPr/>
            <p:nvPr/>
          </p:nvGrpSpPr>
          <p:grpSpPr>
            <a:xfrm>
              <a:off x="6122184" y="2836777"/>
              <a:ext cx="2483888" cy="4683122"/>
              <a:chOff x="9471784" y="2058728"/>
              <a:chExt cx="1011238" cy="1906588"/>
            </a:xfrm>
          </p:grpSpPr>
          <p:sp>
            <p:nvSpPr>
              <p:cNvPr id="79" name="Freeform 419"/>
              <p:cNvSpPr>
                <a:spLocks/>
              </p:cNvSpPr>
              <p:nvPr/>
            </p:nvSpPr>
            <p:spPr bwMode="auto">
              <a:xfrm>
                <a:off x="9547984" y="2096828"/>
                <a:ext cx="868363" cy="1868488"/>
              </a:xfrm>
              <a:custGeom>
                <a:avLst/>
                <a:gdLst>
                  <a:gd name="T0" fmla="*/ 0 w 547"/>
                  <a:gd name="T1" fmla="*/ 264 h 1177"/>
                  <a:gd name="T2" fmla="*/ 0 w 547"/>
                  <a:gd name="T3" fmla="*/ 1177 h 1177"/>
                  <a:gd name="T4" fmla="*/ 547 w 547"/>
                  <a:gd name="T5" fmla="*/ 1177 h 1177"/>
                  <a:gd name="T6" fmla="*/ 547 w 547"/>
                  <a:gd name="T7" fmla="*/ 264 h 1177"/>
                  <a:gd name="T8" fmla="*/ 270 w 547"/>
                  <a:gd name="T9" fmla="*/ 0 h 1177"/>
                  <a:gd name="T10" fmla="*/ 0 w 547"/>
                  <a:gd name="T11" fmla="*/ 264 h 1177"/>
                </a:gdLst>
                <a:ahLst/>
                <a:cxnLst>
                  <a:cxn ang="0">
                    <a:pos x="T0" y="T1"/>
                  </a:cxn>
                  <a:cxn ang="0">
                    <a:pos x="T2" y="T3"/>
                  </a:cxn>
                  <a:cxn ang="0">
                    <a:pos x="T4" y="T5"/>
                  </a:cxn>
                  <a:cxn ang="0">
                    <a:pos x="T6" y="T7"/>
                  </a:cxn>
                  <a:cxn ang="0">
                    <a:pos x="T8" y="T9"/>
                  </a:cxn>
                  <a:cxn ang="0">
                    <a:pos x="T10" y="T11"/>
                  </a:cxn>
                </a:cxnLst>
                <a:rect l="0" t="0" r="r" b="b"/>
                <a:pathLst>
                  <a:path w="547" h="1177">
                    <a:moveTo>
                      <a:pt x="0" y="264"/>
                    </a:moveTo>
                    <a:lnTo>
                      <a:pt x="0" y="1177"/>
                    </a:lnTo>
                    <a:lnTo>
                      <a:pt x="547" y="1177"/>
                    </a:lnTo>
                    <a:lnTo>
                      <a:pt x="547" y="264"/>
                    </a:lnTo>
                    <a:lnTo>
                      <a:pt x="270" y="0"/>
                    </a:lnTo>
                    <a:lnTo>
                      <a:pt x="0" y="264"/>
                    </a:lnTo>
                    <a:close/>
                  </a:path>
                </a:pathLst>
              </a:custGeom>
              <a:solidFill>
                <a:srgbClr val="989C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0" name="Freeform 420"/>
              <p:cNvSpPr>
                <a:spLocks/>
              </p:cNvSpPr>
              <p:nvPr/>
            </p:nvSpPr>
            <p:spPr bwMode="auto">
              <a:xfrm>
                <a:off x="9547984" y="2096828"/>
                <a:ext cx="868363" cy="504825"/>
              </a:xfrm>
              <a:custGeom>
                <a:avLst/>
                <a:gdLst>
                  <a:gd name="T0" fmla="*/ 0 w 547"/>
                  <a:gd name="T1" fmla="*/ 264 h 318"/>
                  <a:gd name="T2" fmla="*/ 0 w 547"/>
                  <a:gd name="T3" fmla="*/ 318 h 318"/>
                  <a:gd name="T4" fmla="*/ 264 w 547"/>
                  <a:gd name="T5" fmla="*/ 48 h 318"/>
                  <a:gd name="T6" fmla="*/ 547 w 547"/>
                  <a:gd name="T7" fmla="*/ 318 h 318"/>
                  <a:gd name="T8" fmla="*/ 547 w 547"/>
                  <a:gd name="T9" fmla="*/ 264 h 318"/>
                  <a:gd name="T10" fmla="*/ 270 w 547"/>
                  <a:gd name="T11" fmla="*/ 0 h 318"/>
                  <a:gd name="T12" fmla="*/ 0 w 547"/>
                  <a:gd name="T13" fmla="*/ 264 h 318"/>
                </a:gdLst>
                <a:ahLst/>
                <a:cxnLst>
                  <a:cxn ang="0">
                    <a:pos x="T0" y="T1"/>
                  </a:cxn>
                  <a:cxn ang="0">
                    <a:pos x="T2" y="T3"/>
                  </a:cxn>
                  <a:cxn ang="0">
                    <a:pos x="T4" y="T5"/>
                  </a:cxn>
                  <a:cxn ang="0">
                    <a:pos x="T6" y="T7"/>
                  </a:cxn>
                  <a:cxn ang="0">
                    <a:pos x="T8" y="T9"/>
                  </a:cxn>
                  <a:cxn ang="0">
                    <a:pos x="T10" y="T11"/>
                  </a:cxn>
                  <a:cxn ang="0">
                    <a:pos x="T12" y="T13"/>
                  </a:cxn>
                </a:cxnLst>
                <a:rect l="0" t="0" r="r" b="b"/>
                <a:pathLst>
                  <a:path w="547" h="318">
                    <a:moveTo>
                      <a:pt x="0" y="264"/>
                    </a:moveTo>
                    <a:lnTo>
                      <a:pt x="0" y="318"/>
                    </a:lnTo>
                    <a:lnTo>
                      <a:pt x="264" y="48"/>
                    </a:lnTo>
                    <a:lnTo>
                      <a:pt x="547" y="318"/>
                    </a:lnTo>
                    <a:lnTo>
                      <a:pt x="547" y="264"/>
                    </a:lnTo>
                    <a:lnTo>
                      <a:pt x="270" y="0"/>
                    </a:lnTo>
                    <a:lnTo>
                      <a:pt x="0" y="264"/>
                    </a:lnTo>
                    <a:close/>
                  </a:path>
                </a:pathLst>
              </a:custGeom>
              <a:solidFill>
                <a:srgbClr val="7B80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1" name="Freeform 421"/>
              <p:cNvSpPr>
                <a:spLocks/>
              </p:cNvSpPr>
              <p:nvPr/>
            </p:nvSpPr>
            <p:spPr bwMode="auto">
              <a:xfrm>
                <a:off x="9471784" y="2058728"/>
                <a:ext cx="1011238" cy="514350"/>
              </a:xfrm>
              <a:custGeom>
                <a:avLst/>
                <a:gdLst>
                  <a:gd name="T0" fmla="*/ 0 w 637"/>
                  <a:gd name="T1" fmla="*/ 306 h 324"/>
                  <a:gd name="T2" fmla="*/ 24 w 637"/>
                  <a:gd name="T3" fmla="*/ 324 h 324"/>
                  <a:gd name="T4" fmla="*/ 312 w 637"/>
                  <a:gd name="T5" fmla="*/ 36 h 324"/>
                  <a:gd name="T6" fmla="*/ 619 w 637"/>
                  <a:gd name="T7" fmla="*/ 324 h 324"/>
                  <a:gd name="T8" fmla="*/ 637 w 637"/>
                  <a:gd name="T9" fmla="*/ 306 h 324"/>
                  <a:gd name="T10" fmla="*/ 312 w 637"/>
                  <a:gd name="T11" fmla="*/ 0 h 324"/>
                  <a:gd name="T12" fmla="*/ 0 w 637"/>
                  <a:gd name="T13" fmla="*/ 306 h 324"/>
                </a:gdLst>
                <a:ahLst/>
                <a:cxnLst>
                  <a:cxn ang="0">
                    <a:pos x="T0" y="T1"/>
                  </a:cxn>
                  <a:cxn ang="0">
                    <a:pos x="T2" y="T3"/>
                  </a:cxn>
                  <a:cxn ang="0">
                    <a:pos x="T4" y="T5"/>
                  </a:cxn>
                  <a:cxn ang="0">
                    <a:pos x="T6" y="T7"/>
                  </a:cxn>
                  <a:cxn ang="0">
                    <a:pos x="T8" y="T9"/>
                  </a:cxn>
                  <a:cxn ang="0">
                    <a:pos x="T10" y="T11"/>
                  </a:cxn>
                  <a:cxn ang="0">
                    <a:pos x="T12" y="T13"/>
                  </a:cxn>
                </a:cxnLst>
                <a:rect l="0" t="0" r="r" b="b"/>
                <a:pathLst>
                  <a:path w="637" h="324">
                    <a:moveTo>
                      <a:pt x="0" y="306"/>
                    </a:moveTo>
                    <a:lnTo>
                      <a:pt x="24" y="324"/>
                    </a:lnTo>
                    <a:lnTo>
                      <a:pt x="312" y="36"/>
                    </a:lnTo>
                    <a:lnTo>
                      <a:pt x="619" y="324"/>
                    </a:lnTo>
                    <a:lnTo>
                      <a:pt x="637" y="306"/>
                    </a:lnTo>
                    <a:lnTo>
                      <a:pt x="312" y="0"/>
                    </a:lnTo>
                    <a:lnTo>
                      <a:pt x="0" y="306"/>
                    </a:lnTo>
                    <a:close/>
                  </a:path>
                </a:pathLst>
              </a:custGeom>
              <a:solidFill>
                <a:srgbClr val="C5C7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2" name="Rectangle 422"/>
              <p:cNvSpPr>
                <a:spLocks noChangeArrowheads="1"/>
              </p:cNvSpPr>
              <p:nvPr/>
            </p:nvSpPr>
            <p:spPr bwMode="auto">
              <a:xfrm>
                <a:off x="9547984" y="3393816"/>
                <a:ext cx="868363" cy="47625"/>
              </a:xfrm>
              <a:prstGeom prst="rect">
                <a:avLst/>
              </a:prstGeom>
              <a:solidFill>
                <a:srgbClr val="7B809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3" name="Rectangle 423"/>
              <p:cNvSpPr>
                <a:spLocks noChangeArrowheads="1"/>
              </p:cNvSpPr>
              <p:nvPr/>
            </p:nvSpPr>
            <p:spPr bwMode="auto">
              <a:xfrm>
                <a:off x="9547984" y="2792153"/>
                <a:ext cx="868363" cy="57150"/>
              </a:xfrm>
              <a:prstGeom prst="rect">
                <a:avLst/>
              </a:prstGeom>
              <a:solidFill>
                <a:srgbClr val="7B809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4" name="Rectangle 424"/>
              <p:cNvSpPr>
                <a:spLocks noChangeArrowheads="1"/>
              </p:cNvSpPr>
              <p:nvPr/>
            </p:nvSpPr>
            <p:spPr bwMode="auto">
              <a:xfrm>
                <a:off x="9547984" y="3365241"/>
                <a:ext cx="868363" cy="57150"/>
              </a:xfrm>
              <a:prstGeom prst="rect">
                <a:avLst/>
              </a:prstGeom>
              <a:solidFill>
                <a:srgbClr val="B2B7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5" name="Rectangle 425"/>
              <p:cNvSpPr>
                <a:spLocks noChangeArrowheads="1"/>
              </p:cNvSpPr>
              <p:nvPr/>
            </p:nvSpPr>
            <p:spPr bwMode="auto">
              <a:xfrm>
                <a:off x="9547984" y="2773103"/>
                <a:ext cx="868363" cy="47625"/>
              </a:xfrm>
              <a:prstGeom prst="rect">
                <a:avLst/>
              </a:prstGeom>
              <a:solidFill>
                <a:srgbClr val="B2B7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6" name="Rectangle 426"/>
              <p:cNvSpPr>
                <a:spLocks noChangeArrowheads="1"/>
              </p:cNvSpPr>
              <p:nvPr/>
            </p:nvSpPr>
            <p:spPr bwMode="auto">
              <a:xfrm>
                <a:off x="9547984" y="3746241"/>
                <a:ext cx="868363" cy="219075"/>
              </a:xfrm>
              <a:prstGeom prst="rect">
                <a:avLst/>
              </a:prstGeom>
              <a:solidFill>
                <a:srgbClr val="7B809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7" name="Rectangle 427"/>
              <p:cNvSpPr>
                <a:spLocks noChangeArrowheads="1"/>
              </p:cNvSpPr>
              <p:nvPr/>
            </p:nvSpPr>
            <p:spPr bwMode="auto">
              <a:xfrm>
                <a:off x="9862309" y="3479541"/>
                <a:ext cx="228600" cy="485775"/>
              </a:xfrm>
              <a:prstGeom prst="rect">
                <a:avLst/>
              </a:prstGeom>
              <a:solidFill>
                <a:srgbClr val="D19A7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8" name="Rectangle 428"/>
              <p:cNvSpPr>
                <a:spLocks noChangeArrowheads="1"/>
              </p:cNvSpPr>
              <p:nvPr/>
            </p:nvSpPr>
            <p:spPr bwMode="auto">
              <a:xfrm>
                <a:off x="9881359" y="3774816"/>
                <a:ext cx="200025" cy="171450"/>
              </a:xfrm>
              <a:prstGeom prst="rect">
                <a:avLst/>
              </a:prstGeom>
              <a:solidFill>
                <a:srgbClr val="BC845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9" name="Rectangle 429"/>
              <p:cNvSpPr>
                <a:spLocks noChangeArrowheads="1"/>
              </p:cNvSpPr>
              <p:nvPr/>
            </p:nvSpPr>
            <p:spPr bwMode="auto">
              <a:xfrm>
                <a:off x="9881359" y="3498591"/>
                <a:ext cx="200025" cy="257175"/>
              </a:xfrm>
              <a:prstGeom prst="rect">
                <a:avLst/>
              </a:prstGeom>
              <a:solidFill>
                <a:srgbClr val="BC845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0" name="Rectangle 430"/>
              <p:cNvSpPr>
                <a:spLocks noChangeArrowheads="1"/>
              </p:cNvSpPr>
              <p:nvPr/>
            </p:nvSpPr>
            <p:spPr bwMode="auto">
              <a:xfrm>
                <a:off x="9900409" y="3517641"/>
                <a:ext cx="161925" cy="219075"/>
              </a:xfrm>
              <a:prstGeom prst="rect">
                <a:avLst/>
              </a:prstGeom>
              <a:solidFill>
                <a:srgbClr val="DC9F7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1" name="Rectangle 431"/>
              <p:cNvSpPr>
                <a:spLocks noChangeArrowheads="1"/>
              </p:cNvSpPr>
              <p:nvPr/>
            </p:nvSpPr>
            <p:spPr bwMode="auto">
              <a:xfrm>
                <a:off x="9900409" y="3784341"/>
                <a:ext cx="161925" cy="142875"/>
              </a:xfrm>
              <a:prstGeom prst="rect">
                <a:avLst/>
              </a:prstGeom>
              <a:solidFill>
                <a:srgbClr val="DC9F7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2" name="Rectangle 432"/>
              <p:cNvSpPr>
                <a:spLocks noChangeArrowheads="1"/>
              </p:cNvSpPr>
              <p:nvPr/>
            </p:nvSpPr>
            <p:spPr bwMode="auto">
              <a:xfrm>
                <a:off x="9624184" y="3527166"/>
                <a:ext cx="152400" cy="219075"/>
              </a:xfrm>
              <a:prstGeom prst="rect">
                <a:avLst/>
              </a:prstGeom>
              <a:solidFill>
                <a:srgbClr val="4F50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3" name="Rectangle 433"/>
              <p:cNvSpPr>
                <a:spLocks noChangeArrowheads="1"/>
              </p:cNvSpPr>
              <p:nvPr/>
            </p:nvSpPr>
            <p:spPr bwMode="auto">
              <a:xfrm>
                <a:off x="9614659" y="3622416"/>
                <a:ext cx="171450"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4" name="Rectangle 434"/>
              <p:cNvSpPr>
                <a:spLocks noChangeArrowheads="1"/>
              </p:cNvSpPr>
              <p:nvPr/>
            </p:nvSpPr>
            <p:spPr bwMode="auto">
              <a:xfrm>
                <a:off x="9690859" y="3527166"/>
                <a:ext cx="19050" cy="219075"/>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5" name="Freeform 435"/>
              <p:cNvSpPr>
                <a:spLocks noEditPoints="1"/>
              </p:cNvSpPr>
              <p:nvPr/>
            </p:nvSpPr>
            <p:spPr bwMode="auto">
              <a:xfrm>
                <a:off x="9614659" y="3517641"/>
                <a:ext cx="171450" cy="228600"/>
              </a:xfrm>
              <a:custGeom>
                <a:avLst/>
                <a:gdLst>
                  <a:gd name="T0" fmla="*/ 0 w 108"/>
                  <a:gd name="T1" fmla="*/ 144 h 144"/>
                  <a:gd name="T2" fmla="*/ 108 w 108"/>
                  <a:gd name="T3" fmla="*/ 144 h 144"/>
                  <a:gd name="T4" fmla="*/ 108 w 108"/>
                  <a:gd name="T5" fmla="*/ 0 h 144"/>
                  <a:gd name="T6" fmla="*/ 0 w 108"/>
                  <a:gd name="T7" fmla="*/ 0 h 144"/>
                  <a:gd name="T8" fmla="*/ 0 w 108"/>
                  <a:gd name="T9" fmla="*/ 144 h 144"/>
                  <a:gd name="T10" fmla="*/ 12 w 108"/>
                  <a:gd name="T11" fmla="*/ 6 h 144"/>
                  <a:gd name="T12" fmla="*/ 102 w 108"/>
                  <a:gd name="T13" fmla="*/ 6 h 144"/>
                  <a:gd name="T14" fmla="*/ 102 w 108"/>
                  <a:gd name="T15" fmla="*/ 138 h 144"/>
                  <a:gd name="T16" fmla="*/ 12 w 108"/>
                  <a:gd name="T17" fmla="*/ 138 h 144"/>
                  <a:gd name="T18" fmla="*/ 12 w 108"/>
                  <a:gd name="T19"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44">
                    <a:moveTo>
                      <a:pt x="0" y="144"/>
                    </a:moveTo>
                    <a:lnTo>
                      <a:pt x="108" y="144"/>
                    </a:lnTo>
                    <a:lnTo>
                      <a:pt x="108" y="0"/>
                    </a:lnTo>
                    <a:lnTo>
                      <a:pt x="0" y="0"/>
                    </a:lnTo>
                    <a:lnTo>
                      <a:pt x="0" y="144"/>
                    </a:lnTo>
                    <a:close/>
                    <a:moveTo>
                      <a:pt x="12" y="6"/>
                    </a:moveTo>
                    <a:lnTo>
                      <a:pt x="102" y="6"/>
                    </a:lnTo>
                    <a:lnTo>
                      <a:pt x="102" y="138"/>
                    </a:lnTo>
                    <a:lnTo>
                      <a:pt x="12" y="138"/>
                    </a:lnTo>
                    <a:lnTo>
                      <a:pt x="12" y="6"/>
                    </a:lnTo>
                    <a:close/>
                  </a:path>
                </a:pathLst>
              </a:custGeom>
              <a:solidFill>
                <a:srgbClr val="DF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6" name="Rectangle 436"/>
              <p:cNvSpPr>
                <a:spLocks noChangeArrowheads="1"/>
              </p:cNvSpPr>
              <p:nvPr/>
            </p:nvSpPr>
            <p:spPr bwMode="auto">
              <a:xfrm>
                <a:off x="9605134" y="3508116"/>
                <a:ext cx="190500"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7" name="Rectangle 437"/>
              <p:cNvSpPr>
                <a:spLocks noChangeArrowheads="1"/>
              </p:cNvSpPr>
              <p:nvPr/>
            </p:nvSpPr>
            <p:spPr bwMode="auto">
              <a:xfrm>
                <a:off x="9595609" y="3746241"/>
                <a:ext cx="209550" cy="28575"/>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8" name="Rectangle 438"/>
              <p:cNvSpPr>
                <a:spLocks noChangeArrowheads="1"/>
              </p:cNvSpPr>
              <p:nvPr/>
            </p:nvSpPr>
            <p:spPr bwMode="auto">
              <a:xfrm>
                <a:off x="10176634" y="3498591"/>
                <a:ext cx="163513" cy="219075"/>
              </a:xfrm>
              <a:prstGeom prst="rect">
                <a:avLst/>
              </a:prstGeom>
              <a:solidFill>
                <a:srgbClr val="4F50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9" name="Rectangle 439"/>
              <p:cNvSpPr>
                <a:spLocks noChangeArrowheads="1"/>
              </p:cNvSpPr>
              <p:nvPr/>
            </p:nvSpPr>
            <p:spPr bwMode="auto">
              <a:xfrm>
                <a:off x="10167109" y="3603366"/>
                <a:ext cx="173038" cy="9525"/>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0" name="Rectangle 440"/>
              <p:cNvSpPr>
                <a:spLocks noChangeArrowheads="1"/>
              </p:cNvSpPr>
              <p:nvPr/>
            </p:nvSpPr>
            <p:spPr bwMode="auto">
              <a:xfrm>
                <a:off x="10252834" y="3508116"/>
                <a:ext cx="9525" cy="219075"/>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1" name="Freeform 441"/>
              <p:cNvSpPr>
                <a:spLocks noEditPoints="1"/>
              </p:cNvSpPr>
              <p:nvPr/>
            </p:nvSpPr>
            <p:spPr bwMode="auto">
              <a:xfrm>
                <a:off x="10167109" y="3498591"/>
                <a:ext cx="173038" cy="228600"/>
              </a:xfrm>
              <a:custGeom>
                <a:avLst/>
                <a:gdLst>
                  <a:gd name="T0" fmla="*/ 0 w 109"/>
                  <a:gd name="T1" fmla="*/ 144 h 144"/>
                  <a:gd name="T2" fmla="*/ 109 w 109"/>
                  <a:gd name="T3" fmla="*/ 144 h 144"/>
                  <a:gd name="T4" fmla="*/ 109 w 109"/>
                  <a:gd name="T5" fmla="*/ 0 h 144"/>
                  <a:gd name="T6" fmla="*/ 0 w 109"/>
                  <a:gd name="T7" fmla="*/ 0 h 144"/>
                  <a:gd name="T8" fmla="*/ 0 w 109"/>
                  <a:gd name="T9" fmla="*/ 144 h 144"/>
                  <a:gd name="T10" fmla="*/ 12 w 109"/>
                  <a:gd name="T11" fmla="*/ 6 h 144"/>
                  <a:gd name="T12" fmla="*/ 103 w 109"/>
                  <a:gd name="T13" fmla="*/ 6 h 144"/>
                  <a:gd name="T14" fmla="*/ 103 w 109"/>
                  <a:gd name="T15" fmla="*/ 138 h 144"/>
                  <a:gd name="T16" fmla="*/ 12 w 109"/>
                  <a:gd name="T17" fmla="*/ 138 h 144"/>
                  <a:gd name="T18" fmla="*/ 12 w 109"/>
                  <a:gd name="T19"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44">
                    <a:moveTo>
                      <a:pt x="0" y="144"/>
                    </a:moveTo>
                    <a:lnTo>
                      <a:pt x="109" y="144"/>
                    </a:lnTo>
                    <a:lnTo>
                      <a:pt x="109" y="0"/>
                    </a:lnTo>
                    <a:lnTo>
                      <a:pt x="0" y="0"/>
                    </a:lnTo>
                    <a:lnTo>
                      <a:pt x="0" y="144"/>
                    </a:lnTo>
                    <a:close/>
                    <a:moveTo>
                      <a:pt x="12" y="6"/>
                    </a:moveTo>
                    <a:lnTo>
                      <a:pt x="103" y="6"/>
                    </a:lnTo>
                    <a:lnTo>
                      <a:pt x="103" y="138"/>
                    </a:lnTo>
                    <a:lnTo>
                      <a:pt x="12" y="138"/>
                    </a:lnTo>
                    <a:lnTo>
                      <a:pt x="12" y="6"/>
                    </a:lnTo>
                    <a:close/>
                  </a:path>
                </a:pathLst>
              </a:custGeom>
              <a:solidFill>
                <a:srgbClr val="DF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2" name="Rectangle 442"/>
              <p:cNvSpPr>
                <a:spLocks noChangeArrowheads="1"/>
              </p:cNvSpPr>
              <p:nvPr/>
            </p:nvSpPr>
            <p:spPr bwMode="auto">
              <a:xfrm>
                <a:off x="10157584" y="3489066"/>
                <a:ext cx="192088" cy="9525"/>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3" name="Rectangle 443"/>
              <p:cNvSpPr>
                <a:spLocks noChangeArrowheads="1"/>
              </p:cNvSpPr>
              <p:nvPr/>
            </p:nvSpPr>
            <p:spPr bwMode="auto">
              <a:xfrm>
                <a:off x="10148059" y="3727191"/>
                <a:ext cx="220663"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4" name="Freeform 444"/>
              <p:cNvSpPr>
                <a:spLocks/>
              </p:cNvSpPr>
              <p:nvPr/>
            </p:nvSpPr>
            <p:spPr bwMode="auto">
              <a:xfrm>
                <a:off x="9605134" y="2944553"/>
                <a:ext cx="200025" cy="296863"/>
              </a:xfrm>
              <a:custGeom>
                <a:avLst/>
                <a:gdLst>
                  <a:gd name="T0" fmla="*/ 11 w 21"/>
                  <a:gd name="T1" fmla="*/ 0 h 31"/>
                  <a:gd name="T2" fmla="*/ 0 w 21"/>
                  <a:gd name="T3" fmla="*/ 11 h 31"/>
                  <a:gd name="T4" fmla="*/ 0 w 21"/>
                  <a:gd name="T5" fmla="*/ 31 h 31"/>
                  <a:gd name="T6" fmla="*/ 21 w 21"/>
                  <a:gd name="T7" fmla="*/ 31 h 31"/>
                  <a:gd name="T8" fmla="*/ 21 w 21"/>
                  <a:gd name="T9" fmla="*/ 11 h 31"/>
                  <a:gd name="T10" fmla="*/ 11 w 21"/>
                  <a:gd name="T11" fmla="*/ 0 h 31"/>
                </a:gdLst>
                <a:ahLst/>
                <a:cxnLst>
                  <a:cxn ang="0">
                    <a:pos x="T0" y="T1"/>
                  </a:cxn>
                  <a:cxn ang="0">
                    <a:pos x="T2" y="T3"/>
                  </a:cxn>
                  <a:cxn ang="0">
                    <a:pos x="T4" y="T5"/>
                  </a:cxn>
                  <a:cxn ang="0">
                    <a:pos x="T6" y="T7"/>
                  </a:cxn>
                  <a:cxn ang="0">
                    <a:pos x="T8" y="T9"/>
                  </a:cxn>
                  <a:cxn ang="0">
                    <a:pos x="T10" y="T11"/>
                  </a:cxn>
                </a:cxnLst>
                <a:rect l="0" t="0" r="r" b="b"/>
                <a:pathLst>
                  <a:path w="21" h="31">
                    <a:moveTo>
                      <a:pt x="11" y="0"/>
                    </a:moveTo>
                    <a:cubicBezTo>
                      <a:pt x="5" y="0"/>
                      <a:pt x="0" y="5"/>
                      <a:pt x="0" y="11"/>
                    </a:cubicBezTo>
                    <a:cubicBezTo>
                      <a:pt x="0" y="31"/>
                      <a:pt x="0" y="31"/>
                      <a:pt x="0" y="31"/>
                    </a:cubicBezTo>
                    <a:cubicBezTo>
                      <a:pt x="21" y="31"/>
                      <a:pt x="21" y="31"/>
                      <a:pt x="21" y="31"/>
                    </a:cubicBezTo>
                    <a:cubicBezTo>
                      <a:pt x="21" y="11"/>
                      <a:pt x="21" y="11"/>
                      <a:pt x="21" y="11"/>
                    </a:cubicBezTo>
                    <a:cubicBezTo>
                      <a:pt x="21" y="5"/>
                      <a:pt x="17" y="0"/>
                      <a:pt x="11" y="0"/>
                    </a:cubicBezTo>
                    <a:close/>
                  </a:path>
                </a:pathLst>
              </a:custGeom>
              <a:solidFill>
                <a:srgbClr val="4F5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5" name="Freeform 445"/>
              <p:cNvSpPr>
                <a:spLocks noEditPoints="1"/>
              </p:cNvSpPr>
              <p:nvPr/>
            </p:nvSpPr>
            <p:spPr bwMode="auto">
              <a:xfrm>
                <a:off x="9595609" y="2944553"/>
                <a:ext cx="219075" cy="306388"/>
              </a:xfrm>
              <a:custGeom>
                <a:avLst/>
                <a:gdLst>
                  <a:gd name="T0" fmla="*/ 12 w 23"/>
                  <a:gd name="T1" fmla="*/ 0 h 32"/>
                  <a:gd name="T2" fmla="*/ 0 w 23"/>
                  <a:gd name="T3" fmla="*/ 11 h 32"/>
                  <a:gd name="T4" fmla="*/ 0 w 23"/>
                  <a:gd name="T5" fmla="*/ 32 h 32"/>
                  <a:gd name="T6" fmla="*/ 23 w 23"/>
                  <a:gd name="T7" fmla="*/ 32 h 32"/>
                  <a:gd name="T8" fmla="*/ 23 w 23"/>
                  <a:gd name="T9" fmla="*/ 11 h 32"/>
                  <a:gd name="T10" fmla="*/ 12 w 23"/>
                  <a:gd name="T11" fmla="*/ 0 h 32"/>
                  <a:gd name="T12" fmla="*/ 22 w 23"/>
                  <a:gd name="T13" fmla="*/ 30 h 32"/>
                  <a:gd name="T14" fmla="*/ 2 w 23"/>
                  <a:gd name="T15" fmla="*/ 30 h 32"/>
                  <a:gd name="T16" fmla="*/ 2 w 23"/>
                  <a:gd name="T17" fmla="*/ 11 h 32"/>
                  <a:gd name="T18" fmla="*/ 12 w 23"/>
                  <a:gd name="T19" fmla="*/ 1 h 32"/>
                  <a:gd name="T20" fmla="*/ 22 w 23"/>
                  <a:gd name="T21" fmla="*/ 11 h 32"/>
                  <a:gd name="T22" fmla="*/ 22 w 23"/>
                  <a:gd name="T23"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2">
                    <a:moveTo>
                      <a:pt x="12" y="0"/>
                    </a:moveTo>
                    <a:cubicBezTo>
                      <a:pt x="6" y="0"/>
                      <a:pt x="0" y="5"/>
                      <a:pt x="0" y="11"/>
                    </a:cubicBezTo>
                    <a:cubicBezTo>
                      <a:pt x="0" y="32"/>
                      <a:pt x="0" y="32"/>
                      <a:pt x="0" y="32"/>
                    </a:cubicBezTo>
                    <a:cubicBezTo>
                      <a:pt x="23" y="32"/>
                      <a:pt x="23" y="32"/>
                      <a:pt x="23" y="32"/>
                    </a:cubicBezTo>
                    <a:cubicBezTo>
                      <a:pt x="23" y="11"/>
                      <a:pt x="23" y="11"/>
                      <a:pt x="23" y="11"/>
                    </a:cubicBezTo>
                    <a:cubicBezTo>
                      <a:pt x="23" y="5"/>
                      <a:pt x="18" y="0"/>
                      <a:pt x="12" y="0"/>
                    </a:cubicBezTo>
                    <a:close/>
                    <a:moveTo>
                      <a:pt x="22" y="30"/>
                    </a:moveTo>
                    <a:cubicBezTo>
                      <a:pt x="2" y="30"/>
                      <a:pt x="2" y="30"/>
                      <a:pt x="2" y="30"/>
                    </a:cubicBezTo>
                    <a:cubicBezTo>
                      <a:pt x="2" y="11"/>
                      <a:pt x="2" y="11"/>
                      <a:pt x="2" y="11"/>
                    </a:cubicBezTo>
                    <a:cubicBezTo>
                      <a:pt x="2" y="6"/>
                      <a:pt x="7" y="1"/>
                      <a:pt x="12" y="1"/>
                    </a:cubicBezTo>
                    <a:cubicBezTo>
                      <a:pt x="17" y="1"/>
                      <a:pt x="22" y="6"/>
                      <a:pt x="22" y="11"/>
                    </a:cubicBezTo>
                    <a:lnTo>
                      <a:pt x="22" y="30"/>
                    </a:lnTo>
                    <a:close/>
                  </a:path>
                </a:pathLst>
              </a:custGeom>
              <a:solidFill>
                <a:srgbClr val="DF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6" name="Rectangle 446"/>
              <p:cNvSpPr>
                <a:spLocks noChangeArrowheads="1"/>
              </p:cNvSpPr>
              <p:nvPr/>
            </p:nvSpPr>
            <p:spPr bwMode="auto">
              <a:xfrm>
                <a:off x="9586084" y="3250941"/>
                <a:ext cx="247650"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7" name="Rectangle 447"/>
              <p:cNvSpPr>
                <a:spLocks noChangeArrowheads="1"/>
              </p:cNvSpPr>
              <p:nvPr/>
            </p:nvSpPr>
            <p:spPr bwMode="auto">
              <a:xfrm>
                <a:off x="9700384" y="2954078"/>
                <a:ext cx="19050" cy="296863"/>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8" name="Rectangle 448"/>
              <p:cNvSpPr>
                <a:spLocks noChangeArrowheads="1"/>
              </p:cNvSpPr>
              <p:nvPr/>
            </p:nvSpPr>
            <p:spPr bwMode="auto">
              <a:xfrm>
                <a:off x="9614659" y="3039803"/>
                <a:ext cx="200025" cy="19050"/>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9" name="Rectangle 449"/>
              <p:cNvSpPr>
                <a:spLocks noChangeArrowheads="1"/>
              </p:cNvSpPr>
              <p:nvPr/>
            </p:nvSpPr>
            <p:spPr bwMode="auto">
              <a:xfrm>
                <a:off x="9614659" y="3144578"/>
                <a:ext cx="200025" cy="95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0" name="Freeform 450"/>
              <p:cNvSpPr>
                <a:spLocks/>
              </p:cNvSpPr>
              <p:nvPr/>
            </p:nvSpPr>
            <p:spPr bwMode="auto">
              <a:xfrm>
                <a:off x="9881359" y="2944553"/>
                <a:ext cx="200025" cy="296863"/>
              </a:xfrm>
              <a:custGeom>
                <a:avLst/>
                <a:gdLst>
                  <a:gd name="T0" fmla="*/ 10 w 21"/>
                  <a:gd name="T1" fmla="*/ 0 h 31"/>
                  <a:gd name="T2" fmla="*/ 0 w 21"/>
                  <a:gd name="T3" fmla="*/ 11 h 31"/>
                  <a:gd name="T4" fmla="*/ 0 w 21"/>
                  <a:gd name="T5" fmla="*/ 31 h 31"/>
                  <a:gd name="T6" fmla="*/ 21 w 21"/>
                  <a:gd name="T7" fmla="*/ 31 h 31"/>
                  <a:gd name="T8" fmla="*/ 21 w 21"/>
                  <a:gd name="T9" fmla="*/ 11 h 31"/>
                  <a:gd name="T10" fmla="*/ 10 w 21"/>
                  <a:gd name="T11" fmla="*/ 0 h 31"/>
                </a:gdLst>
                <a:ahLst/>
                <a:cxnLst>
                  <a:cxn ang="0">
                    <a:pos x="T0" y="T1"/>
                  </a:cxn>
                  <a:cxn ang="0">
                    <a:pos x="T2" y="T3"/>
                  </a:cxn>
                  <a:cxn ang="0">
                    <a:pos x="T4" y="T5"/>
                  </a:cxn>
                  <a:cxn ang="0">
                    <a:pos x="T6" y="T7"/>
                  </a:cxn>
                  <a:cxn ang="0">
                    <a:pos x="T8" y="T9"/>
                  </a:cxn>
                  <a:cxn ang="0">
                    <a:pos x="T10" y="T11"/>
                  </a:cxn>
                </a:cxnLst>
                <a:rect l="0" t="0" r="r" b="b"/>
                <a:pathLst>
                  <a:path w="21" h="31">
                    <a:moveTo>
                      <a:pt x="10" y="0"/>
                    </a:moveTo>
                    <a:cubicBezTo>
                      <a:pt x="4" y="0"/>
                      <a:pt x="0" y="5"/>
                      <a:pt x="0" y="11"/>
                    </a:cubicBezTo>
                    <a:cubicBezTo>
                      <a:pt x="0" y="31"/>
                      <a:pt x="0" y="31"/>
                      <a:pt x="0" y="31"/>
                    </a:cubicBezTo>
                    <a:cubicBezTo>
                      <a:pt x="21" y="31"/>
                      <a:pt x="21" y="31"/>
                      <a:pt x="21" y="31"/>
                    </a:cubicBezTo>
                    <a:cubicBezTo>
                      <a:pt x="21" y="11"/>
                      <a:pt x="21" y="11"/>
                      <a:pt x="21" y="11"/>
                    </a:cubicBezTo>
                    <a:cubicBezTo>
                      <a:pt x="21" y="5"/>
                      <a:pt x="16" y="0"/>
                      <a:pt x="10" y="0"/>
                    </a:cubicBezTo>
                    <a:close/>
                  </a:path>
                </a:pathLst>
              </a:custGeom>
              <a:solidFill>
                <a:srgbClr val="4F5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1" name="Freeform 451"/>
              <p:cNvSpPr>
                <a:spLocks noEditPoints="1"/>
              </p:cNvSpPr>
              <p:nvPr/>
            </p:nvSpPr>
            <p:spPr bwMode="auto">
              <a:xfrm>
                <a:off x="9871834" y="2944553"/>
                <a:ext cx="219075" cy="306388"/>
              </a:xfrm>
              <a:custGeom>
                <a:avLst/>
                <a:gdLst>
                  <a:gd name="T0" fmla="*/ 11 w 23"/>
                  <a:gd name="T1" fmla="*/ 0 h 32"/>
                  <a:gd name="T2" fmla="*/ 0 w 23"/>
                  <a:gd name="T3" fmla="*/ 11 h 32"/>
                  <a:gd name="T4" fmla="*/ 0 w 23"/>
                  <a:gd name="T5" fmla="*/ 32 h 32"/>
                  <a:gd name="T6" fmla="*/ 23 w 23"/>
                  <a:gd name="T7" fmla="*/ 32 h 32"/>
                  <a:gd name="T8" fmla="*/ 23 w 23"/>
                  <a:gd name="T9" fmla="*/ 11 h 32"/>
                  <a:gd name="T10" fmla="*/ 11 w 23"/>
                  <a:gd name="T11" fmla="*/ 0 h 32"/>
                  <a:gd name="T12" fmla="*/ 21 w 23"/>
                  <a:gd name="T13" fmla="*/ 30 h 32"/>
                  <a:gd name="T14" fmla="*/ 2 w 23"/>
                  <a:gd name="T15" fmla="*/ 30 h 32"/>
                  <a:gd name="T16" fmla="*/ 2 w 23"/>
                  <a:gd name="T17" fmla="*/ 11 h 32"/>
                  <a:gd name="T18" fmla="*/ 11 w 23"/>
                  <a:gd name="T19" fmla="*/ 1 h 32"/>
                  <a:gd name="T20" fmla="*/ 21 w 23"/>
                  <a:gd name="T21" fmla="*/ 11 h 32"/>
                  <a:gd name="T22" fmla="*/ 21 w 23"/>
                  <a:gd name="T23"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2">
                    <a:moveTo>
                      <a:pt x="11" y="0"/>
                    </a:moveTo>
                    <a:cubicBezTo>
                      <a:pt x="5" y="0"/>
                      <a:pt x="0" y="5"/>
                      <a:pt x="0" y="11"/>
                    </a:cubicBezTo>
                    <a:cubicBezTo>
                      <a:pt x="0" y="32"/>
                      <a:pt x="0" y="32"/>
                      <a:pt x="0" y="32"/>
                    </a:cubicBezTo>
                    <a:cubicBezTo>
                      <a:pt x="23" y="32"/>
                      <a:pt x="23" y="32"/>
                      <a:pt x="23" y="32"/>
                    </a:cubicBezTo>
                    <a:cubicBezTo>
                      <a:pt x="23" y="11"/>
                      <a:pt x="23" y="11"/>
                      <a:pt x="23" y="11"/>
                    </a:cubicBezTo>
                    <a:cubicBezTo>
                      <a:pt x="23" y="5"/>
                      <a:pt x="18" y="0"/>
                      <a:pt x="11" y="0"/>
                    </a:cubicBezTo>
                    <a:close/>
                    <a:moveTo>
                      <a:pt x="21" y="30"/>
                    </a:moveTo>
                    <a:cubicBezTo>
                      <a:pt x="2" y="30"/>
                      <a:pt x="2" y="30"/>
                      <a:pt x="2" y="30"/>
                    </a:cubicBezTo>
                    <a:cubicBezTo>
                      <a:pt x="2" y="11"/>
                      <a:pt x="2" y="11"/>
                      <a:pt x="2" y="11"/>
                    </a:cubicBezTo>
                    <a:cubicBezTo>
                      <a:pt x="2" y="6"/>
                      <a:pt x="6" y="1"/>
                      <a:pt x="11" y="1"/>
                    </a:cubicBezTo>
                    <a:cubicBezTo>
                      <a:pt x="17" y="1"/>
                      <a:pt x="21" y="6"/>
                      <a:pt x="21" y="11"/>
                    </a:cubicBezTo>
                    <a:lnTo>
                      <a:pt x="21" y="30"/>
                    </a:lnTo>
                    <a:close/>
                  </a:path>
                </a:pathLst>
              </a:custGeom>
              <a:solidFill>
                <a:srgbClr val="DF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2" name="Rectangle 452"/>
              <p:cNvSpPr>
                <a:spLocks noChangeArrowheads="1"/>
              </p:cNvSpPr>
              <p:nvPr/>
            </p:nvSpPr>
            <p:spPr bwMode="auto">
              <a:xfrm>
                <a:off x="9852784" y="3250941"/>
                <a:ext cx="247650"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3" name="Rectangle 453"/>
              <p:cNvSpPr>
                <a:spLocks noChangeArrowheads="1"/>
              </p:cNvSpPr>
              <p:nvPr/>
            </p:nvSpPr>
            <p:spPr bwMode="auto">
              <a:xfrm>
                <a:off x="9976609" y="2954078"/>
                <a:ext cx="9525" cy="296863"/>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4" name="Rectangle 454"/>
              <p:cNvSpPr>
                <a:spLocks noChangeArrowheads="1"/>
              </p:cNvSpPr>
              <p:nvPr/>
            </p:nvSpPr>
            <p:spPr bwMode="auto">
              <a:xfrm>
                <a:off x="9881359" y="3039803"/>
                <a:ext cx="209550" cy="19050"/>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5" name="Rectangle 455"/>
              <p:cNvSpPr>
                <a:spLocks noChangeArrowheads="1"/>
              </p:cNvSpPr>
              <p:nvPr/>
            </p:nvSpPr>
            <p:spPr bwMode="auto">
              <a:xfrm>
                <a:off x="9881359" y="3144578"/>
                <a:ext cx="209550" cy="95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6" name="Freeform 456"/>
              <p:cNvSpPr>
                <a:spLocks/>
              </p:cNvSpPr>
              <p:nvPr/>
            </p:nvSpPr>
            <p:spPr bwMode="auto">
              <a:xfrm>
                <a:off x="10148059" y="2944553"/>
                <a:ext cx="201613" cy="296863"/>
              </a:xfrm>
              <a:custGeom>
                <a:avLst/>
                <a:gdLst>
                  <a:gd name="T0" fmla="*/ 11 w 21"/>
                  <a:gd name="T1" fmla="*/ 0 h 31"/>
                  <a:gd name="T2" fmla="*/ 0 w 21"/>
                  <a:gd name="T3" fmla="*/ 11 h 31"/>
                  <a:gd name="T4" fmla="*/ 0 w 21"/>
                  <a:gd name="T5" fmla="*/ 31 h 31"/>
                  <a:gd name="T6" fmla="*/ 21 w 21"/>
                  <a:gd name="T7" fmla="*/ 31 h 31"/>
                  <a:gd name="T8" fmla="*/ 21 w 21"/>
                  <a:gd name="T9" fmla="*/ 11 h 31"/>
                  <a:gd name="T10" fmla="*/ 11 w 21"/>
                  <a:gd name="T11" fmla="*/ 0 h 31"/>
                </a:gdLst>
                <a:ahLst/>
                <a:cxnLst>
                  <a:cxn ang="0">
                    <a:pos x="T0" y="T1"/>
                  </a:cxn>
                  <a:cxn ang="0">
                    <a:pos x="T2" y="T3"/>
                  </a:cxn>
                  <a:cxn ang="0">
                    <a:pos x="T4" y="T5"/>
                  </a:cxn>
                  <a:cxn ang="0">
                    <a:pos x="T6" y="T7"/>
                  </a:cxn>
                  <a:cxn ang="0">
                    <a:pos x="T8" y="T9"/>
                  </a:cxn>
                  <a:cxn ang="0">
                    <a:pos x="T10" y="T11"/>
                  </a:cxn>
                </a:cxnLst>
                <a:rect l="0" t="0" r="r" b="b"/>
                <a:pathLst>
                  <a:path w="21" h="31">
                    <a:moveTo>
                      <a:pt x="11" y="0"/>
                    </a:moveTo>
                    <a:cubicBezTo>
                      <a:pt x="5" y="0"/>
                      <a:pt x="0" y="5"/>
                      <a:pt x="0" y="11"/>
                    </a:cubicBezTo>
                    <a:cubicBezTo>
                      <a:pt x="0" y="31"/>
                      <a:pt x="0" y="31"/>
                      <a:pt x="0" y="31"/>
                    </a:cubicBezTo>
                    <a:cubicBezTo>
                      <a:pt x="21" y="31"/>
                      <a:pt x="21" y="31"/>
                      <a:pt x="21" y="31"/>
                    </a:cubicBezTo>
                    <a:cubicBezTo>
                      <a:pt x="21" y="11"/>
                      <a:pt x="21" y="11"/>
                      <a:pt x="21" y="11"/>
                    </a:cubicBezTo>
                    <a:cubicBezTo>
                      <a:pt x="21" y="5"/>
                      <a:pt x="16" y="0"/>
                      <a:pt x="11" y="0"/>
                    </a:cubicBezTo>
                    <a:close/>
                  </a:path>
                </a:pathLst>
              </a:custGeom>
              <a:solidFill>
                <a:srgbClr val="4F5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7" name="Freeform 457"/>
              <p:cNvSpPr>
                <a:spLocks noEditPoints="1"/>
              </p:cNvSpPr>
              <p:nvPr/>
            </p:nvSpPr>
            <p:spPr bwMode="auto">
              <a:xfrm>
                <a:off x="10138534" y="2944553"/>
                <a:ext cx="220663" cy="306388"/>
              </a:xfrm>
              <a:custGeom>
                <a:avLst/>
                <a:gdLst>
                  <a:gd name="T0" fmla="*/ 12 w 23"/>
                  <a:gd name="T1" fmla="*/ 0 h 32"/>
                  <a:gd name="T2" fmla="*/ 0 w 23"/>
                  <a:gd name="T3" fmla="*/ 11 h 32"/>
                  <a:gd name="T4" fmla="*/ 0 w 23"/>
                  <a:gd name="T5" fmla="*/ 32 h 32"/>
                  <a:gd name="T6" fmla="*/ 23 w 23"/>
                  <a:gd name="T7" fmla="*/ 32 h 32"/>
                  <a:gd name="T8" fmla="*/ 23 w 23"/>
                  <a:gd name="T9" fmla="*/ 11 h 32"/>
                  <a:gd name="T10" fmla="*/ 12 w 23"/>
                  <a:gd name="T11" fmla="*/ 0 h 32"/>
                  <a:gd name="T12" fmla="*/ 21 w 23"/>
                  <a:gd name="T13" fmla="*/ 30 h 32"/>
                  <a:gd name="T14" fmla="*/ 2 w 23"/>
                  <a:gd name="T15" fmla="*/ 30 h 32"/>
                  <a:gd name="T16" fmla="*/ 2 w 23"/>
                  <a:gd name="T17" fmla="*/ 11 h 32"/>
                  <a:gd name="T18" fmla="*/ 12 w 23"/>
                  <a:gd name="T19" fmla="*/ 1 h 32"/>
                  <a:gd name="T20" fmla="*/ 21 w 23"/>
                  <a:gd name="T21" fmla="*/ 11 h 32"/>
                  <a:gd name="T22" fmla="*/ 21 w 23"/>
                  <a:gd name="T23"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2">
                    <a:moveTo>
                      <a:pt x="12" y="0"/>
                    </a:moveTo>
                    <a:cubicBezTo>
                      <a:pt x="5" y="0"/>
                      <a:pt x="0" y="5"/>
                      <a:pt x="0" y="11"/>
                    </a:cubicBezTo>
                    <a:cubicBezTo>
                      <a:pt x="0" y="32"/>
                      <a:pt x="0" y="32"/>
                      <a:pt x="0" y="32"/>
                    </a:cubicBezTo>
                    <a:cubicBezTo>
                      <a:pt x="23" y="32"/>
                      <a:pt x="23" y="32"/>
                      <a:pt x="23" y="32"/>
                    </a:cubicBezTo>
                    <a:cubicBezTo>
                      <a:pt x="23" y="11"/>
                      <a:pt x="23" y="11"/>
                      <a:pt x="23" y="11"/>
                    </a:cubicBezTo>
                    <a:cubicBezTo>
                      <a:pt x="23" y="5"/>
                      <a:pt x="18" y="0"/>
                      <a:pt x="12" y="0"/>
                    </a:cubicBezTo>
                    <a:close/>
                    <a:moveTo>
                      <a:pt x="21" y="30"/>
                    </a:moveTo>
                    <a:cubicBezTo>
                      <a:pt x="2" y="30"/>
                      <a:pt x="2" y="30"/>
                      <a:pt x="2" y="30"/>
                    </a:cubicBezTo>
                    <a:cubicBezTo>
                      <a:pt x="2" y="11"/>
                      <a:pt x="2" y="11"/>
                      <a:pt x="2" y="11"/>
                    </a:cubicBezTo>
                    <a:cubicBezTo>
                      <a:pt x="2" y="6"/>
                      <a:pt x="6" y="1"/>
                      <a:pt x="12" y="1"/>
                    </a:cubicBezTo>
                    <a:cubicBezTo>
                      <a:pt x="17" y="1"/>
                      <a:pt x="21" y="6"/>
                      <a:pt x="21" y="11"/>
                    </a:cubicBezTo>
                    <a:lnTo>
                      <a:pt x="21" y="30"/>
                    </a:lnTo>
                    <a:close/>
                  </a:path>
                </a:pathLst>
              </a:custGeom>
              <a:solidFill>
                <a:srgbClr val="DF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8" name="Rectangle 458"/>
              <p:cNvSpPr>
                <a:spLocks noChangeArrowheads="1"/>
              </p:cNvSpPr>
              <p:nvPr/>
            </p:nvSpPr>
            <p:spPr bwMode="auto">
              <a:xfrm>
                <a:off x="10129009" y="3250941"/>
                <a:ext cx="239713"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9" name="Rectangle 459"/>
              <p:cNvSpPr>
                <a:spLocks noChangeArrowheads="1"/>
              </p:cNvSpPr>
              <p:nvPr/>
            </p:nvSpPr>
            <p:spPr bwMode="auto">
              <a:xfrm>
                <a:off x="10243309" y="2954078"/>
                <a:ext cx="9525" cy="296863"/>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0" name="Rectangle 460"/>
              <p:cNvSpPr>
                <a:spLocks noChangeArrowheads="1"/>
              </p:cNvSpPr>
              <p:nvPr/>
            </p:nvSpPr>
            <p:spPr bwMode="auto">
              <a:xfrm>
                <a:off x="10148059" y="3039803"/>
                <a:ext cx="211138" cy="19050"/>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1" name="Rectangle 461"/>
              <p:cNvSpPr>
                <a:spLocks noChangeArrowheads="1"/>
              </p:cNvSpPr>
              <p:nvPr/>
            </p:nvSpPr>
            <p:spPr bwMode="auto">
              <a:xfrm>
                <a:off x="10148059" y="3144578"/>
                <a:ext cx="211138" cy="95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2" name="Freeform 462"/>
              <p:cNvSpPr>
                <a:spLocks/>
              </p:cNvSpPr>
              <p:nvPr/>
            </p:nvSpPr>
            <p:spPr bwMode="auto">
              <a:xfrm>
                <a:off x="9605134" y="2515928"/>
                <a:ext cx="209550" cy="209550"/>
              </a:xfrm>
              <a:custGeom>
                <a:avLst/>
                <a:gdLst>
                  <a:gd name="T0" fmla="*/ 11 w 22"/>
                  <a:gd name="T1" fmla="*/ 0 h 22"/>
                  <a:gd name="T2" fmla="*/ 0 w 22"/>
                  <a:gd name="T3" fmla="*/ 11 h 22"/>
                  <a:gd name="T4" fmla="*/ 0 w 22"/>
                  <a:gd name="T5" fmla="*/ 22 h 22"/>
                  <a:gd name="T6" fmla="*/ 22 w 22"/>
                  <a:gd name="T7" fmla="*/ 22 h 22"/>
                  <a:gd name="T8" fmla="*/ 22 w 22"/>
                  <a:gd name="T9" fmla="*/ 11 h 22"/>
                  <a:gd name="T10" fmla="*/ 11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11" y="0"/>
                    </a:moveTo>
                    <a:cubicBezTo>
                      <a:pt x="5" y="0"/>
                      <a:pt x="0" y="5"/>
                      <a:pt x="0" y="11"/>
                    </a:cubicBezTo>
                    <a:cubicBezTo>
                      <a:pt x="0" y="22"/>
                      <a:pt x="0" y="22"/>
                      <a:pt x="0" y="22"/>
                    </a:cubicBezTo>
                    <a:cubicBezTo>
                      <a:pt x="22" y="22"/>
                      <a:pt x="22" y="22"/>
                      <a:pt x="22" y="22"/>
                    </a:cubicBezTo>
                    <a:cubicBezTo>
                      <a:pt x="22" y="11"/>
                      <a:pt x="22" y="11"/>
                      <a:pt x="22" y="11"/>
                    </a:cubicBezTo>
                    <a:cubicBezTo>
                      <a:pt x="22" y="5"/>
                      <a:pt x="17" y="0"/>
                      <a:pt x="11" y="0"/>
                    </a:cubicBezTo>
                    <a:close/>
                  </a:path>
                </a:pathLst>
              </a:custGeom>
              <a:solidFill>
                <a:srgbClr val="4F5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3" name="Freeform 463"/>
              <p:cNvSpPr>
                <a:spLocks/>
              </p:cNvSpPr>
              <p:nvPr/>
            </p:nvSpPr>
            <p:spPr bwMode="auto">
              <a:xfrm>
                <a:off x="9605134" y="2506403"/>
                <a:ext cx="209550" cy="219075"/>
              </a:xfrm>
              <a:custGeom>
                <a:avLst/>
                <a:gdLst>
                  <a:gd name="T0" fmla="*/ 11 w 22"/>
                  <a:gd name="T1" fmla="*/ 0 h 23"/>
                  <a:gd name="T2" fmla="*/ 0 w 22"/>
                  <a:gd name="T3" fmla="*/ 12 h 23"/>
                  <a:gd name="T4" fmla="*/ 0 w 22"/>
                  <a:gd name="T5" fmla="*/ 23 h 23"/>
                  <a:gd name="T6" fmla="*/ 1 w 22"/>
                  <a:gd name="T7" fmla="*/ 23 h 23"/>
                  <a:gd name="T8" fmla="*/ 1 w 22"/>
                  <a:gd name="T9" fmla="*/ 12 h 23"/>
                  <a:gd name="T10" fmla="*/ 11 w 22"/>
                  <a:gd name="T11" fmla="*/ 2 h 23"/>
                  <a:gd name="T12" fmla="*/ 21 w 22"/>
                  <a:gd name="T13" fmla="*/ 12 h 23"/>
                  <a:gd name="T14" fmla="*/ 21 w 22"/>
                  <a:gd name="T15" fmla="*/ 23 h 23"/>
                  <a:gd name="T16" fmla="*/ 22 w 22"/>
                  <a:gd name="T17" fmla="*/ 23 h 23"/>
                  <a:gd name="T18" fmla="*/ 22 w 22"/>
                  <a:gd name="T19" fmla="*/ 12 h 23"/>
                  <a:gd name="T20" fmla="*/ 11 w 22"/>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23">
                    <a:moveTo>
                      <a:pt x="11" y="0"/>
                    </a:moveTo>
                    <a:cubicBezTo>
                      <a:pt x="5" y="0"/>
                      <a:pt x="0" y="6"/>
                      <a:pt x="0" y="12"/>
                    </a:cubicBezTo>
                    <a:cubicBezTo>
                      <a:pt x="0" y="23"/>
                      <a:pt x="0" y="23"/>
                      <a:pt x="0" y="23"/>
                    </a:cubicBezTo>
                    <a:cubicBezTo>
                      <a:pt x="1" y="23"/>
                      <a:pt x="1" y="23"/>
                      <a:pt x="1" y="23"/>
                    </a:cubicBezTo>
                    <a:cubicBezTo>
                      <a:pt x="1" y="12"/>
                      <a:pt x="1" y="12"/>
                      <a:pt x="1" y="12"/>
                    </a:cubicBezTo>
                    <a:cubicBezTo>
                      <a:pt x="1" y="7"/>
                      <a:pt x="6" y="2"/>
                      <a:pt x="11" y="2"/>
                    </a:cubicBezTo>
                    <a:cubicBezTo>
                      <a:pt x="16" y="2"/>
                      <a:pt x="21" y="7"/>
                      <a:pt x="21" y="12"/>
                    </a:cubicBezTo>
                    <a:cubicBezTo>
                      <a:pt x="21" y="23"/>
                      <a:pt x="21" y="23"/>
                      <a:pt x="21" y="23"/>
                    </a:cubicBezTo>
                    <a:cubicBezTo>
                      <a:pt x="22" y="23"/>
                      <a:pt x="22" y="23"/>
                      <a:pt x="22" y="23"/>
                    </a:cubicBezTo>
                    <a:cubicBezTo>
                      <a:pt x="22" y="12"/>
                      <a:pt x="22" y="12"/>
                      <a:pt x="22" y="12"/>
                    </a:cubicBezTo>
                    <a:cubicBezTo>
                      <a:pt x="22" y="6"/>
                      <a:pt x="17" y="0"/>
                      <a:pt x="11" y="0"/>
                    </a:cubicBezTo>
                    <a:close/>
                  </a:path>
                </a:pathLst>
              </a:custGeom>
              <a:solidFill>
                <a:srgbClr val="DF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4" name="Rectangle 464"/>
              <p:cNvSpPr>
                <a:spLocks noChangeArrowheads="1"/>
              </p:cNvSpPr>
              <p:nvPr/>
            </p:nvSpPr>
            <p:spPr bwMode="auto">
              <a:xfrm>
                <a:off x="9586084" y="2725478"/>
                <a:ext cx="247650"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5" name="Rectangle 465"/>
              <p:cNvSpPr>
                <a:spLocks noChangeArrowheads="1"/>
              </p:cNvSpPr>
              <p:nvPr/>
            </p:nvSpPr>
            <p:spPr bwMode="auto">
              <a:xfrm>
                <a:off x="9700384" y="2525453"/>
                <a:ext cx="19050" cy="2000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6" name="Rectangle 466"/>
              <p:cNvSpPr>
                <a:spLocks noChangeArrowheads="1"/>
              </p:cNvSpPr>
              <p:nvPr/>
            </p:nvSpPr>
            <p:spPr bwMode="auto">
              <a:xfrm>
                <a:off x="9605134" y="2611178"/>
                <a:ext cx="209550" cy="19050"/>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7" name="Rectangle 467"/>
              <p:cNvSpPr>
                <a:spLocks noChangeArrowheads="1"/>
              </p:cNvSpPr>
              <p:nvPr/>
            </p:nvSpPr>
            <p:spPr bwMode="auto">
              <a:xfrm>
                <a:off x="9605134" y="2715953"/>
                <a:ext cx="209550" cy="95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8" name="Freeform 468"/>
              <p:cNvSpPr>
                <a:spLocks/>
              </p:cNvSpPr>
              <p:nvPr/>
            </p:nvSpPr>
            <p:spPr bwMode="auto">
              <a:xfrm>
                <a:off x="9881359" y="2515928"/>
                <a:ext cx="200025" cy="209550"/>
              </a:xfrm>
              <a:custGeom>
                <a:avLst/>
                <a:gdLst>
                  <a:gd name="T0" fmla="*/ 10 w 21"/>
                  <a:gd name="T1" fmla="*/ 0 h 22"/>
                  <a:gd name="T2" fmla="*/ 0 w 21"/>
                  <a:gd name="T3" fmla="*/ 11 h 22"/>
                  <a:gd name="T4" fmla="*/ 0 w 21"/>
                  <a:gd name="T5" fmla="*/ 22 h 22"/>
                  <a:gd name="T6" fmla="*/ 21 w 21"/>
                  <a:gd name="T7" fmla="*/ 22 h 22"/>
                  <a:gd name="T8" fmla="*/ 21 w 21"/>
                  <a:gd name="T9" fmla="*/ 11 h 22"/>
                  <a:gd name="T10" fmla="*/ 10 w 21"/>
                  <a:gd name="T11" fmla="*/ 0 h 22"/>
                </a:gdLst>
                <a:ahLst/>
                <a:cxnLst>
                  <a:cxn ang="0">
                    <a:pos x="T0" y="T1"/>
                  </a:cxn>
                  <a:cxn ang="0">
                    <a:pos x="T2" y="T3"/>
                  </a:cxn>
                  <a:cxn ang="0">
                    <a:pos x="T4" y="T5"/>
                  </a:cxn>
                  <a:cxn ang="0">
                    <a:pos x="T6" y="T7"/>
                  </a:cxn>
                  <a:cxn ang="0">
                    <a:pos x="T8" y="T9"/>
                  </a:cxn>
                  <a:cxn ang="0">
                    <a:pos x="T10" y="T11"/>
                  </a:cxn>
                </a:cxnLst>
                <a:rect l="0" t="0" r="r" b="b"/>
                <a:pathLst>
                  <a:path w="21" h="22">
                    <a:moveTo>
                      <a:pt x="10" y="0"/>
                    </a:moveTo>
                    <a:cubicBezTo>
                      <a:pt x="4" y="0"/>
                      <a:pt x="0" y="5"/>
                      <a:pt x="0" y="11"/>
                    </a:cubicBezTo>
                    <a:cubicBezTo>
                      <a:pt x="0" y="22"/>
                      <a:pt x="0" y="22"/>
                      <a:pt x="0" y="22"/>
                    </a:cubicBezTo>
                    <a:cubicBezTo>
                      <a:pt x="21" y="22"/>
                      <a:pt x="21" y="22"/>
                      <a:pt x="21" y="22"/>
                    </a:cubicBezTo>
                    <a:cubicBezTo>
                      <a:pt x="21" y="11"/>
                      <a:pt x="21" y="11"/>
                      <a:pt x="21" y="11"/>
                    </a:cubicBezTo>
                    <a:cubicBezTo>
                      <a:pt x="21" y="5"/>
                      <a:pt x="16" y="0"/>
                      <a:pt x="10" y="0"/>
                    </a:cubicBezTo>
                    <a:close/>
                  </a:path>
                </a:pathLst>
              </a:custGeom>
              <a:solidFill>
                <a:srgbClr val="4F5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9" name="Freeform 469"/>
              <p:cNvSpPr>
                <a:spLocks/>
              </p:cNvSpPr>
              <p:nvPr/>
            </p:nvSpPr>
            <p:spPr bwMode="auto">
              <a:xfrm>
                <a:off x="9871834" y="2506403"/>
                <a:ext cx="219075" cy="219075"/>
              </a:xfrm>
              <a:custGeom>
                <a:avLst/>
                <a:gdLst>
                  <a:gd name="T0" fmla="*/ 11 w 23"/>
                  <a:gd name="T1" fmla="*/ 0 h 23"/>
                  <a:gd name="T2" fmla="*/ 0 w 23"/>
                  <a:gd name="T3" fmla="*/ 12 h 23"/>
                  <a:gd name="T4" fmla="*/ 0 w 23"/>
                  <a:gd name="T5" fmla="*/ 23 h 23"/>
                  <a:gd name="T6" fmla="*/ 2 w 23"/>
                  <a:gd name="T7" fmla="*/ 23 h 23"/>
                  <a:gd name="T8" fmla="*/ 2 w 23"/>
                  <a:gd name="T9" fmla="*/ 12 h 23"/>
                  <a:gd name="T10" fmla="*/ 11 w 23"/>
                  <a:gd name="T11" fmla="*/ 2 h 23"/>
                  <a:gd name="T12" fmla="*/ 21 w 23"/>
                  <a:gd name="T13" fmla="*/ 12 h 23"/>
                  <a:gd name="T14" fmla="*/ 21 w 23"/>
                  <a:gd name="T15" fmla="*/ 23 h 23"/>
                  <a:gd name="T16" fmla="*/ 23 w 23"/>
                  <a:gd name="T17" fmla="*/ 23 h 23"/>
                  <a:gd name="T18" fmla="*/ 23 w 23"/>
                  <a:gd name="T19" fmla="*/ 12 h 23"/>
                  <a:gd name="T20" fmla="*/ 11 w 23"/>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3">
                    <a:moveTo>
                      <a:pt x="11" y="0"/>
                    </a:moveTo>
                    <a:cubicBezTo>
                      <a:pt x="5" y="0"/>
                      <a:pt x="0" y="6"/>
                      <a:pt x="0" y="12"/>
                    </a:cubicBezTo>
                    <a:cubicBezTo>
                      <a:pt x="0" y="23"/>
                      <a:pt x="0" y="23"/>
                      <a:pt x="0" y="23"/>
                    </a:cubicBezTo>
                    <a:cubicBezTo>
                      <a:pt x="2" y="23"/>
                      <a:pt x="2" y="23"/>
                      <a:pt x="2" y="23"/>
                    </a:cubicBezTo>
                    <a:cubicBezTo>
                      <a:pt x="2" y="12"/>
                      <a:pt x="2" y="12"/>
                      <a:pt x="2" y="12"/>
                    </a:cubicBezTo>
                    <a:cubicBezTo>
                      <a:pt x="2" y="7"/>
                      <a:pt x="6" y="2"/>
                      <a:pt x="11" y="2"/>
                    </a:cubicBezTo>
                    <a:cubicBezTo>
                      <a:pt x="17" y="2"/>
                      <a:pt x="21" y="7"/>
                      <a:pt x="21" y="12"/>
                    </a:cubicBezTo>
                    <a:cubicBezTo>
                      <a:pt x="21" y="23"/>
                      <a:pt x="21" y="23"/>
                      <a:pt x="21" y="23"/>
                    </a:cubicBezTo>
                    <a:cubicBezTo>
                      <a:pt x="23" y="23"/>
                      <a:pt x="23" y="23"/>
                      <a:pt x="23" y="23"/>
                    </a:cubicBezTo>
                    <a:cubicBezTo>
                      <a:pt x="23" y="12"/>
                      <a:pt x="23" y="12"/>
                      <a:pt x="23" y="12"/>
                    </a:cubicBezTo>
                    <a:cubicBezTo>
                      <a:pt x="23" y="6"/>
                      <a:pt x="18" y="0"/>
                      <a:pt x="11" y="0"/>
                    </a:cubicBezTo>
                    <a:close/>
                  </a:path>
                </a:pathLst>
              </a:custGeom>
              <a:solidFill>
                <a:srgbClr val="DF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0" name="Rectangle 470"/>
              <p:cNvSpPr>
                <a:spLocks noChangeArrowheads="1"/>
              </p:cNvSpPr>
              <p:nvPr/>
            </p:nvSpPr>
            <p:spPr bwMode="auto">
              <a:xfrm>
                <a:off x="9852784" y="2725478"/>
                <a:ext cx="247650"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1" name="Rectangle 471"/>
              <p:cNvSpPr>
                <a:spLocks noChangeArrowheads="1"/>
              </p:cNvSpPr>
              <p:nvPr/>
            </p:nvSpPr>
            <p:spPr bwMode="auto">
              <a:xfrm>
                <a:off x="9976609" y="2525453"/>
                <a:ext cx="9525" cy="2000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2" name="Rectangle 472"/>
              <p:cNvSpPr>
                <a:spLocks noChangeArrowheads="1"/>
              </p:cNvSpPr>
              <p:nvPr/>
            </p:nvSpPr>
            <p:spPr bwMode="auto">
              <a:xfrm>
                <a:off x="9871834" y="2611178"/>
                <a:ext cx="209550" cy="19050"/>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3" name="Rectangle 473"/>
              <p:cNvSpPr>
                <a:spLocks noChangeArrowheads="1"/>
              </p:cNvSpPr>
              <p:nvPr/>
            </p:nvSpPr>
            <p:spPr bwMode="auto">
              <a:xfrm>
                <a:off x="9871834" y="2715953"/>
                <a:ext cx="209550" cy="95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4" name="Freeform 474"/>
              <p:cNvSpPr>
                <a:spLocks/>
              </p:cNvSpPr>
              <p:nvPr/>
            </p:nvSpPr>
            <p:spPr bwMode="auto">
              <a:xfrm>
                <a:off x="10148059" y="2515928"/>
                <a:ext cx="201613" cy="209550"/>
              </a:xfrm>
              <a:custGeom>
                <a:avLst/>
                <a:gdLst>
                  <a:gd name="T0" fmla="*/ 10 w 21"/>
                  <a:gd name="T1" fmla="*/ 0 h 22"/>
                  <a:gd name="T2" fmla="*/ 0 w 21"/>
                  <a:gd name="T3" fmla="*/ 11 h 22"/>
                  <a:gd name="T4" fmla="*/ 0 w 21"/>
                  <a:gd name="T5" fmla="*/ 22 h 22"/>
                  <a:gd name="T6" fmla="*/ 21 w 21"/>
                  <a:gd name="T7" fmla="*/ 22 h 22"/>
                  <a:gd name="T8" fmla="*/ 21 w 21"/>
                  <a:gd name="T9" fmla="*/ 11 h 22"/>
                  <a:gd name="T10" fmla="*/ 10 w 21"/>
                  <a:gd name="T11" fmla="*/ 0 h 22"/>
                </a:gdLst>
                <a:ahLst/>
                <a:cxnLst>
                  <a:cxn ang="0">
                    <a:pos x="T0" y="T1"/>
                  </a:cxn>
                  <a:cxn ang="0">
                    <a:pos x="T2" y="T3"/>
                  </a:cxn>
                  <a:cxn ang="0">
                    <a:pos x="T4" y="T5"/>
                  </a:cxn>
                  <a:cxn ang="0">
                    <a:pos x="T6" y="T7"/>
                  </a:cxn>
                  <a:cxn ang="0">
                    <a:pos x="T8" y="T9"/>
                  </a:cxn>
                  <a:cxn ang="0">
                    <a:pos x="T10" y="T11"/>
                  </a:cxn>
                </a:cxnLst>
                <a:rect l="0" t="0" r="r" b="b"/>
                <a:pathLst>
                  <a:path w="21" h="22">
                    <a:moveTo>
                      <a:pt x="10" y="0"/>
                    </a:moveTo>
                    <a:cubicBezTo>
                      <a:pt x="5" y="0"/>
                      <a:pt x="0" y="5"/>
                      <a:pt x="0" y="11"/>
                    </a:cubicBezTo>
                    <a:cubicBezTo>
                      <a:pt x="0" y="22"/>
                      <a:pt x="0" y="22"/>
                      <a:pt x="0" y="22"/>
                    </a:cubicBezTo>
                    <a:cubicBezTo>
                      <a:pt x="21" y="22"/>
                      <a:pt x="21" y="22"/>
                      <a:pt x="21" y="22"/>
                    </a:cubicBezTo>
                    <a:cubicBezTo>
                      <a:pt x="21" y="11"/>
                      <a:pt x="21" y="11"/>
                      <a:pt x="21" y="11"/>
                    </a:cubicBezTo>
                    <a:cubicBezTo>
                      <a:pt x="21" y="5"/>
                      <a:pt x="16" y="0"/>
                      <a:pt x="10" y="0"/>
                    </a:cubicBezTo>
                    <a:close/>
                  </a:path>
                </a:pathLst>
              </a:custGeom>
              <a:solidFill>
                <a:srgbClr val="4F5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5" name="Freeform 475"/>
              <p:cNvSpPr>
                <a:spLocks/>
              </p:cNvSpPr>
              <p:nvPr/>
            </p:nvSpPr>
            <p:spPr bwMode="auto">
              <a:xfrm>
                <a:off x="10138534" y="2506403"/>
                <a:ext cx="220663" cy="219075"/>
              </a:xfrm>
              <a:custGeom>
                <a:avLst/>
                <a:gdLst>
                  <a:gd name="T0" fmla="*/ 11 w 23"/>
                  <a:gd name="T1" fmla="*/ 0 h 23"/>
                  <a:gd name="T2" fmla="*/ 0 w 23"/>
                  <a:gd name="T3" fmla="*/ 12 h 23"/>
                  <a:gd name="T4" fmla="*/ 0 w 23"/>
                  <a:gd name="T5" fmla="*/ 23 h 23"/>
                  <a:gd name="T6" fmla="*/ 2 w 23"/>
                  <a:gd name="T7" fmla="*/ 23 h 23"/>
                  <a:gd name="T8" fmla="*/ 2 w 23"/>
                  <a:gd name="T9" fmla="*/ 12 h 23"/>
                  <a:gd name="T10" fmla="*/ 11 w 23"/>
                  <a:gd name="T11" fmla="*/ 2 h 23"/>
                  <a:gd name="T12" fmla="*/ 21 w 23"/>
                  <a:gd name="T13" fmla="*/ 12 h 23"/>
                  <a:gd name="T14" fmla="*/ 21 w 23"/>
                  <a:gd name="T15" fmla="*/ 23 h 23"/>
                  <a:gd name="T16" fmla="*/ 23 w 23"/>
                  <a:gd name="T17" fmla="*/ 23 h 23"/>
                  <a:gd name="T18" fmla="*/ 23 w 23"/>
                  <a:gd name="T19" fmla="*/ 12 h 23"/>
                  <a:gd name="T20" fmla="*/ 11 w 23"/>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3">
                    <a:moveTo>
                      <a:pt x="11" y="0"/>
                    </a:moveTo>
                    <a:cubicBezTo>
                      <a:pt x="5" y="0"/>
                      <a:pt x="0" y="6"/>
                      <a:pt x="0" y="12"/>
                    </a:cubicBezTo>
                    <a:cubicBezTo>
                      <a:pt x="0" y="23"/>
                      <a:pt x="0" y="23"/>
                      <a:pt x="0" y="23"/>
                    </a:cubicBezTo>
                    <a:cubicBezTo>
                      <a:pt x="2" y="23"/>
                      <a:pt x="2" y="23"/>
                      <a:pt x="2" y="23"/>
                    </a:cubicBezTo>
                    <a:cubicBezTo>
                      <a:pt x="2" y="12"/>
                      <a:pt x="2" y="12"/>
                      <a:pt x="2" y="12"/>
                    </a:cubicBezTo>
                    <a:cubicBezTo>
                      <a:pt x="2" y="7"/>
                      <a:pt x="6" y="2"/>
                      <a:pt x="11" y="2"/>
                    </a:cubicBezTo>
                    <a:cubicBezTo>
                      <a:pt x="17" y="2"/>
                      <a:pt x="21" y="7"/>
                      <a:pt x="21" y="12"/>
                    </a:cubicBezTo>
                    <a:cubicBezTo>
                      <a:pt x="21" y="23"/>
                      <a:pt x="21" y="23"/>
                      <a:pt x="21" y="23"/>
                    </a:cubicBezTo>
                    <a:cubicBezTo>
                      <a:pt x="23" y="23"/>
                      <a:pt x="23" y="23"/>
                      <a:pt x="23" y="23"/>
                    </a:cubicBezTo>
                    <a:cubicBezTo>
                      <a:pt x="23" y="12"/>
                      <a:pt x="23" y="12"/>
                      <a:pt x="23" y="12"/>
                    </a:cubicBezTo>
                    <a:cubicBezTo>
                      <a:pt x="23" y="6"/>
                      <a:pt x="18" y="0"/>
                      <a:pt x="11" y="0"/>
                    </a:cubicBezTo>
                    <a:close/>
                  </a:path>
                </a:pathLst>
              </a:custGeom>
              <a:solidFill>
                <a:srgbClr val="DF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6" name="Rectangle 476"/>
              <p:cNvSpPr>
                <a:spLocks noChangeArrowheads="1"/>
              </p:cNvSpPr>
              <p:nvPr/>
            </p:nvSpPr>
            <p:spPr bwMode="auto">
              <a:xfrm>
                <a:off x="10129009" y="2725478"/>
                <a:ext cx="239713"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7" name="Rectangle 477"/>
              <p:cNvSpPr>
                <a:spLocks noChangeArrowheads="1"/>
              </p:cNvSpPr>
              <p:nvPr/>
            </p:nvSpPr>
            <p:spPr bwMode="auto">
              <a:xfrm>
                <a:off x="10243309" y="2525453"/>
                <a:ext cx="9525" cy="2000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8" name="Rectangle 478"/>
              <p:cNvSpPr>
                <a:spLocks noChangeArrowheads="1"/>
              </p:cNvSpPr>
              <p:nvPr/>
            </p:nvSpPr>
            <p:spPr bwMode="auto">
              <a:xfrm>
                <a:off x="10148059" y="2611178"/>
                <a:ext cx="201613" cy="19050"/>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9" name="Rectangle 479"/>
              <p:cNvSpPr>
                <a:spLocks noChangeArrowheads="1"/>
              </p:cNvSpPr>
              <p:nvPr/>
            </p:nvSpPr>
            <p:spPr bwMode="auto">
              <a:xfrm>
                <a:off x="10148059" y="2715953"/>
                <a:ext cx="201613" cy="95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0" name="Oval 480"/>
              <p:cNvSpPr>
                <a:spLocks noChangeArrowheads="1"/>
              </p:cNvSpPr>
              <p:nvPr/>
            </p:nvSpPr>
            <p:spPr bwMode="auto">
              <a:xfrm>
                <a:off x="9881359" y="2268278"/>
                <a:ext cx="200025" cy="190500"/>
              </a:xfrm>
              <a:prstGeom prst="ellipse">
                <a:avLst/>
              </a:prstGeom>
              <a:solidFill>
                <a:srgbClr val="F1F0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1" name="Oval 481"/>
              <p:cNvSpPr>
                <a:spLocks noChangeArrowheads="1"/>
              </p:cNvSpPr>
              <p:nvPr/>
            </p:nvSpPr>
            <p:spPr bwMode="auto">
              <a:xfrm>
                <a:off x="9900409" y="2287328"/>
                <a:ext cx="152400" cy="152400"/>
              </a:xfrm>
              <a:prstGeom prst="ellipse">
                <a:avLst/>
              </a:prstGeom>
              <a:solidFill>
                <a:srgbClr val="4F5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142" name="กลุ่ม 171"/>
            <p:cNvGrpSpPr/>
            <p:nvPr/>
          </p:nvGrpSpPr>
          <p:grpSpPr>
            <a:xfrm>
              <a:off x="3505434" y="4539856"/>
              <a:ext cx="2854325" cy="2951810"/>
              <a:chOff x="8404984" y="2773103"/>
              <a:chExt cx="1162050" cy="1201738"/>
            </a:xfrm>
          </p:grpSpPr>
          <p:sp>
            <p:nvSpPr>
              <p:cNvPr id="143" name="Rectangle 610"/>
              <p:cNvSpPr>
                <a:spLocks noChangeArrowheads="1"/>
              </p:cNvSpPr>
              <p:nvPr/>
            </p:nvSpPr>
            <p:spPr bwMode="auto">
              <a:xfrm>
                <a:off x="8414509" y="3116003"/>
                <a:ext cx="1143000" cy="849313"/>
              </a:xfrm>
              <a:prstGeom prst="rect">
                <a:avLst/>
              </a:prstGeom>
              <a:solidFill>
                <a:srgbClr val="CEAE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4" name="Rectangle 611"/>
              <p:cNvSpPr>
                <a:spLocks noChangeArrowheads="1"/>
              </p:cNvSpPr>
              <p:nvPr/>
            </p:nvSpPr>
            <p:spPr bwMode="auto">
              <a:xfrm>
                <a:off x="8414509" y="3116003"/>
                <a:ext cx="1143000" cy="47625"/>
              </a:xfrm>
              <a:prstGeom prst="rect">
                <a:avLst/>
              </a:prstGeom>
              <a:solidFill>
                <a:srgbClr val="B697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5" name="Rectangle 612"/>
              <p:cNvSpPr>
                <a:spLocks noChangeArrowheads="1"/>
              </p:cNvSpPr>
              <p:nvPr/>
            </p:nvSpPr>
            <p:spPr bwMode="auto">
              <a:xfrm>
                <a:off x="8414509" y="2773103"/>
                <a:ext cx="1143000" cy="342900"/>
              </a:xfrm>
              <a:prstGeom prst="rect">
                <a:avLst/>
              </a:prstGeom>
              <a:solidFill>
                <a:srgbClr val="A562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6" name="Rectangle 613"/>
              <p:cNvSpPr>
                <a:spLocks noChangeArrowheads="1"/>
              </p:cNvSpPr>
              <p:nvPr/>
            </p:nvSpPr>
            <p:spPr bwMode="auto">
              <a:xfrm>
                <a:off x="8404984" y="3096953"/>
                <a:ext cx="1162050" cy="38100"/>
              </a:xfrm>
              <a:prstGeom prst="rect">
                <a:avLst/>
              </a:prstGeom>
              <a:solidFill>
                <a:srgbClr val="8E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7" name="Freeform 614"/>
              <p:cNvSpPr>
                <a:spLocks noEditPoints="1"/>
              </p:cNvSpPr>
              <p:nvPr/>
            </p:nvSpPr>
            <p:spPr bwMode="auto">
              <a:xfrm>
                <a:off x="8509759" y="2811203"/>
                <a:ext cx="428625" cy="209550"/>
              </a:xfrm>
              <a:custGeom>
                <a:avLst/>
                <a:gdLst>
                  <a:gd name="T0" fmla="*/ 0 w 270"/>
                  <a:gd name="T1" fmla="*/ 132 h 132"/>
                  <a:gd name="T2" fmla="*/ 270 w 270"/>
                  <a:gd name="T3" fmla="*/ 132 h 132"/>
                  <a:gd name="T4" fmla="*/ 132 w 270"/>
                  <a:gd name="T5" fmla="*/ 0 h 132"/>
                  <a:gd name="T6" fmla="*/ 0 w 270"/>
                  <a:gd name="T7" fmla="*/ 132 h 132"/>
                  <a:gd name="T8" fmla="*/ 30 w 270"/>
                  <a:gd name="T9" fmla="*/ 126 h 132"/>
                  <a:gd name="T10" fmla="*/ 132 w 270"/>
                  <a:gd name="T11" fmla="*/ 30 h 132"/>
                  <a:gd name="T12" fmla="*/ 240 w 270"/>
                  <a:gd name="T13" fmla="*/ 126 h 132"/>
                  <a:gd name="T14" fmla="*/ 30 w 270"/>
                  <a:gd name="T15" fmla="*/ 126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0" h="132">
                    <a:moveTo>
                      <a:pt x="0" y="132"/>
                    </a:moveTo>
                    <a:lnTo>
                      <a:pt x="270" y="132"/>
                    </a:lnTo>
                    <a:lnTo>
                      <a:pt x="132" y="0"/>
                    </a:lnTo>
                    <a:lnTo>
                      <a:pt x="0" y="132"/>
                    </a:lnTo>
                    <a:close/>
                    <a:moveTo>
                      <a:pt x="30" y="126"/>
                    </a:moveTo>
                    <a:lnTo>
                      <a:pt x="132" y="30"/>
                    </a:lnTo>
                    <a:lnTo>
                      <a:pt x="240" y="126"/>
                    </a:lnTo>
                    <a:lnTo>
                      <a:pt x="30" y="126"/>
                    </a:lnTo>
                    <a:close/>
                  </a:path>
                </a:pathLst>
              </a:custGeom>
              <a:solidFill>
                <a:srgbClr val="8090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8" name="Freeform 615"/>
              <p:cNvSpPr>
                <a:spLocks/>
              </p:cNvSpPr>
              <p:nvPr/>
            </p:nvSpPr>
            <p:spPr bwMode="auto">
              <a:xfrm>
                <a:off x="8528809" y="2839778"/>
                <a:ext cx="390525" cy="180975"/>
              </a:xfrm>
              <a:custGeom>
                <a:avLst/>
                <a:gdLst>
                  <a:gd name="T0" fmla="*/ 0 w 246"/>
                  <a:gd name="T1" fmla="*/ 114 h 114"/>
                  <a:gd name="T2" fmla="*/ 246 w 246"/>
                  <a:gd name="T3" fmla="*/ 114 h 114"/>
                  <a:gd name="T4" fmla="*/ 120 w 246"/>
                  <a:gd name="T5" fmla="*/ 0 h 114"/>
                  <a:gd name="T6" fmla="*/ 0 w 246"/>
                  <a:gd name="T7" fmla="*/ 114 h 114"/>
                </a:gdLst>
                <a:ahLst/>
                <a:cxnLst>
                  <a:cxn ang="0">
                    <a:pos x="T0" y="T1"/>
                  </a:cxn>
                  <a:cxn ang="0">
                    <a:pos x="T2" y="T3"/>
                  </a:cxn>
                  <a:cxn ang="0">
                    <a:pos x="T4" y="T5"/>
                  </a:cxn>
                  <a:cxn ang="0">
                    <a:pos x="T6" y="T7"/>
                  </a:cxn>
                </a:cxnLst>
                <a:rect l="0" t="0" r="r" b="b"/>
                <a:pathLst>
                  <a:path w="246" h="114">
                    <a:moveTo>
                      <a:pt x="0" y="114"/>
                    </a:moveTo>
                    <a:lnTo>
                      <a:pt x="246" y="114"/>
                    </a:lnTo>
                    <a:lnTo>
                      <a:pt x="120" y="0"/>
                    </a:lnTo>
                    <a:lnTo>
                      <a:pt x="0" y="114"/>
                    </a:lnTo>
                    <a:close/>
                  </a:path>
                </a:pathLst>
              </a:custGeom>
              <a:solidFill>
                <a:srgbClr val="CEA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9" name="Rectangle 616"/>
              <p:cNvSpPr>
                <a:spLocks noChangeArrowheads="1"/>
              </p:cNvSpPr>
              <p:nvPr/>
            </p:nvSpPr>
            <p:spPr bwMode="auto">
              <a:xfrm>
                <a:off x="8671684" y="2925503"/>
                <a:ext cx="104775" cy="85725"/>
              </a:xfrm>
              <a:prstGeom prst="rect">
                <a:avLst/>
              </a:prstGeom>
              <a:solidFill>
                <a:srgbClr val="4F50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50" name="Freeform 617"/>
              <p:cNvSpPr>
                <a:spLocks noEditPoints="1"/>
              </p:cNvSpPr>
              <p:nvPr/>
            </p:nvSpPr>
            <p:spPr bwMode="auto">
              <a:xfrm>
                <a:off x="8662159" y="2915978"/>
                <a:ext cx="123825" cy="104775"/>
              </a:xfrm>
              <a:custGeom>
                <a:avLst/>
                <a:gdLst>
                  <a:gd name="T0" fmla="*/ 0 w 78"/>
                  <a:gd name="T1" fmla="*/ 66 h 66"/>
                  <a:gd name="T2" fmla="*/ 78 w 78"/>
                  <a:gd name="T3" fmla="*/ 66 h 66"/>
                  <a:gd name="T4" fmla="*/ 78 w 78"/>
                  <a:gd name="T5" fmla="*/ 0 h 66"/>
                  <a:gd name="T6" fmla="*/ 0 w 78"/>
                  <a:gd name="T7" fmla="*/ 0 h 66"/>
                  <a:gd name="T8" fmla="*/ 0 w 78"/>
                  <a:gd name="T9" fmla="*/ 66 h 66"/>
                  <a:gd name="T10" fmla="*/ 12 w 78"/>
                  <a:gd name="T11" fmla="*/ 6 h 66"/>
                  <a:gd name="T12" fmla="*/ 66 w 78"/>
                  <a:gd name="T13" fmla="*/ 6 h 66"/>
                  <a:gd name="T14" fmla="*/ 66 w 78"/>
                  <a:gd name="T15" fmla="*/ 60 h 66"/>
                  <a:gd name="T16" fmla="*/ 12 w 78"/>
                  <a:gd name="T17" fmla="*/ 60 h 66"/>
                  <a:gd name="T18" fmla="*/ 12 w 78"/>
                  <a:gd name="T19" fmla="*/ 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66">
                    <a:moveTo>
                      <a:pt x="0" y="66"/>
                    </a:moveTo>
                    <a:lnTo>
                      <a:pt x="78" y="66"/>
                    </a:lnTo>
                    <a:lnTo>
                      <a:pt x="78" y="0"/>
                    </a:lnTo>
                    <a:lnTo>
                      <a:pt x="0" y="0"/>
                    </a:lnTo>
                    <a:lnTo>
                      <a:pt x="0" y="66"/>
                    </a:lnTo>
                    <a:close/>
                    <a:moveTo>
                      <a:pt x="12" y="6"/>
                    </a:moveTo>
                    <a:lnTo>
                      <a:pt x="66" y="6"/>
                    </a:lnTo>
                    <a:lnTo>
                      <a:pt x="66" y="60"/>
                    </a:lnTo>
                    <a:lnTo>
                      <a:pt x="12" y="60"/>
                    </a:lnTo>
                    <a:lnTo>
                      <a:pt x="12" y="6"/>
                    </a:lnTo>
                    <a:close/>
                  </a:path>
                </a:pathLst>
              </a:custGeom>
              <a:solidFill>
                <a:srgbClr val="CACA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51" name="Freeform 618"/>
              <p:cNvSpPr>
                <a:spLocks noEditPoints="1"/>
              </p:cNvSpPr>
              <p:nvPr/>
            </p:nvSpPr>
            <p:spPr bwMode="auto">
              <a:xfrm>
                <a:off x="9033634" y="2811203"/>
                <a:ext cx="428625" cy="209550"/>
              </a:xfrm>
              <a:custGeom>
                <a:avLst/>
                <a:gdLst>
                  <a:gd name="T0" fmla="*/ 0 w 270"/>
                  <a:gd name="T1" fmla="*/ 132 h 132"/>
                  <a:gd name="T2" fmla="*/ 270 w 270"/>
                  <a:gd name="T3" fmla="*/ 132 h 132"/>
                  <a:gd name="T4" fmla="*/ 138 w 270"/>
                  <a:gd name="T5" fmla="*/ 0 h 132"/>
                  <a:gd name="T6" fmla="*/ 0 w 270"/>
                  <a:gd name="T7" fmla="*/ 132 h 132"/>
                  <a:gd name="T8" fmla="*/ 36 w 270"/>
                  <a:gd name="T9" fmla="*/ 126 h 132"/>
                  <a:gd name="T10" fmla="*/ 138 w 270"/>
                  <a:gd name="T11" fmla="*/ 30 h 132"/>
                  <a:gd name="T12" fmla="*/ 240 w 270"/>
                  <a:gd name="T13" fmla="*/ 126 h 132"/>
                  <a:gd name="T14" fmla="*/ 36 w 270"/>
                  <a:gd name="T15" fmla="*/ 126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0" h="132">
                    <a:moveTo>
                      <a:pt x="0" y="132"/>
                    </a:moveTo>
                    <a:lnTo>
                      <a:pt x="270" y="132"/>
                    </a:lnTo>
                    <a:lnTo>
                      <a:pt x="138" y="0"/>
                    </a:lnTo>
                    <a:lnTo>
                      <a:pt x="0" y="132"/>
                    </a:lnTo>
                    <a:close/>
                    <a:moveTo>
                      <a:pt x="36" y="126"/>
                    </a:moveTo>
                    <a:lnTo>
                      <a:pt x="138" y="30"/>
                    </a:lnTo>
                    <a:lnTo>
                      <a:pt x="240" y="126"/>
                    </a:lnTo>
                    <a:lnTo>
                      <a:pt x="36" y="126"/>
                    </a:lnTo>
                    <a:close/>
                  </a:path>
                </a:pathLst>
              </a:custGeom>
              <a:solidFill>
                <a:srgbClr val="8090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52" name="Freeform 619"/>
              <p:cNvSpPr>
                <a:spLocks/>
              </p:cNvSpPr>
              <p:nvPr/>
            </p:nvSpPr>
            <p:spPr bwMode="auto">
              <a:xfrm>
                <a:off x="9062209" y="2839778"/>
                <a:ext cx="381000" cy="180975"/>
              </a:xfrm>
              <a:custGeom>
                <a:avLst/>
                <a:gdLst>
                  <a:gd name="T0" fmla="*/ 0 w 240"/>
                  <a:gd name="T1" fmla="*/ 114 h 114"/>
                  <a:gd name="T2" fmla="*/ 240 w 240"/>
                  <a:gd name="T3" fmla="*/ 114 h 114"/>
                  <a:gd name="T4" fmla="*/ 120 w 240"/>
                  <a:gd name="T5" fmla="*/ 0 h 114"/>
                  <a:gd name="T6" fmla="*/ 0 w 240"/>
                  <a:gd name="T7" fmla="*/ 114 h 114"/>
                </a:gdLst>
                <a:ahLst/>
                <a:cxnLst>
                  <a:cxn ang="0">
                    <a:pos x="T0" y="T1"/>
                  </a:cxn>
                  <a:cxn ang="0">
                    <a:pos x="T2" y="T3"/>
                  </a:cxn>
                  <a:cxn ang="0">
                    <a:pos x="T4" y="T5"/>
                  </a:cxn>
                  <a:cxn ang="0">
                    <a:pos x="T6" y="T7"/>
                  </a:cxn>
                </a:cxnLst>
                <a:rect l="0" t="0" r="r" b="b"/>
                <a:pathLst>
                  <a:path w="240" h="114">
                    <a:moveTo>
                      <a:pt x="0" y="114"/>
                    </a:moveTo>
                    <a:lnTo>
                      <a:pt x="240" y="114"/>
                    </a:lnTo>
                    <a:lnTo>
                      <a:pt x="120" y="0"/>
                    </a:lnTo>
                    <a:lnTo>
                      <a:pt x="0" y="114"/>
                    </a:lnTo>
                    <a:close/>
                  </a:path>
                </a:pathLst>
              </a:custGeom>
              <a:solidFill>
                <a:srgbClr val="CEA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53" name="Rectangle 620"/>
              <p:cNvSpPr>
                <a:spLocks noChangeArrowheads="1"/>
              </p:cNvSpPr>
              <p:nvPr/>
            </p:nvSpPr>
            <p:spPr bwMode="auto">
              <a:xfrm>
                <a:off x="9195559" y="2925503"/>
                <a:ext cx="104775" cy="85725"/>
              </a:xfrm>
              <a:prstGeom prst="rect">
                <a:avLst/>
              </a:prstGeom>
              <a:solidFill>
                <a:srgbClr val="4F50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54" name="Freeform 621"/>
              <p:cNvSpPr>
                <a:spLocks noEditPoints="1"/>
              </p:cNvSpPr>
              <p:nvPr/>
            </p:nvSpPr>
            <p:spPr bwMode="auto">
              <a:xfrm>
                <a:off x="9186034" y="2915978"/>
                <a:ext cx="123825" cy="104775"/>
              </a:xfrm>
              <a:custGeom>
                <a:avLst/>
                <a:gdLst>
                  <a:gd name="T0" fmla="*/ 0 w 78"/>
                  <a:gd name="T1" fmla="*/ 66 h 66"/>
                  <a:gd name="T2" fmla="*/ 78 w 78"/>
                  <a:gd name="T3" fmla="*/ 66 h 66"/>
                  <a:gd name="T4" fmla="*/ 78 w 78"/>
                  <a:gd name="T5" fmla="*/ 0 h 66"/>
                  <a:gd name="T6" fmla="*/ 0 w 78"/>
                  <a:gd name="T7" fmla="*/ 0 h 66"/>
                  <a:gd name="T8" fmla="*/ 0 w 78"/>
                  <a:gd name="T9" fmla="*/ 66 h 66"/>
                  <a:gd name="T10" fmla="*/ 12 w 78"/>
                  <a:gd name="T11" fmla="*/ 6 h 66"/>
                  <a:gd name="T12" fmla="*/ 66 w 78"/>
                  <a:gd name="T13" fmla="*/ 6 h 66"/>
                  <a:gd name="T14" fmla="*/ 66 w 78"/>
                  <a:gd name="T15" fmla="*/ 60 h 66"/>
                  <a:gd name="T16" fmla="*/ 12 w 78"/>
                  <a:gd name="T17" fmla="*/ 60 h 66"/>
                  <a:gd name="T18" fmla="*/ 12 w 78"/>
                  <a:gd name="T19" fmla="*/ 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66">
                    <a:moveTo>
                      <a:pt x="0" y="66"/>
                    </a:moveTo>
                    <a:lnTo>
                      <a:pt x="78" y="66"/>
                    </a:lnTo>
                    <a:lnTo>
                      <a:pt x="78" y="0"/>
                    </a:lnTo>
                    <a:lnTo>
                      <a:pt x="0" y="0"/>
                    </a:lnTo>
                    <a:lnTo>
                      <a:pt x="0" y="66"/>
                    </a:lnTo>
                    <a:close/>
                    <a:moveTo>
                      <a:pt x="12" y="6"/>
                    </a:moveTo>
                    <a:lnTo>
                      <a:pt x="66" y="6"/>
                    </a:lnTo>
                    <a:lnTo>
                      <a:pt x="66" y="60"/>
                    </a:lnTo>
                    <a:lnTo>
                      <a:pt x="12" y="60"/>
                    </a:lnTo>
                    <a:lnTo>
                      <a:pt x="12" y="6"/>
                    </a:lnTo>
                    <a:close/>
                  </a:path>
                </a:pathLst>
              </a:custGeom>
              <a:solidFill>
                <a:srgbClr val="CACA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55" name="Rectangle 622"/>
              <p:cNvSpPr>
                <a:spLocks noChangeArrowheads="1"/>
              </p:cNvSpPr>
              <p:nvPr/>
            </p:nvSpPr>
            <p:spPr bwMode="auto">
              <a:xfrm>
                <a:off x="8414509" y="3841491"/>
                <a:ext cx="1143000" cy="123825"/>
              </a:xfrm>
              <a:prstGeom prst="rect">
                <a:avLst/>
              </a:prstGeom>
              <a:solidFill>
                <a:srgbClr val="B697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56" name="Freeform 623"/>
              <p:cNvSpPr>
                <a:spLocks noEditPoints="1"/>
              </p:cNvSpPr>
              <p:nvPr/>
            </p:nvSpPr>
            <p:spPr bwMode="auto">
              <a:xfrm>
                <a:off x="8843134" y="3593841"/>
                <a:ext cx="285750" cy="381000"/>
              </a:xfrm>
              <a:custGeom>
                <a:avLst/>
                <a:gdLst>
                  <a:gd name="T0" fmla="*/ 0 w 180"/>
                  <a:gd name="T1" fmla="*/ 240 h 240"/>
                  <a:gd name="T2" fmla="*/ 180 w 180"/>
                  <a:gd name="T3" fmla="*/ 240 h 240"/>
                  <a:gd name="T4" fmla="*/ 180 w 180"/>
                  <a:gd name="T5" fmla="*/ 0 h 240"/>
                  <a:gd name="T6" fmla="*/ 0 w 180"/>
                  <a:gd name="T7" fmla="*/ 0 h 240"/>
                  <a:gd name="T8" fmla="*/ 0 w 180"/>
                  <a:gd name="T9" fmla="*/ 240 h 240"/>
                  <a:gd name="T10" fmla="*/ 18 w 180"/>
                  <a:gd name="T11" fmla="*/ 12 h 240"/>
                  <a:gd name="T12" fmla="*/ 162 w 180"/>
                  <a:gd name="T13" fmla="*/ 12 h 240"/>
                  <a:gd name="T14" fmla="*/ 162 w 180"/>
                  <a:gd name="T15" fmla="*/ 234 h 240"/>
                  <a:gd name="T16" fmla="*/ 18 w 180"/>
                  <a:gd name="T17" fmla="*/ 234 h 240"/>
                  <a:gd name="T18" fmla="*/ 18 w 180"/>
                  <a:gd name="T19" fmla="*/ 1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0">
                    <a:moveTo>
                      <a:pt x="0" y="240"/>
                    </a:moveTo>
                    <a:lnTo>
                      <a:pt x="180" y="240"/>
                    </a:lnTo>
                    <a:lnTo>
                      <a:pt x="180" y="0"/>
                    </a:lnTo>
                    <a:lnTo>
                      <a:pt x="0" y="0"/>
                    </a:lnTo>
                    <a:lnTo>
                      <a:pt x="0" y="240"/>
                    </a:lnTo>
                    <a:close/>
                    <a:moveTo>
                      <a:pt x="18" y="12"/>
                    </a:moveTo>
                    <a:lnTo>
                      <a:pt x="162" y="12"/>
                    </a:lnTo>
                    <a:lnTo>
                      <a:pt x="162" y="234"/>
                    </a:lnTo>
                    <a:lnTo>
                      <a:pt x="18" y="234"/>
                    </a:lnTo>
                    <a:lnTo>
                      <a:pt x="18" y="12"/>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57" name="Rectangle 624"/>
              <p:cNvSpPr>
                <a:spLocks noChangeArrowheads="1"/>
              </p:cNvSpPr>
              <p:nvPr/>
            </p:nvSpPr>
            <p:spPr bwMode="auto">
              <a:xfrm>
                <a:off x="8852659" y="3603366"/>
                <a:ext cx="266700" cy="37147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58" name="Rectangle 625"/>
              <p:cNvSpPr>
                <a:spLocks noChangeArrowheads="1"/>
              </p:cNvSpPr>
              <p:nvPr/>
            </p:nvSpPr>
            <p:spPr bwMode="auto">
              <a:xfrm>
                <a:off x="8890759" y="3631941"/>
                <a:ext cx="190500" cy="180975"/>
              </a:xfrm>
              <a:prstGeom prst="rect">
                <a:avLst/>
              </a:prstGeom>
              <a:solidFill>
                <a:srgbClr val="4F50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59" name="Rectangle 626"/>
              <p:cNvSpPr>
                <a:spLocks noChangeArrowheads="1"/>
              </p:cNvSpPr>
              <p:nvPr/>
            </p:nvSpPr>
            <p:spPr bwMode="auto">
              <a:xfrm>
                <a:off x="8900284" y="3851016"/>
                <a:ext cx="180975" cy="104775"/>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0" name="Freeform 627"/>
              <p:cNvSpPr>
                <a:spLocks/>
              </p:cNvSpPr>
              <p:nvPr/>
            </p:nvSpPr>
            <p:spPr bwMode="auto">
              <a:xfrm>
                <a:off x="8500234" y="3584316"/>
                <a:ext cx="247650" cy="238125"/>
              </a:xfrm>
              <a:custGeom>
                <a:avLst/>
                <a:gdLst>
                  <a:gd name="T0" fmla="*/ 13 w 26"/>
                  <a:gd name="T1" fmla="*/ 0 h 25"/>
                  <a:gd name="T2" fmla="*/ 0 w 26"/>
                  <a:gd name="T3" fmla="*/ 9 h 25"/>
                  <a:gd name="T4" fmla="*/ 0 w 26"/>
                  <a:gd name="T5" fmla="*/ 25 h 25"/>
                  <a:gd name="T6" fmla="*/ 26 w 26"/>
                  <a:gd name="T7" fmla="*/ 25 h 25"/>
                  <a:gd name="T8" fmla="*/ 26 w 26"/>
                  <a:gd name="T9" fmla="*/ 9 h 25"/>
                  <a:gd name="T10" fmla="*/ 13 w 26"/>
                  <a:gd name="T11" fmla="*/ 0 h 25"/>
                </a:gdLst>
                <a:ahLst/>
                <a:cxnLst>
                  <a:cxn ang="0">
                    <a:pos x="T0" y="T1"/>
                  </a:cxn>
                  <a:cxn ang="0">
                    <a:pos x="T2" y="T3"/>
                  </a:cxn>
                  <a:cxn ang="0">
                    <a:pos x="T4" y="T5"/>
                  </a:cxn>
                  <a:cxn ang="0">
                    <a:pos x="T6" y="T7"/>
                  </a:cxn>
                  <a:cxn ang="0">
                    <a:pos x="T8" y="T9"/>
                  </a:cxn>
                  <a:cxn ang="0">
                    <a:pos x="T10" y="T11"/>
                  </a:cxn>
                </a:cxnLst>
                <a:rect l="0" t="0" r="r" b="b"/>
                <a:pathLst>
                  <a:path w="26" h="25">
                    <a:moveTo>
                      <a:pt x="13" y="0"/>
                    </a:moveTo>
                    <a:cubicBezTo>
                      <a:pt x="6" y="0"/>
                      <a:pt x="0" y="4"/>
                      <a:pt x="0" y="9"/>
                    </a:cubicBezTo>
                    <a:cubicBezTo>
                      <a:pt x="0" y="25"/>
                      <a:pt x="0" y="25"/>
                      <a:pt x="0" y="25"/>
                    </a:cubicBezTo>
                    <a:cubicBezTo>
                      <a:pt x="26" y="25"/>
                      <a:pt x="26" y="25"/>
                      <a:pt x="26" y="25"/>
                    </a:cubicBezTo>
                    <a:cubicBezTo>
                      <a:pt x="26" y="9"/>
                      <a:pt x="26" y="9"/>
                      <a:pt x="26" y="9"/>
                    </a:cubicBezTo>
                    <a:cubicBezTo>
                      <a:pt x="26" y="4"/>
                      <a:pt x="20" y="0"/>
                      <a:pt x="13" y="0"/>
                    </a:cubicBezTo>
                    <a:close/>
                  </a:path>
                </a:pathLst>
              </a:custGeom>
              <a:solidFill>
                <a:srgbClr val="4F5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1" name="Freeform 628"/>
              <p:cNvSpPr>
                <a:spLocks noEditPoints="1"/>
              </p:cNvSpPr>
              <p:nvPr/>
            </p:nvSpPr>
            <p:spPr bwMode="auto">
              <a:xfrm>
                <a:off x="8490709" y="3584316"/>
                <a:ext cx="266700" cy="238125"/>
              </a:xfrm>
              <a:custGeom>
                <a:avLst/>
                <a:gdLst>
                  <a:gd name="T0" fmla="*/ 14 w 28"/>
                  <a:gd name="T1" fmla="*/ 0 h 25"/>
                  <a:gd name="T2" fmla="*/ 0 w 28"/>
                  <a:gd name="T3" fmla="*/ 9 h 25"/>
                  <a:gd name="T4" fmla="*/ 0 w 28"/>
                  <a:gd name="T5" fmla="*/ 25 h 25"/>
                  <a:gd name="T6" fmla="*/ 28 w 28"/>
                  <a:gd name="T7" fmla="*/ 25 h 25"/>
                  <a:gd name="T8" fmla="*/ 28 w 28"/>
                  <a:gd name="T9" fmla="*/ 9 h 25"/>
                  <a:gd name="T10" fmla="*/ 14 w 28"/>
                  <a:gd name="T11" fmla="*/ 0 h 25"/>
                  <a:gd name="T12" fmla="*/ 26 w 28"/>
                  <a:gd name="T13" fmla="*/ 24 h 25"/>
                  <a:gd name="T14" fmla="*/ 2 w 28"/>
                  <a:gd name="T15" fmla="*/ 24 h 25"/>
                  <a:gd name="T16" fmla="*/ 2 w 28"/>
                  <a:gd name="T17" fmla="*/ 9 h 25"/>
                  <a:gd name="T18" fmla="*/ 14 w 28"/>
                  <a:gd name="T19" fmla="*/ 1 h 25"/>
                  <a:gd name="T20" fmla="*/ 26 w 28"/>
                  <a:gd name="T21" fmla="*/ 9 h 25"/>
                  <a:gd name="T22" fmla="*/ 26 w 28"/>
                  <a:gd name="T23"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5">
                    <a:moveTo>
                      <a:pt x="14" y="0"/>
                    </a:moveTo>
                    <a:cubicBezTo>
                      <a:pt x="6" y="0"/>
                      <a:pt x="0" y="4"/>
                      <a:pt x="0" y="9"/>
                    </a:cubicBezTo>
                    <a:cubicBezTo>
                      <a:pt x="0" y="25"/>
                      <a:pt x="0" y="25"/>
                      <a:pt x="0" y="25"/>
                    </a:cubicBezTo>
                    <a:cubicBezTo>
                      <a:pt x="28" y="25"/>
                      <a:pt x="28" y="25"/>
                      <a:pt x="28" y="25"/>
                    </a:cubicBezTo>
                    <a:cubicBezTo>
                      <a:pt x="28" y="9"/>
                      <a:pt x="28" y="9"/>
                      <a:pt x="28" y="9"/>
                    </a:cubicBezTo>
                    <a:cubicBezTo>
                      <a:pt x="28" y="4"/>
                      <a:pt x="22" y="0"/>
                      <a:pt x="14" y="0"/>
                    </a:cubicBezTo>
                    <a:close/>
                    <a:moveTo>
                      <a:pt x="26" y="24"/>
                    </a:moveTo>
                    <a:cubicBezTo>
                      <a:pt x="2" y="24"/>
                      <a:pt x="2" y="24"/>
                      <a:pt x="2" y="24"/>
                    </a:cubicBezTo>
                    <a:cubicBezTo>
                      <a:pt x="2" y="9"/>
                      <a:pt x="2" y="9"/>
                      <a:pt x="2" y="9"/>
                    </a:cubicBezTo>
                    <a:cubicBezTo>
                      <a:pt x="2" y="5"/>
                      <a:pt x="8" y="1"/>
                      <a:pt x="14" y="1"/>
                    </a:cubicBezTo>
                    <a:cubicBezTo>
                      <a:pt x="20" y="1"/>
                      <a:pt x="26" y="5"/>
                      <a:pt x="26" y="9"/>
                    </a:cubicBezTo>
                    <a:lnTo>
                      <a:pt x="26" y="24"/>
                    </a:lnTo>
                    <a:close/>
                  </a:path>
                </a:pathLst>
              </a:custGeom>
              <a:solidFill>
                <a:srgbClr val="DF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2" name="Rectangle 629"/>
              <p:cNvSpPr>
                <a:spLocks noChangeArrowheads="1"/>
              </p:cNvSpPr>
              <p:nvPr/>
            </p:nvSpPr>
            <p:spPr bwMode="auto">
              <a:xfrm>
                <a:off x="8481184" y="3822441"/>
                <a:ext cx="285750"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3" name="Rectangle 630"/>
              <p:cNvSpPr>
                <a:spLocks noChangeArrowheads="1"/>
              </p:cNvSpPr>
              <p:nvPr/>
            </p:nvSpPr>
            <p:spPr bwMode="auto">
              <a:xfrm>
                <a:off x="8614534" y="3593841"/>
                <a:ext cx="19050" cy="2381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4" name="Rectangle 631"/>
              <p:cNvSpPr>
                <a:spLocks noChangeArrowheads="1"/>
              </p:cNvSpPr>
              <p:nvPr/>
            </p:nvSpPr>
            <p:spPr bwMode="auto">
              <a:xfrm>
                <a:off x="8509759" y="3660516"/>
                <a:ext cx="247650" cy="95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5" name="Rectangle 632"/>
              <p:cNvSpPr>
                <a:spLocks noChangeArrowheads="1"/>
              </p:cNvSpPr>
              <p:nvPr/>
            </p:nvSpPr>
            <p:spPr bwMode="auto">
              <a:xfrm>
                <a:off x="8509759" y="3746241"/>
                <a:ext cx="247650" cy="95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6" name="Freeform 633"/>
              <p:cNvSpPr>
                <a:spLocks/>
              </p:cNvSpPr>
              <p:nvPr/>
            </p:nvSpPr>
            <p:spPr bwMode="auto">
              <a:xfrm>
                <a:off x="9224134" y="3584316"/>
                <a:ext cx="247650" cy="238125"/>
              </a:xfrm>
              <a:custGeom>
                <a:avLst/>
                <a:gdLst>
                  <a:gd name="T0" fmla="*/ 13 w 26"/>
                  <a:gd name="T1" fmla="*/ 0 h 25"/>
                  <a:gd name="T2" fmla="*/ 0 w 26"/>
                  <a:gd name="T3" fmla="*/ 9 h 25"/>
                  <a:gd name="T4" fmla="*/ 0 w 26"/>
                  <a:gd name="T5" fmla="*/ 25 h 25"/>
                  <a:gd name="T6" fmla="*/ 26 w 26"/>
                  <a:gd name="T7" fmla="*/ 25 h 25"/>
                  <a:gd name="T8" fmla="*/ 26 w 26"/>
                  <a:gd name="T9" fmla="*/ 9 h 25"/>
                  <a:gd name="T10" fmla="*/ 13 w 26"/>
                  <a:gd name="T11" fmla="*/ 0 h 25"/>
                </a:gdLst>
                <a:ahLst/>
                <a:cxnLst>
                  <a:cxn ang="0">
                    <a:pos x="T0" y="T1"/>
                  </a:cxn>
                  <a:cxn ang="0">
                    <a:pos x="T2" y="T3"/>
                  </a:cxn>
                  <a:cxn ang="0">
                    <a:pos x="T4" y="T5"/>
                  </a:cxn>
                  <a:cxn ang="0">
                    <a:pos x="T6" y="T7"/>
                  </a:cxn>
                  <a:cxn ang="0">
                    <a:pos x="T8" y="T9"/>
                  </a:cxn>
                  <a:cxn ang="0">
                    <a:pos x="T10" y="T11"/>
                  </a:cxn>
                </a:cxnLst>
                <a:rect l="0" t="0" r="r" b="b"/>
                <a:pathLst>
                  <a:path w="26" h="25">
                    <a:moveTo>
                      <a:pt x="13" y="0"/>
                    </a:moveTo>
                    <a:cubicBezTo>
                      <a:pt x="6" y="0"/>
                      <a:pt x="0" y="4"/>
                      <a:pt x="0" y="9"/>
                    </a:cubicBezTo>
                    <a:cubicBezTo>
                      <a:pt x="0" y="25"/>
                      <a:pt x="0" y="25"/>
                      <a:pt x="0" y="25"/>
                    </a:cubicBezTo>
                    <a:cubicBezTo>
                      <a:pt x="26" y="25"/>
                      <a:pt x="26" y="25"/>
                      <a:pt x="26" y="25"/>
                    </a:cubicBezTo>
                    <a:cubicBezTo>
                      <a:pt x="26" y="9"/>
                      <a:pt x="26" y="9"/>
                      <a:pt x="26" y="9"/>
                    </a:cubicBezTo>
                    <a:cubicBezTo>
                      <a:pt x="26" y="4"/>
                      <a:pt x="20" y="0"/>
                      <a:pt x="13" y="0"/>
                    </a:cubicBezTo>
                    <a:close/>
                  </a:path>
                </a:pathLst>
              </a:custGeom>
              <a:solidFill>
                <a:srgbClr val="4F5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7" name="Freeform 634"/>
              <p:cNvSpPr>
                <a:spLocks noEditPoints="1"/>
              </p:cNvSpPr>
              <p:nvPr/>
            </p:nvSpPr>
            <p:spPr bwMode="auto">
              <a:xfrm>
                <a:off x="9214609" y="3584316"/>
                <a:ext cx="266700" cy="238125"/>
              </a:xfrm>
              <a:custGeom>
                <a:avLst/>
                <a:gdLst>
                  <a:gd name="T0" fmla="*/ 14 w 28"/>
                  <a:gd name="T1" fmla="*/ 0 h 25"/>
                  <a:gd name="T2" fmla="*/ 0 w 28"/>
                  <a:gd name="T3" fmla="*/ 9 h 25"/>
                  <a:gd name="T4" fmla="*/ 0 w 28"/>
                  <a:gd name="T5" fmla="*/ 25 h 25"/>
                  <a:gd name="T6" fmla="*/ 28 w 28"/>
                  <a:gd name="T7" fmla="*/ 25 h 25"/>
                  <a:gd name="T8" fmla="*/ 28 w 28"/>
                  <a:gd name="T9" fmla="*/ 9 h 25"/>
                  <a:gd name="T10" fmla="*/ 14 w 28"/>
                  <a:gd name="T11" fmla="*/ 0 h 25"/>
                  <a:gd name="T12" fmla="*/ 26 w 28"/>
                  <a:gd name="T13" fmla="*/ 24 h 25"/>
                  <a:gd name="T14" fmla="*/ 2 w 28"/>
                  <a:gd name="T15" fmla="*/ 24 h 25"/>
                  <a:gd name="T16" fmla="*/ 2 w 28"/>
                  <a:gd name="T17" fmla="*/ 9 h 25"/>
                  <a:gd name="T18" fmla="*/ 14 w 28"/>
                  <a:gd name="T19" fmla="*/ 1 h 25"/>
                  <a:gd name="T20" fmla="*/ 26 w 28"/>
                  <a:gd name="T21" fmla="*/ 9 h 25"/>
                  <a:gd name="T22" fmla="*/ 26 w 28"/>
                  <a:gd name="T23"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5">
                    <a:moveTo>
                      <a:pt x="14" y="0"/>
                    </a:moveTo>
                    <a:cubicBezTo>
                      <a:pt x="6" y="0"/>
                      <a:pt x="0" y="4"/>
                      <a:pt x="0" y="9"/>
                    </a:cubicBezTo>
                    <a:cubicBezTo>
                      <a:pt x="0" y="25"/>
                      <a:pt x="0" y="25"/>
                      <a:pt x="0" y="25"/>
                    </a:cubicBezTo>
                    <a:cubicBezTo>
                      <a:pt x="28" y="25"/>
                      <a:pt x="28" y="25"/>
                      <a:pt x="28" y="25"/>
                    </a:cubicBezTo>
                    <a:cubicBezTo>
                      <a:pt x="28" y="9"/>
                      <a:pt x="28" y="9"/>
                      <a:pt x="28" y="9"/>
                    </a:cubicBezTo>
                    <a:cubicBezTo>
                      <a:pt x="28" y="4"/>
                      <a:pt x="22" y="0"/>
                      <a:pt x="14" y="0"/>
                    </a:cubicBezTo>
                    <a:close/>
                    <a:moveTo>
                      <a:pt x="26" y="24"/>
                    </a:moveTo>
                    <a:cubicBezTo>
                      <a:pt x="2" y="24"/>
                      <a:pt x="2" y="24"/>
                      <a:pt x="2" y="24"/>
                    </a:cubicBezTo>
                    <a:cubicBezTo>
                      <a:pt x="2" y="9"/>
                      <a:pt x="2" y="9"/>
                      <a:pt x="2" y="9"/>
                    </a:cubicBezTo>
                    <a:cubicBezTo>
                      <a:pt x="2" y="5"/>
                      <a:pt x="8" y="1"/>
                      <a:pt x="14" y="1"/>
                    </a:cubicBezTo>
                    <a:cubicBezTo>
                      <a:pt x="20" y="1"/>
                      <a:pt x="26" y="5"/>
                      <a:pt x="26" y="9"/>
                    </a:cubicBezTo>
                    <a:lnTo>
                      <a:pt x="26" y="24"/>
                    </a:lnTo>
                    <a:close/>
                  </a:path>
                </a:pathLst>
              </a:custGeom>
              <a:solidFill>
                <a:srgbClr val="DF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8" name="Rectangle 635"/>
              <p:cNvSpPr>
                <a:spLocks noChangeArrowheads="1"/>
              </p:cNvSpPr>
              <p:nvPr/>
            </p:nvSpPr>
            <p:spPr bwMode="auto">
              <a:xfrm>
                <a:off x="9205084" y="3822441"/>
                <a:ext cx="285750"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9" name="Rectangle 636"/>
              <p:cNvSpPr>
                <a:spLocks noChangeArrowheads="1"/>
              </p:cNvSpPr>
              <p:nvPr/>
            </p:nvSpPr>
            <p:spPr bwMode="auto">
              <a:xfrm>
                <a:off x="9338434" y="3593841"/>
                <a:ext cx="19050" cy="2381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70" name="Rectangle 637"/>
              <p:cNvSpPr>
                <a:spLocks noChangeArrowheads="1"/>
              </p:cNvSpPr>
              <p:nvPr/>
            </p:nvSpPr>
            <p:spPr bwMode="auto">
              <a:xfrm>
                <a:off x="9233659" y="3660516"/>
                <a:ext cx="247650" cy="95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71" name="Rectangle 638"/>
              <p:cNvSpPr>
                <a:spLocks noChangeArrowheads="1"/>
              </p:cNvSpPr>
              <p:nvPr/>
            </p:nvSpPr>
            <p:spPr bwMode="auto">
              <a:xfrm>
                <a:off x="9233659" y="3746241"/>
                <a:ext cx="247650" cy="95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72" name="Freeform 639"/>
              <p:cNvSpPr>
                <a:spLocks/>
              </p:cNvSpPr>
              <p:nvPr/>
            </p:nvSpPr>
            <p:spPr bwMode="auto">
              <a:xfrm>
                <a:off x="8500234" y="3193791"/>
                <a:ext cx="238125" cy="238125"/>
              </a:xfrm>
              <a:custGeom>
                <a:avLst/>
                <a:gdLst>
                  <a:gd name="T0" fmla="*/ 13 w 25"/>
                  <a:gd name="T1" fmla="*/ 0 h 25"/>
                  <a:gd name="T2" fmla="*/ 0 w 25"/>
                  <a:gd name="T3" fmla="*/ 9 h 25"/>
                  <a:gd name="T4" fmla="*/ 0 w 25"/>
                  <a:gd name="T5" fmla="*/ 25 h 25"/>
                  <a:gd name="T6" fmla="*/ 25 w 25"/>
                  <a:gd name="T7" fmla="*/ 25 h 25"/>
                  <a:gd name="T8" fmla="*/ 25 w 25"/>
                  <a:gd name="T9" fmla="*/ 9 h 25"/>
                  <a:gd name="T10" fmla="*/ 13 w 25"/>
                  <a:gd name="T11" fmla="*/ 0 h 25"/>
                </a:gdLst>
                <a:ahLst/>
                <a:cxnLst>
                  <a:cxn ang="0">
                    <a:pos x="T0" y="T1"/>
                  </a:cxn>
                  <a:cxn ang="0">
                    <a:pos x="T2" y="T3"/>
                  </a:cxn>
                  <a:cxn ang="0">
                    <a:pos x="T4" y="T5"/>
                  </a:cxn>
                  <a:cxn ang="0">
                    <a:pos x="T6" y="T7"/>
                  </a:cxn>
                  <a:cxn ang="0">
                    <a:pos x="T8" y="T9"/>
                  </a:cxn>
                  <a:cxn ang="0">
                    <a:pos x="T10" y="T11"/>
                  </a:cxn>
                </a:cxnLst>
                <a:rect l="0" t="0" r="r" b="b"/>
                <a:pathLst>
                  <a:path w="25" h="25">
                    <a:moveTo>
                      <a:pt x="13" y="0"/>
                    </a:moveTo>
                    <a:cubicBezTo>
                      <a:pt x="6" y="0"/>
                      <a:pt x="0" y="4"/>
                      <a:pt x="0" y="9"/>
                    </a:cubicBezTo>
                    <a:cubicBezTo>
                      <a:pt x="0" y="25"/>
                      <a:pt x="0" y="25"/>
                      <a:pt x="0" y="25"/>
                    </a:cubicBezTo>
                    <a:cubicBezTo>
                      <a:pt x="25" y="25"/>
                      <a:pt x="25" y="25"/>
                      <a:pt x="25" y="25"/>
                    </a:cubicBezTo>
                    <a:cubicBezTo>
                      <a:pt x="25" y="9"/>
                      <a:pt x="25" y="9"/>
                      <a:pt x="25" y="9"/>
                    </a:cubicBezTo>
                    <a:cubicBezTo>
                      <a:pt x="25" y="4"/>
                      <a:pt x="20" y="0"/>
                      <a:pt x="13" y="0"/>
                    </a:cubicBezTo>
                    <a:close/>
                  </a:path>
                </a:pathLst>
              </a:custGeom>
              <a:solidFill>
                <a:srgbClr val="4F5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73" name="Freeform 640"/>
              <p:cNvSpPr>
                <a:spLocks noEditPoints="1"/>
              </p:cNvSpPr>
              <p:nvPr/>
            </p:nvSpPr>
            <p:spPr bwMode="auto">
              <a:xfrm>
                <a:off x="8490709" y="3193791"/>
                <a:ext cx="266700" cy="238125"/>
              </a:xfrm>
              <a:custGeom>
                <a:avLst/>
                <a:gdLst>
                  <a:gd name="T0" fmla="*/ 14 w 28"/>
                  <a:gd name="T1" fmla="*/ 0 h 25"/>
                  <a:gd name="T2" fmla="*/ 0 w 28"/>
                  <a:gd name="T3" fmla="*/ 9 h 25"/>
                  <a:gd name="T4" fmla="*/ 0 w 28"/>
                  <a:gd name="T5" fmla="*/ 25 h 25"/>
                  <a:gd name="T6" fmla="*/ 28 w 28"/>
                  <a:gd name="T7" fmla="*/ 25 h 25"/>
                  <a:gd name="T8" fmla="*/ 28 w 28"/>
                  <a:gd name="T9" fmla="*/ 9 h 25"/>
                  <a:gd name="T10" fmla="*/ 14 w 28"/>
                  <a:gd name="T11" fmla="*/ 0 h 25"/>
                  <a:gd name="T12" fmla="*/ 25 w 28"/>
                  <a:gd name="T13" fmla="*/ 24 h 25"/>
                  <a:gd name="T14" fmla="*/ 2 w 28"/>
                  <a:gd name="T15" fmla="*/ 24 h 25"/>
                  <a:gd name="T16" fmla="*/ 2 w 28"/>
                  <a:gd name="T17" fmla="*/ 9 h 25"/>
                  <a:gd name="T18" fmla="*/ 14 w 28"/>
                  <a:gd name="T19" fmla="*/ 1 h 25"/>
                  <a:gd name="T20" fmla="*/ 25 w 28"/>
                  <a:gd name="T21" fmla="*/ 9 h 25"/>
                  <a:gd name="T22" fmla="*/ 25 w 28"/>
                  <a:gd name="T23"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5">
                    <a:moveTo>
                      <a:pt x="14" y="0"/>
                    </a:moveTo>
                    <a:cubicBezTo>
                      <a:pt x="6" y="0"/>
                      <a:pt x="0" y="4"/>
                      <a:pt x="0" y="9"/>
                    </a:cubicBezTo>
                    <a:cubicBezTo>
                      <a:pt x="0" y="25"/>
                      <a:pt x="0" y="25"/>
                      <a:pt x="0" y="25"/>
                    </a:cubicBezTo>
                    <a:cubicBezTo>
                      <a:pt x="28" y="25"/>
                      <a:pt x="28" y="25"/>
                      <a:pt x="28" y="25"/>
                    </a:cubicBezTo>
                    <a:cubicBezTo>
                      <a:pt x="28" y="9"/>
                      <a:pt x="28" y="9"/>
                      <a:pt x="28" y="9"/>
                    </a:cubicBezTo>
                    <a:cubicBezTo>
                      <a:pt x="28" y="4"/>
                      <a:pt x="21" y="0"/>
                      <a:pt x="14" y="0"/>
                    </a:cubicBezTo>
                    <a:close/>
                    <a:moveTo>
                      <a:pt x="25" y="24"/>
                    </a:moveTo>
                    <a:cubicBezTo>
                      <a:pt x="2" y="24"/>
                      <a:pt x="2" y="24"/>
                      <a:pt x="2" y="24"/>
                    </a:cubicBezTo>
                    <a:cubicBezTo>
                      <a:pt x="2" y="9"/>
                      <a:pt x="2" y="9"/>
                      <a:pt x="2" y="9"/>
                    </a:cubicBezTo>
                    <a:cubicBezTo>
                      <a:pt x="2" y="5"/>
                      <a:pt x="7" y="1"/>
                      <a:pt x="14" y="1"/>
                    </a:cubicBezTo>
                    <a:cubicBezTo>
                      <a:pt x="20" y="1"/>
                      <a:pt x="25" y="5"/>
                      <a:pt x="25" y="9"/>
                    </a:cubicBezTo>
                    <a:lnTo>
                      <a:pt x="25" y="24"/>
                    </a:lnTo>
                    <a:close/>
                  </a:path>
                </a:pathLst>
              </a:custGeom>
              <a:solidFill>
                <a:srgbClr val="DF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74" name="Rectangle 641"/>
              <p:cNvSpPr>
                <a:spLocks noChangeArrowheads="1"/>
              </p:cNvSpPr>
              <p:nvPr/>
            </p:nvSpPr>
            <p:spPr bwMode="auto">
              <a:xfrm>
                <a:off x="8471659" y="3431916"/>
                <a:ext cx="295275"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75" name="Rectangle 642"/>
              <p:cNvSpPr>
                <a:spLocks noChangeArrowheads="1"/>
              </p:cNvSpPr>
              <p:nvPr/>
            </p:nvSpPr>
            <p:spPr bwMode="auto">
              <a:xfrm>
                <a:off x="8614534" y="3203316"/>
                <a:ext cx="19050" cy="2381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76" name="Rectangle 643"/>
              <p:cNvSpPr>
                <a:spLocks noChangeArrowheads="1"/>
              </p:cNvSpPr>
              <p:nvPr/>
            </p:nvSpPr>
            <p:spPr bwMode="auto">
              <a:xfrm>
                <a:off x="8500234" y="3269991"/>
                <a:ext cx="247650" cy="95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77" name="Rectangle 644"/>
              <p:cNvSpPr>
                <a:spLocks noChangeArrowheads="1"/>
              </p:cNvSpPr>
              <p:nvPr/>
            </p:nvSpPr>
            <p:spPr bwMode="auto">
              <a:xfrm>
                <a:off x="8500234" y="3355716"/>
                <a:ext cx="247650" cy="95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78" name="Freeform 645"/>
              <p:cNvSpPr>
                <a:spLocks/>
              </p:cNvSpPr>
              <p:nvPr/>
            </p:nvSpPr>
            <p:spPr bwMode="auto">
              <a:xfrm>
                <a:off x="8871709" y="3193791"/>
                <a:ext cx="238125" cy="238125"/>
              </a:xfrm>
              <a:custGeom>
                <a:avLst/>
                <a:gdLst>
                  <a:gd name="T0" fmla="*/ 12 w 25"/>
                  <a:gd name="T1" fmla="*/ 0 h 25"/>
                  <a:gd name="T2" fmla="*/ 0 w 25"/>
                  <a:gd name="T3" fmla="*/ 9 h 25"/>
                  <a:gd name="T4" fmla="*/ 0 w 25"/>
                  <a:gd name="T5" fmla="*/ 25 h 25"/>
                  <a:gd name="T6" fmla="*/ 25 w 25"/>
                  <a:gd name="T7" fmla="*/ 25 h 25"/>
                  <a:gd name="T8" fmla="*/ 25 w 25"/>
                  <a:gd name="T9" fmla="*/ 9 h 25"/>
                  <a:gd name="T10" fmla="*/ 12 w 25"/>
                  <a:gd name="T11" fmla="*/ 0 h 25"/>
                </a:gdLst>
                <a:ahLst/>
                <a:cxnLst>
                  <a:cxn ang="0">
                    <a:pos x="T0" y="T1"/>
                  </a:cxn>
                  <a:cxn ang="0">
                    <a:pos x="T2" y="T3"/>
                  </a:cxn>
                  <a:cxn ang="0">
                    <a:pos x="T4" y="T5"/>
                  </a:cxn>
                  <a:cxn ang="0">
                    <a:pos x="T6" y="T7"/>
                  </a:cxn>
                  <a:cxn ang="0">
                    <a:pos x="T8" y="T9"/>
                  </a:cxn>
                  <a:cxn ang="0">
                    <a:pos x="T10" y="T11"/>
                  </a:cxn>
                </a:cxnLst>
                <a:rect l="0" t="0" r="r" b="b"/>
                <a:pathLst>
                  <a:path w="25" h="25">
                    <a:moveTo>
                      <a:pt x="12" y="0"/>
                    </a:moveTo>
                    <a:cubicBezTo>
                      <a:pt x="5" y="0"/>
                      <a:pt x="0" y="4"/>
                      <a:pt x="0" y="9"/>
                    </a:cubicBezTo>
                    <a:cubicBezTo>
                      <a:pt x="0" y="25"/>
                      <a:pt x="0" y="25"/>
                      <a:pt x="0" y="25"/>
                    </a:cubicBezTo>
                    <a:cubicBezTo>
                      <a:pt x="25" y="25"/>
                      <a:pt x="25" y="25"/>
                      <a:pt x="25" y="25"/>
                    </a:cubicBezTo>
                    <a:cubicBezTo>
                      <a:pt x="25" y="9"/>
                      <a:pt x="25" y="9"/>
                      <a:pt x="25" y="9"/>
                    </a:cubicBezTo>
                    <a:cubicBezTo>
                      <a:pt x="25" y="4"/>
                      <a:pt x="19" y="0"/>
                      <a:pt x="12" y="0"/>
                    </a:cubicBezTo>
                    <a:close/>
                  </a:path>
                </a:pathLst>
              </a:custGeom>
              <a:solidFill>
                <a:srgbClr val="4F5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79" name="Freeform 646"/>
              <p:cNvSpPr>
                <a:spLocks noEditPoints="1"/>
              </p:cNvSpPr>
              <p:nvPr/>
            </p:nvSpPr>
            <p:spPr bwMode="auto">
              <a:xfrm>
                <a:off x="8862184" y="3193791"/>
                <a:ext cx="257175" cy="238125"/>
              </a:xfrm>
              <a:custGeom>
                <a:avLst/>
                <a:gdLst>
                  <a:gd name="T0" fmla="*/ 13 w 27"/>
                  <a:gd name="T1" fmla="*/ 0 h 25"/>
                  <a:gd name="T2" fmla="*/ 0 w 27"/>
                  <a:gd name="T3" fmla="*/ 9 h 25"/>
                  <a:gd name="T4" fmla="*/ 0 w 27"/>
                  <a:gd name="T5" fmla="*/ 25 h 25"/>
                  <a:gd name="T6" fmla="*/ 27 w 27"/>
                  <a:gd name="T7" fmla="*/ 25 h 25"/>
                  <a:gd name="T8" fmla="*/ 27 w 27"/>
                  <a:gd name="T9" fmla="*/ 9 h 25"/>
                  <a:gd name="T10" fmla="*/ 13 w 27"/>
                  <a:gd name="T11" fmla="*/ 0 h 25"/>
                  <a:gd name="T12" fmla="*/ 25 w 27"/>
                  <a:gd name="T13" fmla="*/ 24 h 25"/>
                  <a:gd name="T14" fmla="*/ 2 w 27"/>
                  <a:gd name="T15" fmla="*/ 24 h 25"/>
                  <a:gd name="T16" fmla="*/ 2 w 27"/>
                  <a:gd name="T17" fmla="*/ 9 h 25"/>
                  <a:gd name="T18" fmla="*/ 13 w 27"/>
                  <a:gd name="T19" fmla="*/ 1 h 25"/>
                  <a:gd name="T20" fmla="*/ 25 w 27"/>
                  <a:gd name="T21" fmla="*/ 9 h 25"/>
                  <a:gd name="T22" fmla="*/ 25 w 27"/>
                  <a:gd name="T23"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5">
                    <a:moveTo>
                      <a:pt x="13" y="0"/>
                    </a:moveTo>
                    <a:cubicBezTo>
                      <a:pt x="6" y="0"/>
                      <a:pt x="0" y="4"/>
                      <a:pt x="0" y="9"/>
                    </a:cubicBezTo>
                    <a:cubicBezTo>
                      <a:pt x="0" y="25"/>
                      <a:pt x="0" y="25"/>
                      <a:pt x="0" y="25"/>
                    </a:cubicBezTo>
                    <a:cubicBezTo>
                      <a:pt x="27" y="25"/>
                      <a:pt x="27" y="25"/>
                      <a:pt x="27" y="25"/>
                    </a:cubicBezTo>
                    <a:cubicBezTo>
                      <a:pt x="27" y="9"/>
                      <a:pt x="27" y="9"/>
                      <a:pt x="27" y="9"/>
                    </a:cubicBezTo>
                    <a:cubicBezTo>
                      <a:pt x="27" y="4"/>
                      <a:pt x="21" y="0"/>
                      <a:pt x="13" y="0"/>
                    </a:cubicBezTo>
                    <a:close/>
                    <a:moveTo>
                      <a:pt x="25" y="24"/>
                    </a:moveTo>
                    <a:cubicBezTo>
                      <a:pt x="2" y="24"/>
                      <a:pt x="2" y="24"/>
                      <a:pt x="2" y="24"/>
                    </a:cubicBezTo>
                    <a:cubicBezTo>
                      <a:pt x="2" y="9"/>
                      <a:pt x="2" y="9"/>
                      <a:pt x="2" y="9"/>
                    </a:cubicBezTo>
                    <a:cubicBezTo>
                      <a:pt x="2" y="5"/>
                      <a:pt x="7" y="1"/>
                      <a:pt x="13" y="1"/>
                    </a:cubicBezTo>
                    <a:cubicBezTo>
                      <a:pt x="20" y="1"/>
                      <a:pt x="25" y="5"/>
                      <a:pt x="25" y="9"/>
                    </a:cubicBezTo>
                    <a:lnTo>
                      <a:pt x="25" y="24"/>
                    </a:lnTo>
                    <a:close/>
                  </a:path>
                </a:pathLst>
              </a:custGeom>
              <a:solidFill>
                <a:srgbClr val="DF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80" name="Rectangle 647"/>
              <p:cNvSpPr>
                <a:spLocks noChangeArrowheads="1"/>
              </p:cNvSpPr>
              <p:nvPr/>
            </p:nvSpPr>
            <p:spPr bwMode="auto">
              <a:xfrm>
                <a:off x="8843134" y="3431916"/>
                <a:ext cx="295275"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81" name="Rectangle 648"/>
              <p:cNvSpPr>
                <a:spLocks noChangeArrowheads="1"/>
              </p:cNvSpPr>
              <p:nvPr/>
            </p:nvSpPr>
            <p:spPr bwMode="auto">
              <a:xfrm>
                <a:off x="8986009" y="3203316"/>
                <a:ext cx="9525" cy="2381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82" name="Rectangle 649"/>
              <p:cNvSpPr>
                <a:spLocks noChangeArrowheads="1"/>
              </p:cNvSpPr>
              <p:nvPr/>
            </p:nvSpPr>
            <p:spPr bwMode="auto">
              <a:xfrm>
                <a:off x="8871709" y="3269991"/>
                <a:ext cx="247650" cy="95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83" name="Rectangle 650"/>
              <p:cNvSpPr>
                <a:spLocks noChangeArrowheads="1"/>
              </p:cNvSpPr>
              <p:nvPr/>
            </p:nvSpPr>
            <p:spPr bwMode="auto">
              <a:xfrm>
                <a:off x="8871709" y="3355716"/>
                <a:ext cx="247650" cy="95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84" name="Freeform 651"/>
              <p:cNvSpPr>
                <a:spLocks/>
              </p:cNvSpPr>
              <p:nvPr/>
            </p:nvSpPr>
            <p:spPr bwMode="auto">
              <a:xfrm>
                <a:off x="9233659" y="3193791"/>
                <a:ext cx="238125" cy="238125"/>
              </a:xfrm>
              <a:custGeom>
                <a:avLst/>
                <a:gdLst>
                  <a:gd name="T0" fmla="*/ 12 w 25"/>
                  <a:gd name="T1" fmla="*/ 0 h 25"/>
                  <a:gd name="T2" fmla="*/ 0 w 25"/>
                  <a:gd name="T3" fmla="*/ 9 h 25"/>
                  <a:gd name="T4" fmla="*/ 0 w 25"/>
                  <a:gd name="T5" fmla="*/ 25 h 25"/>
                  <a:gd name="T6" fmla="*/ 25 w 25"/>
                  <a:gd name="T7" fmla="*/ 25 h 25"/>
                  <a:gd name="T8" fmla="*/ 25 w 25"/>
                  <a:gd name="T9" fmla="*/ 9 h 25"/>
                  <a:gd name="T10" fmla="*/ 12 w 25"/>
                  <a:gd name="T11" fmla="*/ 0 h 25"/>
                </a:gdLst>
                <a:ahLst/>
                <a:cxnLst>
                  <a:cxn ang="0">
                    <a:pos x="T0" y="T1"/>
                  </a:cxn>
                  <a:cxn ang="0">
                    <a:pos x="T2" y="T3"/>
                  </a:cxn>
                  <a:cxn ang="0">
                    <a:pos x="T4" y="T5"/>
                  </a:cxn>
                  <a:cxn ang="0">
                    <a:pos x="T6" y="T7"/>
                  </a:cxn>
                  <a:cxn ang="0">
                    <a:pos x="T8" y="T9"/>
                  </a:cxn>
                  <a:cxn ang="0">
                    <a:pos x="T10" y="T11"/>
                  </a:cxn>
                </a:cxnLst>
                <a:rect l="0" t="0" r="r" b="b"/>
                <a:pathLst>
                  <a:path w="25" h="25">
                    <a:moveTo>
                      <a:pt x="12" y="0"/>
                    </a:moveTo>
                    <a:cubicBezTo>
                      <a:pt x="5" y="0"/>
                      <a:pt x="0" y="4"/>
                      <a:pt x="0" y="9"/>
                    </a:cubicBezTo>
                    <a:cubicBezTo>
                      <a:pt x="0" y="25"/>
                      <a:pt x="0" y="25"/>
                      <a:pt x="0" y="25"/>
                    </a:cubicBezTo>
                    <a:cubicBezTo>
                      <a:pt x="25" y="25"/>
                      <a:pt x="25" y="25"/>
                      <a:pt x="25" y="25"/>
                    </a:cubicBezTo>
                    <a:cubicBezTo>
                      <a:pt x="25" y="9"/>
                      <a:pt x="25" y="9"/>
                      <a:pt x="25" y="9"/>
                    </a:cubicBezTo>
                    <a:cubicBezTo>
                      <a:pt x="25" y="4"/>
                      <a:pt x="19" y="0"/>
                      <a:pt x="12" y="0"/>
                    </a:cubicBezTo>
                    <a:close/>
                  </a:path>
                </a:pathLst>
              </a:custGeom>
              <a:solidFill>
                <a:srgbClr val="4F5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85" name="Freeform 652"/>
              <p:cNvSpPr>
                <a:spLocks noEditPoints="1"/>
              </p:cNvSpPr>
              <p:nvPr/>
            </p:nvSpPr>
            <p:spPr bwMode="auto">
              <a:xfrm>
                <a:off x="9224134" y="3193791"/>
                <a:ext cx="257175" cy="238125"/>
              </a:xfrm>
              <a:custGeom>
                <a:avLst/>
                <a:gdLst>
                  <a:gd name="T0" fmla="*/ 13 w 27"/>
                  <a:gd name="T1" fmla="*/ 0 h 25"/>
                  <a:gd name="T2" fmla="*/ 0 w 27"/>
                  <a:gd name="T3" fmla="*/ 9 h 25"/>
                  <a:gd name="T4" fmla="*/ 0 w 27"/>
                  <a:gd name="T5" fmla="*/ 25 h 25"/>
                  <a:gd name="T6" fmla="*/ 27 w 27"/>
                  <a:gd name="T7" fmla="*/ 25 h 25"/>
                  <a:gd name="T8" fmla="*/ 27 w 27"/>
                  <a:gd name="T9" fmla="*/ 9 h 25"/>
                  <a:gd name="T10" fmla="*/ 13 w 27"/>
                  <a:gd name="T11" fmla="*/ 0 h 25"/>
                  <a:gd name="T12" fmla="*/ 25 w 27"/>
                  <a:gd name="T13" fmla="*/ 24 h 25"/>
                  <a:gd name="T14" fmla="*/ 2 w 27"/>
                  <a:gd name="T15" fmla="*/ 24 h 25"/>
                  <a:gd name="T16" fmla="*/ 2 w 27"/>
                  <a:gd name="T17" fmla="*/ 9 h 25"/>
                  <a:gd name="T18" fmla="*/ 13 w 27"/>
                  <a:gd name="T19" fmla="*/ 1 h 25"/>
                  <a:gd name="T20" fmla="*/ 25 w 27"/>
                  <a:gd name="T21" fmla="*/ 9 h 25"/>
                  <a:gd name="T22" fmla="*/ 25 w 27"/>
                  <a:gd name="T23"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5">
                    <a:moveTo>
                      <a:pt x="13" y="0"/>
                    </a:moveTo>
                    <a:cubicBezTo>
                      <a:pt x="6" y="0"/>
                      <a:pt x="0" y="4"/>
                      <a:pt x="0" y="9"/>
                    </a:cubicBezTo>
                    <a:cubicBezTo>
                      <a:pt x="0" y="25"/>
                      <a:pt x="0" y="25"/>
                      <a:pt x="0" y="25"/>
                    </a:cubicBezTo>
                    <a:cubicBezTo>
                      <a:pt x="27" y="25"/>
                      <a:pt x="27" y="25"/>
                      <a:pt x="27" y="25"/>
                    </a:cubicBezTo>
                    <a:cubicBezTo>
                      <a:pt x="27" y="9"/>
                      <a:pt x="27" y="9"/>
                      <a:pt x="27" y="9"/>
                    </a:cubicBezTo>
                    <a:cubicBezTo>
                      <a:pt x="27" y="4"/>
                      <a:pt x="21" y="0"/>
                      <a:pt x="13" y="0"/>
                    </a:cubicBezTo>
                    <a:close/>
                    <a:moveTo>
                      <a:pt x="25" y="24"/>
                    </a:moveTo>
                    <a:cubicBezTo>
                      <a:pt x="2" y="24"/>
                      <a:pt x="2" y="24"/>
                      <a:pt x="2" y="24"/>
                    </a:cubicBezTo>
                    <a:cubicBezTo>
                      <a:pt x="2" y="9"/>
                      <a:pt x="2" y="9"/>
                      <a:pt x="2" y="9"/>
                    </a:cubicBezTo>
                    <a:cubicBezTo>
                      <a:pt x="2" y="5"/>
                      <a:pt x="7" y="1"/>
                      <a:pt x="13" y="1"/>
                    </a:cubicBezTo>
                    <a:cubicBezTo>
                      <a:pt x="20" y="1"/>
                      <a:pt x="25" y="5"/>
                      <a:pt x="25" y="9"/>
                    </a:cubicBezTo>
                    <a:lnTo>
                      <a:pt x="25" y="24"/>
                    </a:lnTo>
                    <a:close/>
                  </a:path>
                </a:pathLst>
              </a:custGeom>
              <a:solidFill>
                <a:srgbClr val="DF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86" name="Rectangle 653"/>
              <p:cNvSpPr>
                <a:spLocks noChangeArrowheads="1"/>
              </p:cNvSpPr>
              <p:nvPr/>
            </p:nvSpPr>
            <p:spPr bwMode="auto">
              <a:xfrm>
                <a:off x="9205084" y="3431916"/>
                <a:ext cx="295275" cy="19050"/>
              </a:xfrm>
              <a:prstGeom prst="rect">
                <a:avLst/>
              </a:prstGeom>
              <a:solidFill>
                <a:srgbClr val="F1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87" name="Rectangle 654"/>
              <p:cNvSpPr>
                <a:spLocks noChangeArrowheads="1"/>
              </p:cNvSpPr>
              <p:nvPr/>
            </p:nvSpPr>
            <p:spPr bwMode="auto">
              <a:xfrm>
                <a:off x="9347959" y="3203316"/>
                <a:ext cx="9525" cy="2381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88" name="Rectangle 655"/>
              <p:cNvSpPr>
                <a:spLocks noChangeArrowheads="1"/>
              </p:cNvSpPr>
              <p:nvPr/>
            </p:nvSpPr>
            <p:spPr bwMode="auto">
              <a:xfrm>
                <a:off x="9233659" y="3269991"/>
                <a:ext cx="247650" cy="95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89" name="Rectangle 656"/>
              <p:cNvSpPr>
                <a:spLocks noChangeArrowheads="1"/>
              </p:cNvSpPr>
              <p:nvPr/>
            </p:nvSpPr>
            <p:spPr bwMode="auto">
              <a:xfrm>
                <a:off x="9233659" y="3355716"/>
                <a:ext cx="247650" cy="9525"/>
              </a:xfrm>
              <a:prstGeom prst="rect">
                <a:avLst/>
              </a:prstGeom>
              <a:solidFill>
                <a:srgbClr val="DFDE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190" name="กลุ่ม 219"/>
            <p:cNvGrpSpPr/>
            <p:nvPr/>
          </p:nvGrpSpPr>
          <p:grpSpPr>
            <a:xfrm>
              <a:off x="19154186" y="4837869"/>
              <a:ext cx="1106488" cy="2697163"/>
              <a:chOff x="11403013" y="7348538"/>
              <a:chExt cx="1106488" cy="2697163"/>
            </a:xfrm>
          </p:grpSpPr>
          <p:sp>
            <p:nvSpPr>
              <p:cNvPr id="191" name="Freeform 1108"/>
              <p:cNvSpPr>
                <a:spLocks/>
              </p:cNvSpPr>
              <p:nvPr/>
            </p:nvSpPr>
            <p:spPr bwMode="auto">
              <a:xfrm>
                <a:off x="11403013" y="7348538"/>
                <a:ext cx="1106488" cy="2144713"/>
              </a:xfrm>
              <a:custGeom>
                <a:avLst/>
                <a:gdLst>
                  <a:gd name="T0" fmla="*/ 116 w 116"/>
                  <a:gd name="T1" fmla="*/ 149 h 225"/>
                  <a:gd name="T2" fmla="*/ 58 w 116"/>
                  <a:gd name="T3" fmla="*/ 225 h 225"/>
                  <a:gd name="T4" fmla="*/ 0 w 116"/>
                  <a:gd name="T5" fmla="*/ 149 h 225"/>
                  <a:gd name="T6" fmla="*/ 48 w 116"/>
                  <a:gd name="T7" fmla="*/ 9 h 225"/>
                  <a:gd name="T8" fmla="*/ 116 w 116"/>
                  <a:gd name="T9" fmla="*/ 149 h 225"/>
                </a:gdLst>
                <a:ahLst/>
                <a:cxnLst>
                  <a:cxn ang="0">
                    <a:pos x="T0" y="T1"/>
                  </a:cxn>
                  <a:cxn ang="0">
                    <a:pos x="T2" y="T3"/>
                  </a:cxn>
                  <a:cxn ang="0">
                    <a:pos x="T4" y="T5"/>
                  </a:cxn>
                  <a:cxn ang="0">
                    <a:pos x="T6" y="T7"/>
                  </a:cxn>
                  <a:cxn ang="0">
                    <a:pos x="T8" y="T9"/>
                  </a:cxn>
                </a:cxnLst>
                <a:rect l="0" t="0" r="r" b="b"/>
                <a:pathLst>
                  <a:path w="116" h="225">
                    <a:moveTo>
                      <a:pt x="116" y="149"/>
                    </a:moveTo>
                    <a:cubicBezTo>
                      <a:pt x="116" y="191"/>
                      <a:pt x="90" y="225"/>
                      <a:pt x="58" y="225"/>
                    </a:cubicBezTo>
                    <a:cubicBezTo>
                      <a:pt x="26" y="225"/>
                      <a:pt x="0" y="191"/>
                      <a:pt x="0" y="149"/>
                    </a:cubicBezTo>
                    <a:cubicBezTo>
                      <a:pt x="0" y="106"/>
                      <a:pt x="16" y="13"/>
                      <a:pt x="48" y="9"/>
                    </a:cubicBezTo>
                    <a:cubicBezTo>
                      <a:pt x="116" y="0"/>
                      <a:pt x="116" y="106"/>
                      <a:pt x="116" y="149"/>
                    </a:cubicBezTo>
                    <a:close/>
                  </a:path>
                </a:pathLst>
              </a:custGeom>
              <a:solidFill>
                <a:srgbClr val="88C6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2" name="Freeform 1109"/>
              <p:cNvSpPr>
                <a:spLocks/>
              </p:cNvSpPr>
              <p:nvPr/>
            </p:nvSpPr>
            <p:spPr bwMode="auto">
              <a:xfrm>
                <a:off x="11680826" y="8081963"/>
                <a:ext cx="561975" cy="1963738"/>
              </a:xfrm>
              <a:custGeom>
                <a:avLst/>
                <a:gdLst>
                  <a:gd name="T0" fmla="*/ 354 w 354"/>
                  <a:gd name="T1" fmla="*/ 426 h 1237"/>
                  <a:gd name="T2" fmla="*/ 192 w 354"/>
                  <a:gd name="T3" fmla="*/ 541 h 1237"/>
                  <a:gd name="T4" fmla="*/ 180 w 354"/>
                  <a:gd name="T5" fmla="*/ 186 h 1237"/>
                  <a:gd name="T6" fmla="*/ 216 w 354"/>
                  <a:gd name="T7" fmla="*/ 84 h 1237"/>
                  <a:gd name="T8" fmla="*/ 180 w 354"/>
                  <a:gd name="T9" fmla="*/ 150 h 1237"/>
                  <a:gd name="T10" fmla="*/ 174 w 354"/>
                  <a:gd name="T11" fmla="*/ 0 h 1237"/>
                  <a:gd name="T12" fmla="*/ 168 w 354"/>
                  <a:gd name="T13" fmla="*/ 216 h 1237"/>
                  <a:gd name="T14" fmla="*/ 162 w 354"/>
                  <a:gd name="T15" fmla="*/ 348 h 1237"/>
                  <a:gd name="T16" fmla="*/ 0 w 354"/>
                  <a:gd name="T17" fmla="*/ 294 h 1237"/>
                  <a:gd name="T18" fmla="*/ 162 w 354"/>
                  <a:gd name="T19" fmla="*/ 396 h 1237"/>
                  <a:gd name="T20" fmla="*/ 144 w 354"/>
                  <a:gd name="T21" fmla="*/ 1237 h 1237"/>
                  <a:gd name="T22" fmla="*/ 216 w 354"/>
                  <a:gd name="T23" fmla="*/ 1237 h 1237"/>
                  <a:gd name="T24" fmla="*/ 192 w 354"/>
                  <a:gd name="T25" fmla="*/ 577 h 1237"/>
                  <a:gd name="T26" fmla="*/ 354 w 354"/>
                  <a:gd name="T27" fmla="*/ 426 h 1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4" h="1237">
                    <a:moveTo>
                      <a:pt x="354" y="426"/>
                    </a:moveTo>
                    <a:lnTo>
                      <a:pt x="192" y="541"/>
                    </a:lnTo>
                    <a:lnTo>
                      <a:pt x="180" y="186"/>
                    </a:lnTo>
                    <a:lnTo>
                      <a:pt x="216" y="84"/>
                    </a:lnTo>
                    <a:lnTo>
                      <a:pt x="180" y="150"/>
                    </a:lnTo>
                    <a:lnTo>
                      <a:pt x="174" y="0"/>
                    </a:lnTo>
                    <a:lnTo>
                      <a:pt x="168" y="216"/>
                    </a:lnTo>
                    <a:lnTo>
                      <a:pt x="162" y="348"/>
                    </a:lnTo>
                    <a:lnTo>
                      <a:pt x="0" y="294"/>
                    </a:lnTo>
                    <a:lnTo>
                      <a:pt x="162" y="396"/>
                    </a:lnTo>
                    <a:lnTo>
                      <a:pt x="144" y="1237"/>
                    </a:lnTo>
                    <a:lnTo>
                      <a:pt x="216" y="1237"/>
                    </a:lnTo>
                    <a:lnTo>
                      <a:pt x="192" y="577"/>
                    </a:lnTo>
                    <a:lnTo>
                      <a:pt x="354" y="426"/>
                    </a:lnTo>
                    <a:close/>
                  </a:path>
                </a:pathLst>
              </a:custGeom>
              <a:solidFill>
                <a:srgbClr val="874F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193" name="กลุ่ม 222"/>
            <p:cNvGrpSpPr/>
            <p:nvPr/>
          </p:nvGrpSpPr>
          <p:grpSpPr>
            <a:xfrm>
              <a:off x="19976783" y="5821923"/>
              <a:ext cx="943548" cy="1763010"/>
              <a:chOff x="12814301" y="7720013"/>
              <a:chExt cx="1219200" cy="2278063"/>
            </a:xfrm>
          </p:grpSpPr>
          <p:sp>
            <p:nvSpPr>
              <p:cNvPr id="194" name="Freeform 1106"/>
              <p:cNvSpPr>
                <a:spLocks/>
              </p:cNvSpPr>
              <p:nvPr/>
            </p:nvSpPr>
            <p:spPr bwMode="auto">
              <a:xfrm>
                <a:off x="12814301" y="7720013"/>
                <a:ext cx="1219200" cy="1668463"/>
              </a:xfrm>
              <a:custGeom>
                <a:avLst/>
                <a:gdLst>
                  <a:gd name="T0" fmla="*/ 0 w 128"/>
                  <a:gd name="T1" fmla="*/ 91 h 175"/>
                  <a:gd name="T2" fmla="*/ 64 w 128"/>
                  <a:gd name="T3" fmla="*/ 175 h 175"/>
                  <a:gd name="T4" fmla="*/ 128 w 128"/>
                  <a:gd name="T5" fmla="*/ 91 h 175"/>
                  <a:gd name="T6" fmla="*/ 64 w 128"/>
                  <a:gd name="T7" fmla="*/ 7 h 175"/>
                  <a:gd name="T8" fmla="*/ 0 w 128"/>
                  <a:gd name="T9" fmla="*/ 91 h 175"/>
                </a:gdLst>
                <a:ahLst/>
                <a:cxnLst>
                  <a:cxn ang="0">
                    <a:pos x="T0" y="T1"/>
                  </a:cxn>
                  <a:cxn ang="0">
                    <a:pos x="T2" y="T3"/>
                  </a:cxn>
                  <a:cxn ang="0">
                    <a:pos x="T4" y="T5"/>
                  </a:cxn>
                  <a:cxn ang="0">
                    <a:pos x="T6" y="T7"/>
                  </a:cxn>
                  <a:cxn ang="0">
                    <a:pos x="T8" y="T9"/>
                  </a:cxn>
                </a:cxnLst>
                <a:rect l="0" t="0" r="r" b="b"/>
                <a:pathLst>
                  <a:path w="128" h="175">
                    <a:moveTo>
                      <a:pt x="0" y="91"/>
                    </a:moveTo>
                    <a:cubicBezTo>
                      <a:pt x="0" y="138"/>
                      <a:pt x="29" y="175"/>
                      <a:pt x="64" y="175"/>
                    </a:cubicBezTo>
                    <a:cubicBezTo>
                      <a:pt x="99" y="175"/>
                      <a:pt x="128" y="138"/>
                      <a:pt x="128" y="91"/>
                    </a:cubicBezTo>
                    <a:cubicBezTo>
                      <a:pt x="128" y="45"/>
                      <a:pt x="99" y="12"/>
                      <a:pt x="64" y="7"/>
                    </a:cubicBezTo>
                    <a:cubicBezTo>
                      <a:pt x="15" y="0"/>
                      <a:pt x="0" y="45"/>
                      <a:pt x="0" y="91"/>
                    </a:cubicBezTo>
                    <a:close/>
                  </a:path>
                </a:pathLst>
              </a:custGeom>
              <a:solidFill>
                <a:srgbClr val="55A8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5" name="Freeform 1107"/>
              <p:cNvSpPr>
                <a:spLocks/>
              </p:cNvSpPr>
              <p:nvPr/>
            </p:nvSpPr>
            <p:spPr bwMode="auto">
              <a:xfrm>
                <a:off x="13109576" y="8224838"/>
                <a:ext cx="609600" cy="1773238"/>
              </a:xfrm>
              <a:custGeom>
                <a:avLst/>
                <a:gdLst>
                  <a:gd name="T0" fmla="*/ 0 w 384"/>
                  <a:gd name="T1" fmla="*/ 385 h 1117"/>
                  <a:gd name="T2" fmla="*/ 180 w 384"/>
                  <a:gd name="T3" fmla="*/ 487 h 1117"/>
                  <a:gd name="T4" fmla="*/ 192 w 384"/>
                  <a:gd name="T5" fmla="*/ 168 h 1117"/>
                  <a:gd name="T6" fmla="*/ 150 w 384"/>
                  <a:gd name="T7" fmla="*/ 78 h 1117"/>
                  <a:gd name="T8" fmla="*/ 192 w 384"/>
                  <a:gd name="T9" fmla="*/ 132 h 1117"/>
                  <a:gd name="T10" fmla="*/ 198 w 384"/>
                  <a:gd name="T11" fmla="*/ 0 h 1117"/>
                  <a:gd name="T12" fmla="*/ 204 w 384"/>
                  <a:gd name="T13" fmla="*/ 198 h 1117"/>
                  <a:gd name="T14" fmla="*/ 210 w 384"/>
                  <a:gd name="T15" fmla="*/ 318 h 1117"/>
                  <a:gd name="T16" fmla="*/ 384 w 384"/>
                  <a:gd name="T17" fmla="*/ 264 h 1117"/>
                  <a:gd name="T18" fmla="*/ 210 w 384"/>
                  <a:gd name="T19" fmla="*/ 361 h 1117"/>
                  <a:gd name="T20" fmla="*/ 234 w 384"/>
                  <a:gd name="T21" fmla="*/ 1117 h 1117"/>
                  <a:gd name="T22" fmla="*/ 150 w 384"/>
                  <a:gd name="T23" fmla="*/ 1117 h 1117"/>
                  <a:gd name="T24" fmla="*/ 174 w 384"/>
                  <a:gd name="T25" fmla="*/ 517 h 1117"/>
                  <a:gd name="T26" fmla="*/ 0 w 384"/>
                  <a:gd name="T27" fmla="*/ 385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1117">
                    <a:moveTo>
                      <a:pt x="0" y="385"/>
                    </a:moveTo>
                    <a:lnTo>
                      <a:pt x="180" y="487"/>
                    </a:lnTo>
                    <a:lnTo>
                      <a:pt x="192" y="168"/>
                    </a:lnTo>
                    <a:lnTo>
                      <a:pt x="150" y="78"/>
                    </a:lnTo>
                    <a:lnTo>
                      <a:pt x="192" y="132"/>
                    </a:lnTo>
                    <a:lnTo>
                      <a:pt x="198" y="0"/>
                    </a:lnTo>
                    <a:lnTo>
                      <a:pt x="204" y="198"/>
                    </a:lnTo>
                    <a:lnTo>
                      <a:pt x="210" y="318"/>
                    </a:lnTo>
                    <a:lnTo>
                      <a:pt x="384" y="264"/>
                    </a:lnTo>
                    <a:lnTo>
                      <a:pt x="210" y="361"/>
                    </a:lnTo>
                    <a:lnTo>
                      <a:pt x="234" y="1117"/>
                    </a:lnTo>
                    <a:lnTo>
                      <a:pt x="150" y="1117"/>
                    </a:lnTo>
                    <a:lnTo>
                      <a:pt x="174" y="517"/>
                    </a:lnTo>
                    <a:lnTo>
                      <a:pt x="0" y="385"/>
                    </a:lnTo>
                    <a:close/>
                  </a:path>
                </a:pathLst>
              </a:custGeom>
              <a:solidFill>
                <a:srgbClr val="874F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196" name="กลุ่ม 225"/>
            <p:cNvGrpSpPr/>
            <p:nvPr/>
          </p:nvGrpSpPr>
          <p:grpSpPr>
            <a:xfrm>
              <a:off x="16520172" y="5290938"/>
              <a:ext cx="908935" cy="2215609"/>
              <a:chOff x="11403013" y="7348538"/>
              <a:chExt cx="1106488" cy="2697163"/>
            </a:xfrm>
          </p:grpSpPr>
          <p:sp>
            <p:nvSpPr>
              <p:cNvPr id="197" name="Freeform 1108"/>
              <p:cNvSpPr>
                <a:spLocks/>
              </p:cNvSpPr>
              <p:nvPr/>
            </p:nvSpPr>
            <p:spPr bwMode="auto">
              <a:xfrm>
                <a:off x="11403013" y="7348538"/>
                <a:ext cx="1106488" cy="2144713"/>
              </a:xfrm>
              <a:custGeom>
                <a:avLst/>
                <a:gdLst>
                  <a:gd name="T0" fmla="*/ 116 w 116"/>
                  <a:gd name="T1" fmla="*/ 149 h 225"/>
                  <a:gd name="T2" fmla="*/ 58 w 116"/>
                  <a:gd name="T3" fmla="*/ 225 h 225"/>
                  <a:gd name="T4" fmla="*/ 0 w 116"/>
                  <a:gd name="T5" fmla="*/ 149 h 225"/>
                  <a:gd name="T6" fmla="*/ 48 w 116"/>
                  <a:gd name="T7" fmla="*/ 9 h 225"/>
                  <a:gd name="T8" fmla="*/ 116 w 116"/>
                  <a:gd name="T9" fmla="*/ 149 h 225"/>
                </a:gdLst>
                <a:ahLst/>
                <a:cxnLst>
                  <a:cxn ang="0">
                    <a:pos x="T0" y="T1"/>
                  </a:cxn>
                  <a:cxn ang="0">
                    <a:pos x="T2" y="T3"/>
                  </a:cxn>
                  <a:cxn ang="0">
                    <a:pos x="T4" y="T5"/>
                  </a:cxn>
                  <a:cxn ang="0">
                    <a:pos x="T6" y="T7"/>
                  </a:cxn>
                  <a:cxn ang="0">
                    <a:pos x="T8" y="T9"/>
                  </a:cxn>
                </a:cxnLst>
                <a:rect l="0" t="0" r="r" b="b"/>
                <a:pathLst>
                  <a:path w="116" h="225">
                    <a:moveTo>
                      <a:pt x="116" y="149"/>
                    </a:moveTo>
                    <a:cubicBezTo>
                      <a:pt x="116" y="191"/>
                      <a:pt x="90" y="225"/>
                      <a:pt x="58" y="225"/>
                    </a:cubicBezTo>
                    <a:cubicBezTo>
                      <a:pt x="26" y="225"/>
                      <a:pt x="0" y="191"/>
                      <a:pt x="0" y="149"/>
                    </a:cubicBezTo>
                    <a:cubicBezTo>
                      <a:pt x="0" y="106"/>
                      <a:pt x="16" y="13"/>
                      <a:pt x="48" y="9"/>
                    </a:cubicBezTo>
                    <a:cubicBezTo>
                      <a:pt x="116" y="0"/>
                      <a:pt x="116" y="106"/>
                      <a:pt x="116" y="149"/>
                    </a:cubicBezTo>
                    <a:close/>
                  </a:path>
                </a:pathLst>
              </a:custGeom>
              <a:solidFill>
                <a:srgbClr val="88C6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8" name="Freeform 1109"/>
              <p:cNvSpPr>
                <a:spLocks/>
              </p:cNvSpPr>
              <p:nvPr/>
            </p:nvSpPr>
            <p:spPr bwMode="auto">
              <a:xfrm>
                <a:off x="11680826" y="8081963"/>
                <a:ext cx="561975" cy="1963738"/>
              </a:xfrm>
              <a:custGeom>
                <a:avLst/>
                <a:gdLst>
                  <a:gd name="T0" fmla="*/ 354 w 354"/>
                  <a:gd name="T1" fmla="*/ 426 h 1237"/>
                  <a:gd name="T2" fmla="*/ 192 w 354"/>
                  <a:gd name="T3" fmla="*/ 541 h 1237"/>
                  <a:gd name="T4" fmla="*/ 180 w 354"/>
                  <a:gd name="T5" fmla="*/ 186 h 1237"/>
                  <a:gd name="T6" fmla="*/ 216 w 354"/>
                  <a:gd name="T7" fmla="*/ 84 h 1237"/>
                  <a:gd name="T8" fmla="*/ 180 w 354"/>
                  <a:gd name="T9" fmla="*/ 150 h 1237"/>
                  <a:gd name="T10" fmla="*/ 174 w 354"/>
                  <a:gd name="T11" fmla="*/ 0 h 1237"/>
                  <a:gd name="T12" fmla="*/ 168 w 354"/>
                  <a:gd name="T13" fmla="*/ 216 h 1237"/>
                  <a:gd name="T14" fmla="*/ 162 w 354"/>
                  <a:gd name="T15" fmla="*/ 348 h 1237"/>
                  <a:gd name="T16" fmla="*/ 0 w 354"/>
                  <a:gd name="T17" fmla="*/ 294 h 1237"/>
                  <a:gd name="T18" fmla="*/ 162 w 354"/>
                  <a:gd name="T19" fmla="*/ 396 h 1237"/>
                  <a:gd name="T20" fmla="*/ 144 w 354"/>
                  <a:gd name="T21" fmla="*/ 1237 h 1237"/>
                  <a:gd name="T22" fmla="*/ 216 w 354"/>
                  <a:gd name="T23" fmla="*/ 1237 h 1237"/>
                  <a:gd name="T24" fmla="*/ 192 w 354"/>
                  <a:gd name="T25" fmla="*/ 577 h 1237"/>
                  <a:gd name="T26" fmla="*/ 354 w 354"/>
                  <a:gd name="T27" fmla="*/ 426 h 1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4" h="1237">
                    <a:moveTo>
                      <a:pt x="354" y="426"/>
                    </a:moveTo>
                    <a:lnTo>
                      <a:pt x="192" y="541"/>
                    </a:lnTo>
                    <a:lnTo>
                      <a:pt x="180" y="186"/>
                    </a:lnTo>
                    <a:lnTo>
                      <a:pt x="216" y="84"/>
                    </a:lnTo>
                    <a:lnTo>
                      <a:pt x="180" y="150"/>
                    </a:lnTo>
                    <a:lnTo>
                      <a:pt x="174" y="0"/>
                    </a:lnTo>
                    <a:lnTo>
                      <a:pt x="168" y="216"/>
                    </a:lnTo>
                    <a:lnTo>
                      <a:pt x="162" y="348"/>
                    </a:lnTo>
                    <a:lnTo>
                      <a:pt x="0" y="294"/>
                    </a:lnTo>
                    <a:lnTo>
                      <a:pt x="162" y="396"/>
                    </a:lnTo>
                    <a:lnTo>
                      <a:pt x="144" y="1237"/>
                    </a:lnTo>
                    <a:lnTo>
                      <a:pt x="216" y="1237"/>
                    </a:lnTo>
                    <a:lnTo>
                      <a:pt x="192" y="577"/>
                    </a:lnTo>
                    <a:lnTo>
                      <a:pt x="354" y="426"/>
                    </a:lnTo>
                    <a:close/>
                  </a:path>
                </a:pathLst>
              </a:custGeom>
              <a:solidFill>
                <a:srgbClr val="874F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199" name="กลุ่ม 228"/>
            <p:cNvGrpSpPr/>
            <p:nvPr/>
          </p:nvGrpSpPr>
          <p:grpSpPr>
            <a:xfrm>
              <a:off x="14552503" y="3504491"/>
              <a:ext cx="1653495" cy="4030541"/>
              <a:chOff x="11403013" y="7348538"/>
              <a:chExt cx="1106488" cy="2697163"/>
            </a:xfrm>
          </p:grpSpPr>
          <p:sp>
            <p:nvSpPr>
              <p:cNvPr id="200" name="Freeform 1108"/>
              <p:cNvSpPr>
                <a:spLocks/>
              </p:cNvSpPr>
              <p:nvPr/>
            </p:nvSpPr>
            <p:spPr bwMode="auto">
              <a:xfrm>
                <a:off x="11403013" y="7348538"/>
                <a:ext cx="1106488" cy="2144713"/>
              </a:xfrm>
              <a:custGeom>
                <a:avLst/>
                <a:gdLst>
                  <a:gd name="T0" fmla="*/ 116 w 116"/>
                  <a:gd name="T1" fmla="*/ 149 h 225"/>
                  <a:gd name="T2" fmla="*/ 58 w 116"/>
                  <a:gd name="T3" fmla="*/ 225 h 225"/>
                  <a:gd name="T4" fmla="*/ 0 w 116"/>
                  <a:gd name="T5" fmla="*/ 149 h 225"/>
                  <a:gd name="T6" fmla="*/ 48 w 116"/>
                  <a:gd name="T7" fmla="*/ 9 h 225"/>
                  <a:gd name="T8" fmla="*/ 116 w 116"/>
                  <a:gd name="T9" fmla="*/ 149 h 225"/>
                </a:gdLst>
                <a:ahLst/>
                <a:cxnLst>
                  <a:cxn ang="0">
                    <a:pos x="T0" y="T1"/>
                  </a:cxn>
                  <a:cxn ang="0">
                    <a:pos x="T2" y="T3"/>
                  </a:cxn>
                  <a:cxn ang="0">
                    <a:pos x="T4" y="T5"/>
                  </a:cxn>
                  <a:cxn ang="0">
                    <a:pos x="T6" y="T7"/>
                  </a:cxn>
                  <a:cxn ang="0">
                    <a:pos x="T8" y="T9"/>
                  </a:cxn>
                </a:cxnLst>
                <a:rect l="0" t="0" r="r" b="b"/>
                <a:pathLst>
                  <a:path w="116" h="225">
                    <a:moveTo>
                      <a:pt x="116" y="149"/>
                    </a:moveTo>
                    <a:cubicBezTo>
                      <a:pt x="116" y="191"/>
                      <a:pt x="90" y="225"/>
                      <a:pt x="58" y="225"/>
                    </a:cubicBezTo>
                    <a:cubicBezTo>
                      <a:pt x="26" y="225"/>
                      <a:pt x="0" y="191"/>
                      <a:pt x="0" y="149"/>
                    </a:cubicBezTo>
                    <a:cubicBezTo>
                      <a:pt x="0" y="106"/>
                      <a:pt x="16" y="13"/>
                      <a:pt x="48" y="9"/>
                    </a:cubicBezTo>
                    <a:cubicBezTo>
                      <a:pt x="116" y="0"/>
                      <a:pt x="116" y="106"/>
                      <a:pt x="116" y="149"/>
                    </a:cubicBezTo>
                    <a:close/>
                  </a:path>
                </a:pathLst>
              </a:custGeom>
              <a:solidFill>
                <a:srgbClr val="88C6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01" name="Freeform 1109"/>
              <p:cNvSpPr>
                <a:spLocks/>
              </p:cNvSpPr>
              <p:nvPr/>
            </p:nvSpPr>
            <p:spPr bwMode="auto">
              <a:xfrm>
                <a:off x="11680826" y="8081963"/>
                <a:ext cx="561975" cy="1963738"/>
              </a:xfrm>
              <a:custGeom>
                <a:avLst/>
                <a:gdLst>
                  <a:gd name="T0" fmla="*/ 354 w 354"/>
                  <a:gd name="T1" fmla="*/ 426 h 1237"/>
                  <a:gd name="T2" fmla="*/ 192 w 354"/>
                  <a:gd name="T3" fmla="*/ 541 h 1237"/>
                  <a:gd name="T4" fmla="*/ 180 w 354"/>
                  <a:gd name="T5" fmla="*/ 186 h 1237"/>
                  <a:gd name="T6" fmla="*/ 216 w 354"/>
                  <a:gd name="T7" fmla="*/ 84 h 1237"/>
                  <a:gd name="T8" fmla="*/ 180 w 354"/>
                  <a:gd name="T9" fmla="*/ 150 h 1237"/>
                  <a:gd name="T10" fmla="*/ 174 w 354"/>
                  <a:gd name="T11" fmla="*/ 0 h 1237"/>
                  <a:gd name="T12" fmla="*/ 168 w 354"/>
                  <a:gd name="T13" fmla="*/ 216 h 1237"/>
                  <a:gd name="T14" fmla="*/ 162 w 354"/>
                  <a:gd name="T15" fmla="*/ 348 h 1237"/>
                  <a:gd name="T16" fmla="*/ 0 w 354"/>
                  <a:gd name="T17" fmla="*/ 294 h 1237"/>
                  <a:gd name="T18" fmla="*/ 162 w 354"/>
                  <a:gd name="T19" fmla="*/ 396 h 1237"/>
                  <a:gd name="T20" fmla="*/ 144 w 354"/>
                  <a:gd name="T21" fmla="*/ 1237 h 1237"/>
                  <a:gd name="T22" fmla="*/ 216 w 354"/>
                  <a:gd name="T23" fmla="*/ 1237 h 1237"/>
                  <a:gd name="T24" fmla="*/ 192 w 354"/>
                  <a:gd name="T25" fmla="*/ 577 h 1237"/>
                  <a:gd name="T26" fmla="*/ 354 w 354"/>
                  <a:gd name="T27" fmla="*/ 426 h 1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4" h="1237">
                    <a:moveTo>
                      <a:pt x="354" y="426"/>
                    </a:moveTo>
                    <a:lnTo>
                      <a:pt x="192" y="541"/>
                    </a:lnTo>
                    <a:lnTo>
                      <a:pt x="180" y="186"/>
                    </a:lnTo>
                    <a:lnTo>
                      <a:pt x="216" y="84"/>
                    </a:lnTo>
                    <a:lnTo>
                      <a:pt x="180" y="150"/>
                    </a:lnTo>
                    <a:lnTo>
                      <a:pt x="174" y="0"/>
                    </a:lnTo>
                    <a:lnTo>
                      <a:pt x="168" y="216"/>
                    </a:lnTo>
                    <a:lnTo>
                      <a:pt x="162" y="348"/>
                    </a:lnTo>
                    <a:lnTo>
                      <a:pt x="0" y="294"/>
                    </a:lnTo>
                    <a:lnTo>
                      <a:pt x="162" y="396"/>
                    </a:lnTo>
                    <a:lnTo>
                      <a:pt x="144" y="1237"/>
                    </a:lnTo>
                    <a:lnTo>
                      <a:pt x="216" y="1237"/>
                    </a:lnTo>
                    <a:lnTo>
                      <a:pt x="192" y="577"/>
                    </a:lnTo>
                    <a:lnTo>
                      <a:pt x="354" y="426"/>
                    </a:lnTo>
                    <a:close/>
                  </a:path>
                </a:pathLst>
              </a:custGeom>
              <a:solidFill>
                <a:srgbClr val="874F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202" name="กลุ่ม 231"/>
            <p:cNvGrpSpPr/>
            <p:nvPr/>
          </p:nvGrpSpPr>
          <p:grpSpPr>
            <a:xfrm>
              <a:off x="2497057" y="7391400"/>
              <a:ext cx="19342180" cy="1335882"/>
              <a:chOff x="1038226" y="5397500"/>
              <a:chExt cx="5540375" cy="419100"/>
            </a:xfrm>
          </p:grpSpPr>
          <p:sp>
            <p:nvSpPr>
              <p:cNvPr id="203" name="Freeform 373"/>
              <p:cNvSpPr>
                <a:spLocks/>
              </p:cNvSpPr>
              <p:nvPr/>
            </p:nvSpPr>
            <p:spPr bwMode="auto">
              <a:xfrm>
                <a:off x="1038226" y="5692775"/>
                <a:ext cx="5540375" cy="123825"/>
              </a:xfrm>
              <a:custGeom>
                <a:avLst/>
                <a:gdLst>
                  <a:gd name="T0" fmla="*/ 1267 w 1296"/>
                  <a:gd name="T1" fmla="*/ 29 h 29"/>
                  <a:gd name="T2" fmla="*/ 30 w 1296"/>
                  <a:gd name="T3" fmla="*/ 29 h 29"/>
                  <a:gd name="T4" fmla="*/ 0 w 1296"/>
                  <a:gd name="T5" fmla="*/ 0 h 29"/>
                  <a:gd name="T6" fmla="*/ 1296 w 1296"/>
                  <a:gd name="T7" fmla="*/ 0 h 29"/>
                  <a:gd name="T8" fmla="*/ 1267 w 1296"/>
                  <a:gd name="T9" fmla="*/ 29 h 29"/>
                </a:gdLst>
                <a:ahLst/>
                <a:cxnLst>
                  <a:cxn ang="0">
                    <a:pos x="T0" y="T1"/>
                  </a:cxn>
                  <a:cxn ang="0">
                    <a:pos x="T2" y="T3"/>
                  </a:cxn>
                  <a:cxn ang="0">
                    <a:pos x="T4" y="T5"/>
                  </a:cxn>
                  <a:cxn ang="0">
                    <a:pos x="T6" y="T7"/>
                  </a:cxn>
                  <a:cxn ang="0">
                    <a:pos x="T8" y="T9"/>
                  </a:cxn>
                </a:cxnLst>
                <a:rect l="0" t="0" r="r" b="b"/>
                <a:pathLst>
                  <a:path w="1296" h="29">
                    <a:moveTo>
                      <a:pt x="1267" y="29"/>
                    </a:moveTo>
                    <a:cubicBezTo>
                      <a:pt x="30" y="29"/>
                      <a:pt x="30" y="29"/>
                      <a:pt x="30" y="29"/>
                    </a:cubicBezTo>
                    <a:cubicBezTo>
                      <a:pt x="13" y="29"/>
                      <a:pt x="0" y="16"/>
                      <a:pt x="0" y="0"/>
                    </a:cubicBezTo>
                    <a:cubicBezTo>
                      <a:pt x="1296" y="0"/>
                      <a:pt x="1296" y="0"/>
                      <a:pt x="1296" y="0"/>
                    </a:cubicBezTo>
                    <a:cubicBezTo>
                      <a:pt x="1296" y="16"/>
                      <a:pt x="1283" y="29"/>
                      <a:pt x="1267" y="29"/>
                    </a:cubicBezTo>
                    <a:close/>
                  </a:path>
                </a:pathLst>
              </a:custGeom>
              <a:solidFill>
                <a:srgbClr val="778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04" name="Freeform 374"/>
              <p:cNvSpPr>
                <a:spLocks/>
              </p:cNvSpPr>
              <p:nvPr/>
            </p:nvSpPr>
            <p:spPr bwMode="auto">
              <a:xfrm>
                <a:off x="1038226" y="5397500"/>
                <a:ext cx="5540375" cy="295275"/>
              </a:xfrm>
              <a:custGeom>
                <a:avLst/>
                <a:gdLst>
                  <a:gd name="T0" fmla="*/ 3490 w 3490"/>
                  <a:gd name="T1" fmla="*/ 186 h 186"/>
                  <a:gd name="T2" fmla="*/ 0 w 3490"/>
                  <a:gd name="T3" fmla="*/ 186 h 186"/>
                  <a:gd name="T4" fmla="*/ 178 w 3490"/>
                  <a:gd name="T5" fmla="*/ 0 h 186"/>
                  <a:gd name="T6" fmla="*/ 3313 w 3490"/>
                  <a:gd name="T7" fmla="*/ 0 h 186"/>
                  <a:gd name="T8" fmla="*/ 3490 w 3490"/>
                  <a:gd name="T9" fmla="*/ 186 h 186"/>
                </a:gdLst>
                <a:ahLst/>
                <a:cxnLst>
                  <a:cxn ang="0">
                    <a:pos x="T0" y="T1"/>
                  </a:cxn>
                  <a:cxn ang="0">
                    <a:pos x="T2" y="T3"/>
                  </a:cxn>
                  <a:cxn ang="0">
                    <a:pos x="T4" y="T5"/>
                  </a:cxn>
                  <a:cxn ang="0">
                    <a:pos x="T6" y="T7"/>
                  </a:cxn>
                  <a:cxn ang="0">
                    <a:pos x="T8" y="T9"/>
                  </a:cxn>
                </a:cxnLst>
                <a:rect l="0" t="0" r="r" b="b"/>
                <a:pathLst>
                  <a:path w="3490" h="186">
                    <a:moveTo>
                      <a:pt x="3490" y="186"/>
                    </a:moveTo>
                    <a:lnTo>
                      <a:pt x="0" y="186"/>
                    </a:lnTo>
                    <a:lnTo>
                      <a:pt x="178" y="0"/>
                    </a:lnTo>
                    <a:lnTo>
                      <a:pt x="3313" y="0"/>
                    </a:lnTo>
                    <a:lnTo>
                      <a:pt x="3490" y="186"/>
                    </a:lnTo>
                    <a:close/>
                  </a:path>
                </a:pathLst>
              </a:custGeom>
              <a:solidFill>
                <a:srgbClr val="959F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sp>
          <p:nvSpPr>
            <p:cNvPr id="205" name="Freeform 1110"/>
            <p:cNvSpPr>
              <a:spLocks/>
            </p:cNvSpPr>
            <p:nvPr/>
          </p:nvSpPr>
          <p:spPr bwMode="auto">
            <a:xfrm>
              <a:off x="16655583" y="3936394"/>
              <a:ext cx="1638475" cy="734428"/>
            </a:xfrm>
            <a:custGeom>
              <a:avLst/>
              <a:gdLst>
                <a:gd name="T0" fmla="*/ 137 w 156"/>
                <a:gd name="T1" fmla="*/ 19 h 70"/>
                <a:gd name="T2" fmla="*/ 98 w 156"/>
                <a:gd name="T3" fmla="*/ 27 h 70"/>
                <a:gd name="T4" fmla="*/ 61 w 156"/>
                <a:gd name="T5" fmla="*/ 1 h 70"/>
                <a:gd name="T6" fmla="*/ 38 w 156"/>
                <a:gd name="T7" fmla="*/ 26 h 70"/>
                <a:gd name="T8" fmla="*/ 12 w 156"/>
                <a:gd name="T9" fmla="*/ 29 h 70"/>
                <a:gd name="T10" fmla="*/ 1 w 156"/>
                <a:gd name="T11" fmla="*/ 51 h 70"/>
                <a:gd name="T12" fmla="*/ 30 w 156"/>
                <a:gd name="T13" fmla="*/ 70 h 70"/>
                <a:gd name="T14" fmla="*/ 30 w 156"/>
                <a:gd name="T15" fmla="*/ 70 h 70"/>
                <a:gd name="T16" fmla="*/ 105 w 156"/>
                <a:gd name="T17" fmla="*/ 69 h 70"/>
                <a:gd name="T18" fmla="*/ 151 w 156"/>
                <a:gd name="T19" fmla="*/ 53 h 70"/>
                <a:gd name="T20" fmla="*/ 137 w 156"/>
                <a:gd name="T21" fmla="*/ 1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0">
                  <a:moveTo>
                    <a:pt x="137" y="19"/>
                  </a:moveTo>
                  <a:cubicBezTo>
                    <a:pt x="123" y="12"/>
                    <a:pt x="108" y="17"/>
                    <a:pt x="98" y="27"/>
                  </a:cubicBezTo>
                  <a:cubicBezTo>
                    <a:pt x="91" y="13"/>
                    <a:pt x="78" y="0"/>
                    <a:pt x="61" y="1"/>
                  </a:cubicBezTo>
                  <a:cubicBezTo>
                    <a:pt x="48" y="2"/>
                    <a:pt x="37" y="13"/>
                    <a:pt x="38" y="26"/>
                  </a:cubicBezTo>
                  <a:cubicBezTo>
                    <a:pt x="29" y="25"/>
                    <a:pt x="19" y="24"/>
                    <a:pt x="12" y="29"/>
                  </a:cubicBezTo>
                  <a:cubicBezTo>
                    <a:pt x="5" y="34"/>
                    <a:pt x="0" y="42"/>
                    <a:pt x="1" y="51"/>
                  </a:cubicBezTo>
                  <a:cubicBezTo>
                    <a:pt x="3" y="64"/>
                    <a:pt x="16" y="69"/>
                    <a:pt x="30" y="70"/>
                  </a:cubicBezTo>
                  <a:cubicBezTo>
                    <a:pt x="30" y="70"/>
                    <a:pt x="30" y="70"/>
                    <a:pt x="30" y="70"/>
                  </a:cubicBezTo>
                  <a:cubicBezTo>
                    <a:pt x="55" y="70"/>
                    <a:pt x="80" y="70"/>
                    <a:pt x="105" y="69"/>
                  </a:cubicBezTo>
                  <a:cubicBezTo>
                    <a:pt x="120" y="69"/>
                    <a:pt x="143" y="70"/>
                    <a:pt x="151" y="53"/>
                  </a:cubicBezTo>
                  <a:cubicBezTo>
                    <a:pt x="156" y="40"/>
                    <a:pt x="149" y="24"/>
                    <a:pt x="137" y="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th-TH"/>
            </a:p>
          </p:txBody>
        </p:sp>
        <p:sp>
          <p:nvSpPr>
            <p:cNvPr id="206" name="Freeform 1111"/>
            <p:cNvSpPr>
              <a:spLocks/>
            </p:cNvSpPr>
            <p:nvPr/>
          </p:nvSpPr>
          <p:spPr bwMode="auto">
            <a:xfrm>
              <a:off x="19033097" y="3004487"/>
              <a:ext cx="1921754" cy="1238036"/>
            </a:xfrm>
            <a:custGeom>
              <a:avLst/>
              <a:gdLst>
                <a:gd name="T0" fmla="*/ 159 w 183"/>
                <a:gd name="T1" fmla="*/ 33 h 118"/>
                <a:gd name="T2" fmla="*/ 114 w 183"/>
                <a:gd name="T3" fmla="*/ 44 h 118"/>
                <a:gd name="T4" fmla="*/ 70 w 183"/>
                <a:gd name="T5" fmla="*/ 0 h 118"/>
                <a:gd name="T6" fmla="*/ 44 w 183"/>
                <a:gd name="T7" fmla="*/ 39 h 118"/>
                <a:gd name="T8" fmla="*/ 13 w 183"/>
                <a:gd name="T9" fmla="*/ 43 h 118"/>
                <a:gd name="T10" fmla="*/ 2 w 183"/>
                <a:gd name="T11" fmla="*/ 78 h 118"/>
                <a:gd name="T12" fmla="*/ 37 w 183"/>
                <a:gd name="T13" fmla="*/ 110 h 118"/>
                <a:gd name="T14" fmla="*/ 38 w 183"/>
                <a:gd name="T15" fmla="*/ 111 h 118"/>
                <a:gd name="T16" fmla="*/ 125 w 183"/>
                <a:gd name="T17" fmla="*/ 114 h 118"/>
                <a:gd name="T18" fmla="*/ 177 w 183"/>
                <a:gd name="T19" fmla="*/ 90 h 118"/>
                <a:gd name="T20" fmla="*/ 159 w 183"/>
                <a:gd name="T21" fmla="*/ 33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118">
                  <a:moveTo>
                    <a:pt x="159" y="33"/>
                  </a:moveTo>
                  <a:cubicBezTo>
                    <a:pt x="143" y="22"/>
                    <a:pt x="125" y="30"/>
                    <a:pt x="114" y="44"/>
                  </a:cubicBezTo>
                  <a:cubicBezTo>
                    <a:pt x="105" y="21"/>
                    <a:pt x="90" y="0"/>
                    <a:pt x="70" y="0"/>
                  </a:cubicBezTo>
                  <a:cubicBezTo>
                    <a:pt x="54" y="0"/>
                    <a:pt x="43" y="18"/>
                    <a:pt x="44" y="39"/>
                  </a:cubicBezTo>
                  <a:cubicBezTo>
                    <a:pt x="33" y="36"/>
                    <a:pt x="22" y="35"/>
                    <a:pt x="13" y="43"/>
                  </a:cubicBezTo>
                  <a:cubicBezTo>
                    <a:pt x="5" y="50"/>
                    <a:pt x="0" y="64"/>
                    <a:pt x="2" y="78"/>
                  </a:cubicBezTo>
                  <a:cubicBezTo>
                    <a:pt x="5" y="99"/>
                    <a:pt x="21" y="108"/>
                    <a:pt x="37" y="110"/>
                  </a:cubicBezTo>
                  <a:cubicBezTo>
                    <a:pt x="37" y="110"/>
                    <a:pt x="37" y="111"/>
                    <a:pt x="38" y="111"/>
                  </a:cubicBezTo>
                  <a:cubicBezTo>
                    <a:pt x="67" y="112"/>
                    <a:pt x="96" y="114"/>
                    <a:pt x="125" y="114"/>
                  </a:cubicBezTo>
                  <a:cubicBezTo>
                    <a:pt x="143" y="114"/>
                    <a:pt x="170" y="118"/>
                    <a:pt x="177" y="90"/>
                  </a:cubicBezTo>
                  <a:cubicBezTo>
                    <a:pt x="183" y="70"/>
                    <a:pt x="173" y="43"/>
                    <a:pt x="159" y="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th-TH"/>
            </a:p>
          </p:txBody>
        </p:sp>
        <p:sp>
          <p:nvSpPr>
            <p:cNvPr id="207" name="Freeform 1110"/>
            <p:cNvSpPr>
              <a:spLocks/>
            </p:cNvSpPr>
            <p:nvPr/>
          </p:nvSpPr>
          <p:spPr bwMode="auto">
            <a:xfrm>
              <a:off x="3921233" y="2998933"/>
              <a:ext cx="1638475" cy="734428"/>
            </a:xfrm>
            <a:custGeom>
              <a:avLst/>
              <a:gdLst>
                <a:gd name="T0" fmla="*/ 137 w 156"/>
                <a:gd name="T1" fmla="*/ 19 h 70"/>
                <a:gd name="T2" fmla="*/ 98 w 156"/>
                <a:gd name="T3" fmla="*/ 27 h 70"/>
                <a:gd name="T4" fmla="*/ 61 w 156"/>
                <a:gd name="T5" fmla="*/ 1 h 70"/>
                <a:gd name="T6" fmla="*/ 38 w 156"/>
                <a:gd name="T7" fmla="*/ 26 h 70"/>
                <a:gd name="T8" fmla="*/ 12 w 156"/>
                <a:gd name="T9" fmla="*/ 29 h 70"/>
                <a:gd name="T10" fmla="*/ 1 w 156"/>
                <a:gd name="T11" fmla="*/ 51 h 70"/>
                <a:gd name="T12" fmla="*/ 30 w 156"/>
                <a:gd name="T13" fmla="*/ 70 h 70"/>
                <a:gd name="T14" fmla="*/ 30 w 156"/>
                <a:gd name="T15" fmla="*/ 70 h 70"/>
                <a:gd name="T16" fmla="*/ 105 w 156"/>
                <a:gd name="T17" fmla="*/ 69 h 70"/>
                <a:gd name="T18" fmla="*/ 151 w 156"/>
                <a:gd name="T19" fmla="*/ 53 h 70"/>
                <a:gd name="T20" fmla="*/ 137 w 156"/>
                <a:gd name="T21" fmla="*/ 1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0">
                  <a:moveTo>
                    <a:pt x="137" y="19"/>
                  </a:moveTo>
                  <a:cubicBezTo>
                    <a:pt x="123" y="12"/>
                    <a:pt x="108" y="17"/>
                    <a:pt x="98" y="27"/>
                  </a:cubicBezTo>
                  <a:cubicBezTo>
                    <a:pt x="91" y="13"/>
                    <a:pt x="78" y="0"/>
                    <a:pt x="61" y="1"/>
                  </a:cubicBezTo>
                  <a:cubicBezTo>
                    <a:pt x="48" y="2"/>
                    <a:pt x="37" y="13"/>
                    <a:pt x="38" y="26"/>
                  </a:cubicBezTo>
                  <a:cubicBezTo>
                    <a:pt x="29" y="25"/>
                    <a:pt x="19" y="24"/>
                    <a:pt x="12" y="29"/>
                  </a:cubicBezTo>
                  <a:cubicBezTo>
                    <a:pt x="5" y="34"/>
                    <a:pt x="0" y="42"/>
                    <a:pt x="1" y="51"/>
                  </a:cubicBezTo>
                  <a:cubicBezTo>
                    <a:pt x="3" y="64"/>
                    <a:pt x="16" y="69"/>
                    <a:pt x="30" y="70"/>
                  </a:cubicBezTo>
                  <a:cubicBezTo>
                    <a:pt x="30" y="70"/>
                    <a:pt x="30" y="70"/>
                    <a:pt x="30" y="70"/>
                  </a:cubicBezTo>
                  <a:cubicBezTo>
                    <a:pt x="55" y="70"/>
                    <a:pt x="80" y="70"/>
                    <a:pt x="105" y="69"/>
                  </a:cubicBezTo>
                  <a:cubicBezTo>
                    <a:pt x="120" y="69"/>
                    <a:pt x="143" y="70"/>
                    <a:pt x="151" y="53"/>
                  </a:cubicBezTo>
                  <a:cubicBezTo>
                    <a:pt x="156" y="40"/>
                    <a:pt x="149" y="24"/>
                    <a:pt x="137" y="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th-TH"/>
            </a:p>
          </p:txBody>
        </p:sp>
        <p:grpSp>
          <p:nvGrpSpPr>
            <p:cNvPr id="208" name="กลุ่ม 475"/>
            <p:cNvGrpSpPr/>
            <p:nvPr/>
          </p:nvGrpSpPr>
          <p:grpSpPr>
            <a:xfrm>
              <a:off x="9713022" y="4632868"/>
              <a:ext cx="5228808" cy="3407514"/>
              <a:chOff x="1430339" y="4733925"/>
              <a:chExt cx="3778250" cy="2462213"/>
            </a:xfrm>
          </p:grpSpPr>
          <p:sp>
            <p:nvSpPr>
              <p:cNvPr id="209" name="Freeform 650"/>
              <p:cNvSpPr>
                <a:spLocks/>
              </p:cNvSpPr>
              <p:nvPr/>
            </p:nvSpPr>
            <p:spPr bwMode="auto">
              <a:xfrm>
                <a:off x="3249614" y="5670550"/>
                <a:ext cx="288925" cy="261938"/>
              </a:xfrm>
              <a:custGeom>
                <a:avLst/>
                <a:gdLst>
                  <a:gd name="T0" fmla="*/ 45 w 138"/>
                  <a:gd name="T1" fmla="*/ 116 h 125"/>
                  <a:gd name="T2" fmla="*/ 10 w 138"/>
                  <a:gd name="T3" fmla="*/ 85 h 125"/>
                  <a:gd name="T4" fmla="*/ 20 w 138"/>
                  <a:gd name="T5" fmla="*/ 49 h 125"/>
                  <a:gd name="T6" fmla="*/ 73 w 138"/>
                  <a:gd name="T7" fmla="*/ 10 h 125"/>
                  <a:gd name="T8" fmla="*/ 124 w 138"/>
                  <a:gd name="T9" fmla="*/ 26 h 125"/>
                  <a:gd name="T10" fmla="*/ 119 w 138"/>
                  <a:gd name="T11" fmla="*/ 78 h 125"/>
                  <a:gd name="T12" fmla="*/ 45 w 138"/>
                  <a:gd name="T13" fmla="*/ 116 h 125"/>
                </a:gdLst>
                <a:ahLst/>
                <a:cxnLst>
                  <a:cxn ang="0">
                    <a:pos x="T0" y="T1"/>
                  </a:cxn>
                  <a:cxn ang="0">
                    <a:pos x="T2" y="T3"/>
                  </a:cxn>
                  <a:cxn ang="0">
                    <a:pos x="T4" y="T5"/>
                  </a:cxn>
                  <a:cxn ang="0">
                    <a:pos x="T6" y="T7"/>
                  </a:cxn>
                  <a:cxn ang="0">
                    <a:pos x="T8" y="T9"/>
                  </a:cxn>
                  <a:cxn ang="0">
                    <a:pos x="T10" y="T11"/>
                  </a:cxn>
                  <a:cxn ang="0">
                    <a:pos x="T12" y="T13"/>
                  </a:cxn>
                </a:cxnLst>
                <a:rect l="0" t="0" r="r" b="b"/>
                <a:pathLst>
                  <a:path w="138" h="125">
                    <a:moveTo>
                      <a:pt x="45" y="116"/>
                    </a:moveTo>
                    <a:cubicBezTo>
                      <a:pt x="26" y="125"/>
                      <a:pt x="19" y="103"/>
                      <a:pt x="10" y="85"/>
                    </a:cubicBezTo>
                    <a:cubicBezTo>
                      <a:pt x="0" y="66"/>
                      <a:pt x="1" y="58"/>
                      <a:pt x="20" y="49"/>
                    </a:cubicBezTo>
                    <a:cubicBezTo>
                      <a:pt x="73" y="10"/>
                      <a:pt x="73" y="10"/>
                      <a:pt x="73" y="10"/>
                    </a:cubicBezTo>
                    <a:cubicBezTo>
                      <a:pt x="92" y="0"/>
                      <a:pt x="115" y="8"/>
                      <a:pt x="124" y="26"/>
                    </a:cubicBezTo>
                    <a:cubicBezTo>
                      <a:pt x="134" y="45"/>
                      <a:pt x="138" y="68"/>
                      <a:pt x="119" y="78"/>
                    </a:cubicBezTo>
                    <a:cubicBezTo>
                      <a:pt x="45" y="116"/>
                      <a:pt x="45" y="116"/>
                      <a:pt x="45" y="116"/>
                    </a:cubicBezTo>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0" name="Freeform 651"/>
              <p:cNvSpPr>
                <a:spLocks noEditPoints="1"/>
              </p:cNvSpPr>
              <p:nvPr/>
            </p:nvSpPr>
            <p:spPr bwMode="auto">
              <a:xfrm>
                <a:off x="3402014" y="5683250"/>
                <a:ext cx="123825" cy="88900"/>
              </a:xfrm>
              <a:custGeom>
                <a:avLst/>
                <a:gdLst>
                  <a:gd name="T0" fmla="*/ 59 w 59"/>
                  <a:gd name="T1" fmla="*/ 43 h 43"/>
                  <a:gd name="T2" fmla="*/ 59 w 59"/>
                  <a:gd name="T3" fmla="*/ 43 h 43"/>
                  <a:gd name="T4" fmla="*/ 59 w 59"/>
                  <a:gd name="T5" fmla="*/ 43 h 43"/>
                  <a:gd name="T6" fmla="*/ 59 w 59"/>
                  <a:gd name="T7" fmla="*/ 42 h 43"/>
                  <a:gd name="T8" fmla="*/ 59 w 59"/>
                  <a:gd name="T9" fmla="*/ 42 h 43"/>
                  <a:gd name="T10" fmla="*/ 59 w 59"/>
                  <a:gd name="T11" fmla="*/ 42 h 43"/>
                  <a:gd name="T12" fmla="*/ 59 w 59"/>
                  <a:gd name="T13" fmla="*/ 42 h 43"/>
                  <a:gd name="T14" fmla="*/ 59 w 59"/>
                  <a:gd name="T15" fmla="*/ 42 h 43"/>
                  <a:gd name="T16" fmla="*/ 59 w 59"/>
                  <a:gd name="T17" fmla="*/ 42 h 43"/>
                  <a:gd name="T18" fmla="*/ 59 w 59"/>
                  <a:gd name="T19" fmla="*/ 42 h 43"/>
                  <a:gd name="T20" fmla="*/ 59 w 59"/>
                  <a:gd name="T21" fmla="*/ 42 h 43"/>
                  <a:gd name="T22" fmla="*/ 59 w 59"/>
                  <a:gd name="T23" fmla="*/ 42 h 43"/>
                  <a:gd name="T24" fmla="*/ 59 w 59"/>
                  <a:gd name="T25" fmla="*/ 41 h 43"/>
                  <a:gd name="T26" fmla="*/ 59 w 59"/>
                  <a:gd name="T27" fmla="*/ 42 h 43"/>
                  <a:gd name="T28" fmla="*/ 59 w 59"/>
                  <a:gd name="T29" fmla="*/ 41 h 43"/>
                  <a:gd name="T30" fmla="*/ 59 w 59"/>
                  <a:gd name="T31" fmla="*/ 41 h 43"/>
                  <a:gd name="T32" fmla="*/ 59 w 59"/>
                  <a:gd name="T33" fmla="*/ 41 h 43"/>
                  <a:gd name="T34" fmla="*/ 59 w 59"/>
                  <a:gd name="T35" fmla="*/ 41 h 43"/>
                  <a:gd name="T36" fmla="*/ 58 w 59"/>
                  <a:gd name="T37" fmla="*/ 41 h 43"/>
                  <a:gd name="T38" fmla="*/ 58 w 59"/>
                  <a:gd name="T39" fmla="*/ 41 h 43"/>
                  <a:gd name="T40" fmla="*/ 58 w 59"/>
                  <a:gd name="T41" fmla="*/ 41 h 43"/>
                  <a:gd name="T42" fmla="*/ 58 w 59"/>
                  <a:gd name="T43" fmla="*/ 41 h 43"/>
                  <a:gd name="T44" fmla="*/ 58 w 59"/>
                  <a:gd name="T45" fmla="*/ 41 h 43"/>
                  <a:gd name="T46" fmla="*/ 58 w 59"/>
                  <a:gd name="T47" fmla="*/ 41 h 43"/>
                  <a:gd name="T48" fmla="*/ 58 w 59"/>
                  <a:gd name="T49" fmla="*/ 41 h 43"/>
                  <a:gd name="T50" fmla="*/ 58 w 59"/>
                  <a:gd name="T51" fmla="*/ 41 h 43"/>
                  <a:gd name="T52" fmla="*/ 58 w 59"/>
                  <a:gd name="T53" fmla="*/ 41 h 43"/>
                  <a:gd name="T54" fmla="*/ 58 w 59"/>
                  <a:gd name="T55" fmla="*/ 41 h 43"/>
                  <a:gd name="T56" fmla="*/ 58 w 59"/>
                  <a:gd name="T57" fmla="*/ 41 h 43"/>
                  <a:gd name="T58" fmla="*/ 58 w 59"/>
                  <a:gd name="T59" fmla="*/ 41 h 43"/>
                  <a:gd name="T60" fmla="*/ 58 w 59"/>
                  <a:gd name="T61" fmla="*/ 41 h 43"/>
                  <a:gd name="T62" fmla="*/ 58 w 59"/>
                  <a:gd name="T63" fmla="*/ 41 h 43"/>
                  <a:gd name="T64" fmla="*/ 58 w 59"/>
                  <a:gd name="T65" fmla="*/ 41 h 43"/>
                  <a:gd name="T66" fmla="*/ 58 w 59"/>
                  <a:gd name="T67" fmla="*/ 41 h 43"/>
                  <a:gd name="T68" fmla="*/ 58 w 59"/>
                  <a:gd name="T69" fmla="*/ 41 h 43"/>
                  <a:gd name="T70" fmla="*/ 58 w 59"/>
                  <a:gd name="T71" fmla="*/ 41 h 43"/>
                  <a:gd name="T72" fmla="*/ 58 w 59"/>
                  <a:gd name="T73" fmla="*/ 40 h 43"/>
                  <a:gd name="T74" fmla="*/ 58 w 59"/>
                  <a:gd name="T75" fmla="*/ 41 h 43"/>
                  <a:gd name="T76" fmla="*/ 58 w 59"/>
                  <a:gd name="T77" fmla="*/ 40 h 43"/>
                  <a:gd name="T78" fmla="*/ 58 w 59"/>
                  <a:gd name="T79" fmla="*/ 40 h 43"/>
                  <a:gd name="T80" fmla="*/ 58 w 59"/>
                  <a:gd name="T81" fmla="*/ 40 h 43"/>
                  <a:gd name="T82" fmla="*/ 58 w 59"/>
                  <a:gd name="T83" fmla="*/ 40 h 43"/>
                  <a:gd name="T84" fmla="*/ 51 w 59"/>
                  <a:gd name="T85" fmla="*/ 21 h 43"/>
                  <a:gd name="T86" fmla="*/ 58 w 59"/>
                  <a:gd name="T87" fmla="*/ 40 h 43"/>
                  <a:gd name="T88" fmla="*/ 51 w 59"/>
                  <a:gd name="T89" fmla="*/ 21 h 43"/>
                  <a:gd name="T90" fmla="*/ 51 w 59"/>
                  <a:gd name="T91" fmla="*/ 21 h 43"/>
                  <a:gd name="T92" fmla="*/ 51 w 59"/>
                  <a:gd name="T93" fmla="*/ 21 h 43"/>
                  <a:gd name="T94" fmla="*/ 51 w 59"/>
                  <a:gd name="T95" fmla="*/ 21 h 43"/>
                  <a:gd name="T96" fmla="*/ 17 w 59"/>
                  <a:gd name="T97" fmla="*/ 0 h 43"/>
                  <a:gd name="T98" fmla="*/ 0 w 59"/>
                  <a:gd name="T99" fmla="*/ 4 h 43"/>
                  <a:gd name="T100" fmla="*/ 0 w 59"/>
                  <a:gd name="T101" fmla="*/ 4 h 43"/>
                  <a:gd name="T102" fmla="*/ 17 w 59"/>
                  <a:gd name="T103" fmla="*/ 0 h 43"/>
                  <a:gd name="T104" fmla="*/ 51 w 59"/>
                  <a:gd name="T105" fmla="*/ 20 h 43"/>
                  <a:gd name="T106" fmla="*/ 51 w 59"/>
                  <a:gd name="T107" fmla="*/ 21 h 43"/>
                  <a:gd name="T108" fmla="*/ 51 w 59"/>
                  <a:gd name="T109" fmla="*/ 20 h 43"/>
                  <a:gd name="T110" fmla="*/ 17 w 59"/>
                  <a:gd name="T11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9" h="43">
                    <a:moveTo>
                      <a:pt x="59" y="43"/>
                    </a:moveTo>
                    <a:cubicBezTo>
                      <a:pt x="59" y="43"/>
                      <a:pt x="59" y="43"/>
                      <a:pt x="59" y="43"/>
                    </a:cubicBezTo>
                    <a:cubicBezTo>
                      <a:pt x="59" y="43"/>
                      <a:pt x="59" y="43"/>
                      <a:pt x="59" y="43"/>
                    </a:cubicBezTo>
                    <a:moveTo>
                      <a:pt x="59" y="42"/>
                    </a:moveTo>
                    <a:cubicBezTo>
                      <a:pt x="59" y="42"/>
                      <a:pt x="59" y="42"/>
                      <a:pt x="59" y="42"/>
                    </a:cubicBezTo>
                    <a:cubicBezTo>
                      <a:pt x="59" y="42"/>
                      <a:pt x="59" y="42"/>
                      <a:pt x="59" y="42"/>
                    </a:cubicBezTo>
                    <a:moveTo>
                      <a:pt x="59" y="42"/>
                    </a:moveTo>
                    <a:cubicBezTo>
                      <a:pt x="59" y="42"/>
                      <a:pt x="59" y="42"/>
                      <a:pt x="59" y="42"/>
                    </a:cubicBezTo>
                    <a:cubicBezTo>
                      <a:pt x="59" y="42"/>
                      <a:pt x="59" y="42"/>
                      <a:pt x="59" y="42"/>
                    </a:cubicBezTo>
                    <a:moveTo>
                      <a:pt x="59" y="42"/>
                    </a:moveTo>
                    <a:cubicBezTo>
                      <a:pt x="59" y="42"/>
                      <a:pt x="59" y="42"/>
                      <a:pt x="59" y="42"/>
                    </a:cubicBezTo>
                    <a:cubicBezTo>
                      <a:pt x="59" y="42"/>
                      <a:pt x="59" y="42"/>
                      <a:pt x="59" y="42"/>
                    </a:cubicBezTo>
                    <a:moveTo>
                      <a:pt x="59" y="41"/>
                    </a:moveTo>
                    <a:cubicBezTo>
                      <a:pt x="59" y="41"/>
                      <a:pt x="59" y="42"/>
                      <a:pt x="59" y="42"/>
                    </a:cubicBezTo>
                    <a:cubicBezTo>
                      <a:pt x="59" y="42"/>
                      <a:pt x="59" y="41"/>
                      <a:pt x="59" y="41"/>
                    </a:cubicBezTo>
                    <a:moveTo>
                      <a:pt x="59" y="41"/>
                    </a:moveTo>
                    <a:cubicBezTo>
                      <a:pt x="59" y="41"/>
                      <a:pt x="59" y="41"/>
                      <a:pt x="59" y="41"/>
                    </a:cubicBezTo>
                    <a:cubicBezTo>
                      <a:pt x="59" y="41"/>
                      <a:pt x="59" y="41"/>
                      <a:pt x="59" y="41"/>
                    </a:cubicBezTo>
                    <a:moveTo>
                      <a:pt x="58" y="41"/>
                    </a:moveTo>
                    <a:cubicBezTo>
                      <a:pt x="58" y="41"/>
                      <a:pt x="58" y="41"/>
                      <a:pt x="58" y="41"/>
                    </a:cubicBezTo>
                    <a:cubicBezTo>
                      <a:pt x="58" y="41"/>
                      <a:pt x="58" y="41"/>
                      <a:pt x="58" y="41"/>
                    </a:cubicBezTo>
                    <a:moveTo>
                      <a:pt x="58" y="41"/>
                    </a:moveTo>
                    <a:cubicBezTo>
                      <a:pt x="58" y="41"/>
                      <a:pt x="58" y="41"/>
                      <a:pt x="58" y="41"/>
                    </a:cubicBezTo>
                    <a:cubicBezTo>
                      <a:pt x="58" y="41"/>
                      <a:pt x="58" y="41"/>
                      <a:pt x="58" y="41"/>
                    </a:cubicBezTo>
                    <a:moveTo>
                      <a:pt x="58" y="41"/>
                    </a:moveTo>
                    <a:cubicBezTo>
                      <a:pt x="58" y="41"/>
                      <a:pt x="58" y="41"/>
                      <a:pt x="58" y="41"/>
                    </a:cubicBezTo>
                    <a:cubicBezTo>
                      <a:pt x="58" y="41"/>
                      <a:pt x="58" y="41"/>
                      <a:pt x="58" y="41"/>
                    </a:cubicBezTo>
                    <a:moveTo>
                      <a:pt x="58" y="41"/>
                    </a:moveTo>
                    <a:cubicBezTo>
                      <a:pt x="58" y="41"/>
                      <a:pt x="58" y="41"/>
                      <a:pt x="58" y="41"/>
                    </a:cubicBezTo>
                    <a:cubicBezTo>
                      <a:pt x="58" y="41"/>
                      <a:pt x="58" y="41"/>
                      <a:pt x="58" y="41"/>
                    </a:cubicBezTo>
                    <a:moveTo>
                      <a:pt x="58" y="41"/>
                    </a:moveTo>
                    <a:cubicBezTo>
                      <a:pt x="58" y="41"/>
                      <a:pt x="58" y="41"/>
                      <a:pt x="58" y="41"/>
                    </a:cubicBezTo>
                    <a:cubicBezTo>
                      <a:pt x="58" y="41"/>
                      <a:pt x="58" y="41"/>
                      <a:pt x="58" y="41"/>
                    </a:cubicBezTo>
                    <a:moveTo>
                      <a:pt x="58" y="41"/>
                    </a:moveTo>
                    <a:cubicBezTo>
                      <a:pt x="58" y="41"/>
                      <a:pt x="58" y="41"/>
                      <a:pt x="58" y="41"/>
                    </a:cubicBezTo>
                    <a:cubicBezTo>
                      <a:pt x="58" y="41"/>
                      <a:pt x="58" y="41"/>
                      <a:pt x="58" y="41"/>
                    </a:cubicBezTo>
                    <a:moveTo>
                      <a:pt x="58" y="40"/>
                    </a:moveTo>
                    <a:cubicBezTo>
                      <a:pt x="58" y="40"/>
                      <a:pt x="58" y="40"/>
                      <a:pt x="58" y="41"/>
                    </a:cubicBezTo>
                    <a:cubicBezTo>
                      <a:pt x="58" y="40"/>
                      <a:pt x="58" y="40"/>
                      <a:pt x="58" y="40"/>
                    </a:cubicBezTo>
                    <a:moveTo>
                      <a:pt x="58" y="40"/>
                    </a:moveTo>
                    <a:cubicBezTo>
                      <a:pt x="58" y="40"/>
                      <a:pt x="58" y="40"/>
                      <a:pt x="58" y="40"/>
                    </a:cubicBezTo>
                    <a:cubicBezTo>
                      <a:pt x="58" y="40"/>
                      <a:pt x="58" y="40"/>
                      <a:pt x="58" y="40"/>
                    </a:cubicBezTo>
                    <a:moveTo>
                      <a:pt x="51" y="21"/>
                    </a:moveTo>
                    <a:cubicBezTo>
                      <a:pt x="54" y="27"/>
                      <a:pt x="57" y="34"/>
                      <a:pt x="58" y="40"/>
                    </a:cubicBezTo>
                    <a:cubicBezTo>
                      <a:pt x="57" y="34"/>
                      <a:pt x="54" y="27"/>
                      <a:pt x="51" y="21"/>
                    </a:cubicBezTo>
                    <a:moveTo>
                      <a:pt x="51" y="21"/>
                    </a:moveTo>
                    <a:cubicBezTo>
                      <a:pt x="51" y="21"/>
                      <a:pt x="51" y="21"/>
                      <a:pt x="51" y="21"/>
                    </a:cubicBezTo>
                    <a:cubicBezTo>
                      <a:pt x="51" y="21"/>
                      <a:pt x="51" y="21"/>
                      <a:pt x="51" y="21"/>
                    </a:cubicBezTo>
                    <a:moveTo>
                      <a:pt x="17" y="0"/>
                    </a:moveTo>
                    <a:cubicBezTo>
                      <a:pt x="11" y="0"/>
                      <a:pt x="5" y="1"/>
                      <a:pt x="0" y="4"/>
                    </a:cubicBezTo>
                    <a:cubicBezTo>
                      <a:pt x="0" y="4"/>
                      <a:pt x="0" y="4"/>
                      <a:pt x="0" y="4"/>
                    </a:cubicBezTo>
                    <a:cubicBezTo>
                      <a:pt x="5" y="1"/>
                      <a:pt x="11" y="0"/>
                      <a:pt x="17" y="0"/>
                    </a:cubicBezTo>
                    <a:cubicBezTo>
                      <a:pt x="31" y="0"/>
                      <a:pt x="44" y="7"/>
                      <a:pt x="51" y="20"/>
                    </a:cubicBezTo>
                    <a:cubicBezTo>
                      <a:pt x="51" y="21"/>
                      <a:pt x="51" y="21"/>
                      <a:pt x="51" y="21"/>
                    </a:cubicBezTo>
                    <a:cubicBezTo>
                      <a:pt x="51" y="21"/>
                      <a:pt x="51" y="21"/>
                      <a:pt x="51" y="20"/>
                    </a:cubicBezTo>
                    <a:cubicBezTo>
                      <a:pt x="44" y="7"/>
                      <a:pt x="31" y="0"/>
                      <a:pt x="17" y="0"/>
                    </a:cubicBezTo>
                  </a:path>
                </a:pathLst>
              </a:custGeom>
              <a:solidFill>
                <a:srgbClr val="D4C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1" name="Freeform 652"/>
              <p:cNvSpPr>
                <a:spLocks/>
              </p:cNvSpPr>
              <p:nvPr/>
            </p:nvSpPr>
            <p:spPr bwMode="auto">
              <a:xfrm>
                <a:off x="3355977" y="5683250"/>
                <a:ext cx="171450" cy="141288"/>
              </a:xfrm>
              <a:custGeom>
                <a:avLst/>
                <a:gdLst>
                  <a:gd name="T0" fmla="*/ 39 w 82"/>
                  <a:gd name="T1" fmla="*/ 0 h 68"/>
                  <a:gd name="T2" fmla="*/ 22 w 82"/>
                  <a:gd name="T3" fmla="*/ 4 h 68"/>
                  <a:gd name="T4" fmla="*/ 22 w 82"/>
                  <a:gd name="T5" fmla="*/ 4 h 68"/>
                  <a:gd name="T6" fmla="*/ 0 w 82"/>
                  <a:gd name="T7" fmla="*/ 20 h 68"/>
                  <a:gd name="T8" fmla="*/ 5 w 82"/>
                  <a:gd name="T9" fmla="*/ 34 h 68"/>
                  <a:gd name="T10" fmla="*/ 60 w 82"/>
                  <a:gd name="T11" fmla="*/ 68 h 68"/>
                  <a:gd name="T12" fmla="*/ 77 w 82"/>
                  <a:gd name="T13" fmla="*/ 65 h 68"/>
                  <a:gd name="T14" fmla="*/ 81 w 82"/>
                  <a:gd name="T15" fmla="*/ 43 h 68"/>
                  <a:gd name="T16" fmla="*/ 81 w 82"/>
                  <a:gd name="T17" fmla="*/ 43 h 68"/>
                  <a:gd name="T18" fmla="*/ 81 w 82"/>
                  <a:gd name="T19" fmla="*/ 42 h 68"/>
                  <a:gd name="T20" fmla="*/ 81 w 82"/>
                  <a:gd name="T21" fmla="*/ 42 h 68"/>
                  <a:gd name="T22" fmla="*/ 81 w 82"/>
                  <a:gd name="T23" fmla="*/ 42 h 68"/>
                  <a:gd name="T24" fmla="*/ 81 w 82"/>
                  <a:gd name="T25" fmla="*/ 42 h 68"/>
                  <a:gd name="T26" fmla="*/ 81 w 82"/>
                  <a:gd name="T27" fmla="*/ 42 h 68"/>
                  <a:gd name="T28" fmla="*/ 81 w 82"/>
                  <a:gd name="T29" fmla="*/ 42 h 68"/>
                  <a:gd name="T30" fmla="*/ 81 w 82"/>
                  <a:gd name="T31" fmla="*/ 42 h 68"/>
                  <a:gd name="T32" fmla="*/ 81 w 82"/>
                  <a:gd name="T33" fmla="*/ 41 h 68"/>
                  <a:gd name="T34" fmla="*/ 81 w 82"/>
                  <a:gd name="T35" fmla="*/ 41 h 68"/>
                  <a:gd name="T36" fmla="*/ 81 w 82"/>
                  <a:gd name="T37" fmla="*/ 41 h 68"/>
                  <a:gd name="T38" fmla="*/ 80 w 82"/>
                  <a:gd name="T39" fmla="*/ 41 h 68"/>
                  <a:gd name="T40" fmla="*/ 80 w 82"/>
                  <a:gd name="T41" fmla="*/ 41 h 68"/>
                  <a:gd name="T42" fmla="*/ 80 w 82"/>
                  <a:gd name="T43" fmla="*/ 41 h 68"/>
                  <a:gd name="T44" fmla="*/ 80 w 82"/>
                  <a:gd name="T45" fmla="*/ 41 h 68"/>
                  <a:gd name="T46" fmla="*/ 80 w 82"/>
                  <a:gd name="T47" fmla="*/ 41 h 68"/>
                  <a:gd name="T48" fmla="*/ 80 w 82"/>
                  <a:gd name="T49" fmla="*/ 41 h 68"/>
                  <a:gd name="T50" fmla="*/ 80 w 82"/>
                  <a:gd name="T51" fmla="*/ 41 h 68"/>
                  <a:gd name="T52" fmla="*/ 80 w 82"/>
                  <a:gd name="T53" fmla="*/ 41 h 68"/>
                  <a:gd name="T54" fmla="*/ 80 w 82"/>
                  <a:gd name="T55" fmla="*/ 41 h 68"/>
                  <a:gd name="T56" fmla="*/ 80 w 82"/>
                  <a:gd name="T57" fmla="*/ 41 h 68"/>
                  <a:gd name="T58" fmla="*/ 80 w 82"/>
                  <a:gd name="T59" fmla="*/ 41 h 68"/>
                  <a:gd name="T60" fmla="*/ 80 w 82"/>
                  <a:gd name="T61" fmla="*/ 41 h 68"/>
                  <a:gd name="T62" fmla="*/ 80 w 82"/>
                  <a:gd name="T63" fmla="*/ 41 h 68"/>
                  <a:gd name="T64" fmla="*/ 80 w 82"/>
                  <a:gd name="T65" fmla="*/ 40 h 68"/>
                  <a:gd name="T66" fmla="*/ 80 w 82"/>
                  <a:gd name="T67" fmla="*/ 40 h 68"/>
                  <a:gd name="T68" fmla="*/ 80 w 82"/>
                  <a:gd name="T69" fmla="*/ 40 h 68"/>
                  <a:gd name="T70" fmla="*/ 80 w 82"/>
                  <a:gd name="T71" fmla="*/ 40 h 68"/>
                  <a:gd name="T72" fmla="*/ 73 w 82"/>
                  <a:gd name="T73" fmla="*/ 21 h 68"/>
                  <a:gd name="T74" fmla="*/ 73 w 82"/>
                  <a:gd name="T75" fmla="*/ 21 h 68"/>
                  <a:gd name="T76" fmla="*/ 73 w 82"/>
                  <a:gd name="T77" fmla="*/ 21 h 68"/>
                  <a:gd name="T78" fmla="*/ 73 w 82"/>
                  <a:gd name="T79" fmla="*/ 21 h 68"/>
                  <a:gd name="T80" fmla="*/ 73 w 82"/>
                  <a:gd name="T81" fmla="*/ 20 h 68"/>
                  <a:gd name="T82" fmla="*/ 39 w 82"/>
                  <a:gd name="T8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2" h="68">
                    <a:moveTo>
                      <a:pt x="39" y="0"/>
                    </a:moveTo>
                    <a:cubicBezTo>
                      <a:pt x="33" y="0"/>
                      <a:pt x="27" y="1"/>
                      <a:pt x="22" y="4"/>
                    </a:cubicBezTo>
                    <a:cubicBezTo>
                      <a:pt x="22" y="4"/>
                      <a:pt x="22" y="4"/>
                      <a:pt x="22" y="4"/>
                    </a:cubicBezTo>
                    <a:cubicBezTo>
                      <a:pt x="0" y="20"/>
                      <a:pt x="0" y="20"/>
                      <a:pt x="0" y="20"/>
                    </a:cubicBezTo>
                    <a:cubicBezTo>
                      <a:pt x="1" y="24"/>
                      <a:pt x="3" y="29"/>
                      <a:pt x="5" y="34"/>
                    </a:cubicBezTo>
                    <a:cubicBezTo>
                      <a:pt x="16" y="55"/>
                      <a:pt x="38" y="68"/>
                      <a:pt x="60" y="68"/>
                    </a:cubicBezTo>
                    <a:cubicBezTo>
                      <a:pt x="65" y="68"/>
                      <a:pt x="71" y="67"/>
                      <a:pt x="77" y="65"/>
                    </a:cubicBezTo>
                    <a:cubicBezTo>
                      <a:pt x="81" y="59"/>
                      <a:pt x="82" y="51"/>
                      <a:pt x="81" y="43"/>
                    </a:cubicBezTo>
                    <a:cubicBezTo>
                      <a:pt x="81" y="43"/>
                      <a:pt x="81" y="43"/>
                      <a:pt x="81" y="43"/>
                    </a:cubicBezTo>
                    <a:cubicBezTo>
                      <a:pt x="81" y="42"/>
                      <a:pt x="81" y="42"/>
                      <a:pt x="81" y="42"/>
                    </a:cubicBezTo>
                    <a:cubicBezTo>
                      <a:pt x="81" y="42"/>
                      <a:pt x="81" y="42"/>
                      <a:pt x="81" y="42"/>
                    </a:cubicBezTo>
                    <a:cubicBezTo>
                      <a:pt x="81" y="42"/>
                      <a:pt x="81" y="42"/>
                      <a:pt x="81" y="42"/>
                    </a:cubicBezTo>
                    <a:cubicBezTo>
                      <a:pt x="81" y="42"/>
                      <a:pt x="81" y="42"/>
                      <a:pt x="81" y="42"/>
                    </a:cubicBezTo>
                    <a:cubicBezTo>
                      <a:pt x="81" y="42"/>
                      <a:pt x="81" y="42"/>
                      <a:pt x="81" y="42"/>
                    </a:cubicBezTo>
                    <a:cubicBezTo>
                      <a:pt x="81" y="42"/>
                      <a:pt x="81" y="42"/>
                      <a:pt x="81" y="42"/>
                    </a:cubicBezTo>
                    <a:cubicBezTo>
                      <a:pt x="81" y="42"/>
                      <a:pt x="81" y="42"/>
                      <a:pt x="81" y="42"/>
                    </a:cubicBezTo>
                    <a:cubicBezTo>
                      <a:pt x="81" y="42"/>
                      <a:pt x="81" y="41"/>
                      <a:pt x="81" y="41"/>
                    </a:cubicBezTo>
                    <a:cubicBezTo>
                      <a:pt x="81" y="41"/>
                      <a:pt x="81" y="41"/>
                      <a:pt x="81" y="41"/>
                    </a:cubicBezTo>
                    <a:cubicBezTo>
                      <a:pt x="81" y="41"/>
                      <a:pt x="81" y="41"/>
                      <a:pt x="81" y="41"/>
                    </a:cubicBezTo>
                    <a:cubicBezTo>
                      <a:pt x="81" y="41"/>
                      <a:pt x="80" y="41"/>
                      <a:pt x="80" y="41"/>
                    </a:cubicBezTo>
                    <a:cubicBezTo>
                      <a:pt x="80" y="41"/>
                      <a:pt x="80" y="41"/>
                      <a:pt x="80" y="41"/>
                    </a:cubicBezTo>
                    <a:cubicBezTo>
                      <a:pt x="80" y="41"/>
                      <a:pt x="80" y="41"/>
                      <a:pt x="80" y="41"/>
                    </a:cubicBezTo>
                    <a:cubicBezTo>
                      <a:pt x="80" y="41"/>
                      <a:pt x="80" y="41"/>
                      <a:pt x="80" y="41"/>
                    </a:cubicBezTo>
                    <a:cubicBezTo>
                      <a:pt x="80" y="41"/>
                      <a:pt x="80" y="41"/>
                      <a:pt x="80" y="41"/>
                    </a:cubicBezTo>
                    <a:cubicBezTo>
                      <a:pt x="80" y="41"/>
                      <a:pt x="80" y="41"/>
                      <a:pt x="80" y="41"/>
                    </a:cubicBezTo>
                    <a:cubicBezTo>
                      <a:pt x="80" y="41"/>
                      <a:pt x="80" y="41"/>
                      <a:pt x="80" y="41"/>
                    </a:cubicBezTo>
                    <a:cubicBezTo>
                      <a:pt x="80" y="41"/>
                      <a:pt x="80" y="41"/>
                      <a:pt x="80" y="41"/>
                    </a:cubicBezTo>
                    <a:cubicBezTo>
                      <a:pt x="80" y="41"/>
                      <a:pt x="80" y="41"/>
                      <a:pt x="80" y="41"/>
                    </a:cubicBezTo>
                    <a:cubicBezTo>
                      <a:pt x="80" y="41"/>
                      <a:pt x="80" y="41"/>
                      <a:pt x="80" y="41"/>
                    </a:cubicBezTo>
                    <a:cubicBezTo>
                      <a:pt x="80" y="41"/>
                      <a:pt x="80" y="41"/>
                      <a:pt x="80" y="41"/>
                    </a:cubicBezTo>
                    <a:cubicBezTo>
                      <a:pt x="80" y="41"/>
                      <a:pt x="80" y="41"/>
                      <a:pt x="80" y="41"/>
                    </a:cubicBezTo>
                    <a:cubicBezTo>
                      <a:pt x="80" y="41"/>
                      <a:pt x="80" y="41"/>
                      <a:pt x="80" y="41"/>
                    </a:cubicBezTo>
                    <a:cubicBezTo>
                      <a:pt x="80" y="40"/>
                      <a:pt x="80" y="40"/>
                      <a:pt x="80" y="40"/>
                    </a:cubicBezTo>
                    <a:cubicBezTo>
                      <a:pt x="80" y="40"/>
                      <a:pt x="80" y="40"/>
                      <a:pt x="80" y="40"/>
                    </a:cubicBezTo>
                    <a:cubicBezTo>
                      <a:pt x="80" y="40"/>
                      <a:pt x="80" y="40"/>
                      <a:pt x="80" y="40"/>
                    </a:cubicBezTo>
                    <a:cubicBezTo>
                      <a:pt x="80" y="40"/>
                      <a:pt x="80" y="40"/>
                      <a:pt x="80" y="40"/>
                    </a:cubicBezTo>
                    <a:cubicBezTo>
                      <a:pt x="79" y="34"/>
                      <a:pt x="76" y="27"/>
                      <a:pt x="73" y="21"/>
                    </a:cubicBezTo>
                    <a:cubicBezTo>
                      <a:pt x="73" y="21"/>
                      <a:pt x="73" y="21"/>
                      <a:pt x="73" y="21"/>
                    </a:cubicBezTo>
                    <a:cubicBezTo>
                      <a:pt x="73" y="21"/>
                      <a:pt x="73" y="21"/>
                      <a:pt x="73" y="21"/>
                    </a:cubicBezTo>
                    <a:cubicBezTo>
                      <a:pt x="73" y="21"/>
                      <a:pt x="73" y="21"/>
                      <a:pt x="73" y="21"/>
                    </a:cubicBezTo>
                    <a:cubicBezTo>
                      <a:pt x="73" y="21"/>
                      <a:pt x="73" y="21"/>
                      <a:pt x="73" y="20"/>
                    </a:cubicBezTo>
                    <a:cubicBezTo>
                      <a:pt x="66" y="7"/>
                      <a:pt x="53" y="0"/>
                      <a:pt x="39" y="0"/>
                    </a:cubicBezTo>
                  </a:path>
                </a:pathLst>
              </a:custGeom>
              <a:solidFill>
                <a:srgbClr val="D2AC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2" name="Freeform 653"/>
              <p:cNvSpPr>
                <a:spLocks/>
              </p:cNvSpPr>
              <p:nvPr/>
            </p:nvSpPr>
            <p:spPr bwMode="auto">
              <a:xfrm>
                <a:off x="1501777" y="6259513"/>
                <a:ext cx="314325" cy="314325"/>
              </a:xfrm>
              <a:custGeom>
                <a:avLst/>
                <a:gdLst>
                  <a:gd name="T0" fmla="*/ 7 w 150"/>
                  <a:gd name="T1" fmla="*/ 34 h 150"/>
                  <a:gd name="T2" fmla="*/ 7 w 150"/>
                  <a:gd name="T3" fmla="*/ 7 h 150"/>
                  <a:gd name="T4" fmla="*/ 34 w 150"/>
                  <a:gd name="T5" fmla="*/ 7 h 150"/>
                  <a:gd name="T6" fmla="*/ 143 w 150"/>
                  <a:gd name="T7" fmla="*/ 116 h 150"/>
                  <a:gd name="T8" fmla="*/ 143 w 150"/>
                  <a:gd name="T9" fmla="*/ 143 h 150"/>
                  <a:gd name="T10" fmla="*/ 116 w 150"/>
                  <a:gd name="T11" fmla="*/ 143 h 150"/>
                  <a:gd name="T12" fmla="*/ 7 w 150"/>
                  <a:gd name="T13" fmla="*/ 34 h 150"/>
                </a:gdLst>
                <a:ahLst/>
                <a:cxnLst>
                  <a:cxn ang="0">
                    <a:pos x="T0" y="T1"/>
                  </a:cxn>
                  <a:cxn ang="0">
                    <a:pos x="T2" y="T3"/>
                  </a:cxn>
                  <a:cxn ang="0">
                    <a:pos x="T4" y="T5"/>
                  </a:cxn>
                  <a:cxn ang="0">
                    <a:pos x="T6" y="T7"/>
                  </a:cxn>
                  <a:cxn ang="0">
                    <a:pos x="T8" y="T9"/>
                  </a:cxn>
                  <a:cxn ang="0">
                    <a:pos x="T10" y="T11"/>
                  </a:cxn>
                  <a:cxn ang="0">
                    <a:pos x="T12" y="T13"/>
                  </a:cxn>
                </a:cxnLst>
                <a:rect l="0" t="0" r="r" b="b"/>
                <a:pathLst>
                  <a:path w="150" h="150">
                    <a:moveTo>
                      <a:pt x="7" y="34"/>
                    </a:moveTo>
                    <a:cubicBezTo>
                      <a:pt x="0" y="26"/>
                      <a:pt x="0" y="15"/>
                      <a:pt x="7" y="7"/>
                    </a:cubicBezTo>
                    <a:cubicBezTo>
                      <a:pt x="15" y="0"/>
                      <a:pt x="27" y="0"/>
                      <a:pt x="34" y="7"/>
                    </a:cubicBezTo>
                    <a:cubicBezTo>
                      <a:pt x="143" y="116"/>
                      <a:pt x="143" y="116"/>
                      <a:pt x="143" y="116"/>
                    </a:cubicBezTo>
                    <a:cubicBezTo>
                      <a:pt x="150" y="124"/>
                      <a:pt x="150" y="135"/>
                      <a:pt x="143" y="143"/>
                    </a:cubicBezTo>
                    <a:cubicBezTo>
                      <a:pt x="135" y="150"/>
                      <a:pt x="124" y="150"/>
                      <a:pt x="116" y="143"/>
                    </a:cubicBezTo>
                    <a:cubicBezTo>
                      <a:pt x="7" y="34"/>
                      <a:pt x="7" y="34"/>
                      <a:pt x="7" y="34"/>
                    </a:cubicBezTo>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3" name="Freeform 654"/>
              <p:cNvSpPr>
                <a:spLocks/>
              </p:cNvSpPr>
              <p:nvPr/>
            </p:nvSpPr>
            <p:spPr bwMode="auto">
              <a:xfrm>
                <a:off x="3443289" y="6265863"/>
                <a:ext cx="312738" cy="314325"/>
              </a:xfrm>
              <a:custGeom>
                <a:avLst/>
                <a:gdLst>
                  <a:gd name="T0" fmla="*/ 142 w 149"/>
                  <a:gd name="T1" fmla="*/ 34 h 150"/>
                  <a:gd name="T2" fmla="*/ 142 w 149"/>
                  <a:gd name="T3" fmla="*/ 7 h 150"/>
                  <a:gd name="T4" fmla="*/ 116 w 149"/>
                  <a:gd name="T5" fmla="*/ 7 h 150"/>
                  <a:gd name="T6" fmla="*/ 7 w 149"/>
                  <a:gd name="T7" fmla="*/ 116 h 150"/>
                  <a:gd name="T8" fmla="*/ 7 w 149"/>
                  <a:gd name="T9" fmla="*/ 143 h 150"/>
                  <a:gd name="T10" fmla="*/ 33 w 149"/>
                  <a:gd name="T11" fmla="*/ 143 h 150"/>
                  <a:gd name="T12" fmla="*/ 142 w 149"/>
                  <a:gd name="T13" fmla="*/ 34 h 150"/>
                </a:gdLst>
                <a:ahLst/>
                <a:cxnLst>
                  <a:cxn ang="0">
                    <a:pos x="T0" y="T1"/>
                  </a:cxn>
                  <a:cxn ang="0">
                    <a:pos x="T2" y="T3"/>
                  </a:cxn>
                  <a:cxn ang="0">
                    <a:pos x="T4" y="T5"/>
                  </a:cxn>
                  <a:cxn ang="0">
                    <a:pos x="T6" y="T7"/>
                  </a:cxn>
                  <a:cxn ang="0">
                    <a:pos x="T8" y="T9"/>
                  </a:cxn>
                  <a:cxn ang="0">
                    <a:pos x="T10" y="T11"/>
                  </a:cxn>
                  <a:cxn ang="0">
                    <a:pos x="T12" y="T13"/>
                  </a:cxn>
                </a:cxnLst>
                <a:rect l="0" t="0" r="r" b="b"/>
                <a:pathLst>
                  <a:path w="149" h="150">
                    <a:moveTo>
                      <a:pt x="142" y="34"/>
                    </a:moveTo>
                    <a:cubicBezTo>
                      <a:pt x="149" y="26"/>
                      <a:pt x="149" y="15"/>
                      <a:pt x="142" y="7"/>
                    </a:cubicBezTo>
                    <a:cubicBezTo>
                      <a:pt x="135" y="0"/>
                      <a:pt x="123" y="0"/>
                      <a:pt x="116" y="7"/>
                    </a:cubicBezTo>
                    <a:cubicBezTo>
                      <a:pt x="7" y="116"/>
                      <a:pt x="7" y="116"/>
                      <a:pt x="7" y="116"/>
                    </a:cubicBezTo>
                    <a:cubicBezTo>
                      <a:pt x="0" y="124"/>
                      <a:pt x="0" y="135"/>
                      <a:pt x="7" y="143"/>
                    </a:cubicBezTo>
                    <a:cubicBezTo>
                      <a:pt x="14" y="150"/>
                      <a:pt x="26" y="150"/>
                      <a:pt x="33" y="143"/>
                    </a:cubicBezTo>
                    <a:lnTo>
                      <a:pt x="142" y="3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4" name="Freeform 655"/>
              <p:cNvSpPr>
                <a:spLocks/>
              </p:cNvSpPr>
              <p:nvPr/>
            </p:nvSpPr>
            <p:spPr bwMode="auto">
              <a:xfrm>
                <a:off x="1778002" y="6705600"/>
                <a:ext cx="1704975" cy="82550"/>
              </a:xfrm>
              <a:custGeom>
                <a:avLst/>
                <a:gdLst>
                  <a:gd name="T0" fmla="*/ 18 w 816"/>
                  <a:gd name="T1" fmla="*/ 37 h 40"/>
                  <a:gd name="T2" fmla="*/ 0 w 816"/>
                  <a:gd name="T3" fmla="*/ 18 h 40"/>
                  <a:gd name="T4" fmla="*/ 18 w 816"/>
                  <a:gd name="T5" fmla="*/ 0 h 40"/>
                  <a:gd name="T6" fmla="*/ 797 w 816"/>
                  <a:gd name="T7" fmla="*/ 3 h 40"/>
                  <a:gd name="T8" fmla="*/ 816 w 816"/>
                  <a:gd name="T9" fmla="*/ 21 h 40"/>
                  <a:gd name="T10" fmla="*/ 797 w 816"/>
                  <a:gd name="T11" fmla="*/ 40 h 40"/>
                  <a:gd name="T12" fmla="*/ 18 w 816"/>
                  <a:gd name="T13" fmla="*/ 37 h 40"/>
                </a:gdLst>
                <a:ahLst/>
                <a:cxnLst>
                  <a:cxn ang="0">
                    <a:pos x="T0" y="T1"/>
                  </a:cxn>
                  <a:cxn ang="0">
                    <a:pos x="T2" y="T3"/>
                  </a:cxn>
                  <a:cxn ang="0">
                    <a:pos x="T4" y="T5"/>
                  </a:cxn>
                  <a:cxn ang="0">
                    <a:pos x="T6" y="T7"/>
                  </a:cxn>
                  <a:cxn ang="0">
                    <a:pos x="T8" y="T9"/>
                  </a:cxn>
                  <a:cxn ang="0">
                    <a:pos x="T10" y="T11"/>
                  </a:cxn>
                  <a:cxn ang="0">
                    <a:pos x="T12" y="T13"/>
                  </a:cxn>
                </a:cxnLst>
                <a:rect l="0" t="0" r="r" b="b"/>
                <a:pathLst>
                  <a:path w="816" h="40">
                    <a:moveTo>
                      <a:pt x="18" y="37"/>
                    </a:moveTo>
                    <a:cubicBezTo>
                      <a:pt x="8" y="37"/>
                      <a:pt x="0" y="28"/>
                      <a:pt x="0" y="18"/>
                    </a:cubicBezTo>
                    <a:cubicBezTo>
                      <a:pt x="0" y="8"/>
                      <a:pt x="8" y="0"/>
                      <a:pt x="18" y="0"/>
                    </a:cubicBezTo>
                    <a:cubicBezTo>
                      <a:pt x="797" y="3"/>
                      <a:pt x="797" y="3"/>
                      <a:pt x="797" y="3"/>
                    </a:cubicBezTo>
                    <a:cubicBezTo>
                      <a:pt x="807" y="3"/>
                      <a:pt x="816" y="11"/>
                      <a:pt x="816" y="21"/>
                    </a:cubicBezTo>
                    <a:cubicBezTo>
                      <a:pt x="816" y="31"/>
                      <a:pt x="807" y="40"/>
                      <a:pt x="797" y="40"/>
                    </a:cubicBezTo>
                    <a:lnTo>
                      <a:pt x="18" y="37"/>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5" name="Freeform 656"/>
              <p:cNvSpPr>
                <a:spLocks/>
              </p:cNvSpPr>
              <p:nvPr/>
            </p:nvSpPr>
            <p:spPr bwMode="auto">
              <a:xfrm>
                <a:off x="1430339" y="6249988"/>
                <a:ext cx="2320925" cy="93663"/>
              </a:xfrm>
              <a:custGeom>
                <a:avLst/>
                <a:gdLst>
                  <a:gd name="T0" fmla="*/ 1110 w 1110"/>
                  <a:gd name="T1" fmla="*/ 24 h 45"/>
                  <a:gd name="T2" fmla="*/ 1089 w 1110"/>
                  <a:gd name="T3" fmla="*/ 45 h 45"/>
                  <a:gd name="T4" fmla="*/ 21 w 1110"/>
                  <a:gd name="T5" fmla="*/ 42 h 45"/>
                  <a:gd name="T6" fmla="*/ 0 w 1110"/>
                  <a:gd name="T7" fmla="*/ 21 h 45"/>
                  <a:gd name="T8" fmla="*/ 21 w 1110"/>
                  <a:gd name="T9" fmla="*/ 0 h 45"/>
                  <a:gd name="T10" fmla="*/ 1089 w 1110"/>
                  <a:gd name="T11" fmla="*/ 3 h 45"/>
                  <a:gd name="T12" fmla="*/ 1110 w 1110"/>
                  <a:gd name="T13" fmla="*/ 24 h 45"/>
                </a:gdLst>
                <a:ahLst/>
                <a:cxnLst>
                  <a:cxn ang="0">
                    <a:pos x="T0" y="T1"/>
                  </a:cxn>
                  <a:cxn ang="0">
                    <a:pos x="T2" y="T3"/>
                  </a:cxn>
                  <a:cxn ang="0">
                    <a:pos x="T4" y="T5"/>
                  </a:cxn>
                  <a:cxn ang="0">
                    <a:pos x="T6" y="T7"/>
                  </a:cxn>
                  <a:cxn ang="0">
                    <a:pos x="T8" y="T9"/>
                  </a:cxn>
                  <a:cxn ang="0">
                    <a:pos x="T10" y="T11"/>
                  </a:cxn>
                  <a:cxn ang="0">
                    <a:pos x="T12" y="T13"/>
                  </a:cxn>
                </a:cxnLst>
                <a:rect l="0" t="0" r="r" b="b"/>
                <a:pathLst>
                  <a:path w="1110" h="45">
                    <a:moveTo>
                      <a:pt x="1110" y="24"/>
                    </a:moveTo>
                    <a:cubicBezTo>
                      <a:pt x="1110" y="35"/>
                      <a:pt x="1101" y="45"/>
                      <a:pt x="1089" y="45"/>
                    </a:cubicBezTo>
                    <a:cubicBezTo>
                      <a:pt x="21" y="42"/>
                      <a:pt x="21" y="42"/>
                      <a:pt x="21" y="42"/>
                    </a:cubicBezTo>
                    <a:cubicBezTo>
                      <a:pt x="10" y="42"/>
                      <a:pt x="0" y="33"/>
                      <a:pt x="0" y="21"/>
                    </a:cubicBezTo>
                    <a:cubicBezTo>
                      <a:pt x="0" y="9"/>
                      <a:pt x="10" y="0"/>
                      <a:pt x="21" y="0"/>
                    </a:cubicBezTo>
                    <a:cubicBezTo>
                      <a:pt x="1089" y="3"/>
                      <a:pt x="1089" y="3"/>
                      <a:pt x="1089" y="3"/>
                    </a:cubicBezTo>
                    <a:cubicBezTo>
                      <a:pt x="1101" y="3"/>
                      <a:pt x="1110" y="12"/>
                      <a:pt x="1110" y="24"/>
                    </a:cubicBezTo>
                  </a:path>
                </a:pathLst>
              </a:custGeom>
              <a:solidFill>
                <a:srgbClr val="6F6F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6" name="Freeform 657"/>
              <p:cNvSpPr>
                <a:spLocks/>
              </p:cNvSpPr>
              <p:nvPr/>
            </p:nvSpPr>
            <p:spPr bwMode="auto">
              <a:xfrm>
                <a:off x="3663952" y="5907088"/>
                <a:ext cx="442913" cy="439738"/>
              </a:xfrm>
              <a:custGeom>
                <a:avLst/>
                <a:gdLst>
                  <a:gd name="T0" fmla="*/ 203 w 212"/>
                  <a:gd name="T1" fmla="*/ 8 h 211"/>
                  <a:gd name="T2" fmla="*/ 203 w 212"/>
                  <a:gd name="T3" fmla="*/ 38 h 211"/>
                  <a:gd name="T4" fmla="*/ 39 w 212"/>
                  <a:gd name="T5" fmla="*/ 203 h 211"/>
                  <a:gd name="T6" fmla="*/ 9 w 212"/>
                  <a:gd name="T7" fmla="*/ 203 h 211"/>
                  <a:gd name="T8" fmla="*/ 9 w 212"/>
                  <a:gd name="T9" fmla="*/ 173 h 211"/>
                  <a:gd name="T10" fmla="*/ 173 w 212"/>
                  <a:gd name="T11" fmla="*/ 8 h 211"/>
                  <a:gd name="T12" fmla="*/ 203 w 212"/>
                  <a:gd name="T13" fmla="*/ 8 h 211"/>
                </a:gdLst>
                <a:ahLst/>
                <a:cxnLst>
                  <a:cxn ang="0">
                    <a:pos x="T0" y="T1"/>
                  </a:cxn>
                  <a:cxn ang="0">
                    <a:pos x="T2" y="T3"/>
                  </a:cxn>
                  <a:cxn ang="0">
                    <a:pos x="T4" y="T5"/>
                  </a:cxn>
                  <a:cxn ang="0">
                    <a:pos x="T6" y="T7"/>
                  </a:cxn>
                  <a:cxn ang="0">
                    <a:pos x="T8" y="T9"/>
                  </a:cxn>
                  <a:cxn ang="0">
                    <a:pos x="T10" y="T11"/>
                  </a:cxn>
                  <a:cxn ang="0">
                    <a:pos x="T12" y="T13"/>
                  </a:cxn>
                </a:cxnLst>
                <a:rect l="0" t="0" r="r" b="b"/>
                <a:pathLst>
                  <a:path w="212" h="211">
                    <a:moveTo>
                      <a:pt x="203" y="8"/>
                    </a:moveTo>
                    <a:cubicBezTo>
                      <a:pt x="212" y="17"/>
                      <a:pt x="212" y="30"/>
                      <a:pt x="203" y="38"/>
                    </a:cubicBezTo>
                    <a:cubicBezTo>
                      <a:pt x="39" y="203"/>
                      <a:pt x="39" y="203"/>
                      <a:pt x="39" y="203"/>
                    </a:cubicBezTo>
                    <a:cubicBezTo>
                      <a:pt x="30" y="211"/>
                      <a:pt x="17" y="211"/>
                      <a:pt x="9" y="203"/>
                    </a:cubicBezTo>
                    <a:cubicBezTo>
                      <a:pt x="0" y="194"/>
                      <a:pt x="0" y="181"/>
                      <a:pt x="9" y="173"/>
                    </a:cubicBezTo>
                    <a:cubicBezTo>
                      <a:pt x="173" y="8"/>
                      <a:pt x="173" y="8"/>
                      <a:pt x="173" y="8"/>
                    </a:cubicBezTo>
                    <a:cubicBezTo>
                      <a:pt x="182" y="0"/>
                      <a:pt x="195" y="0"/>
                      <a:pt x="203" y="8"/>
                    </a:cubicBezTo>
                  </a:path>
                </a:pathLst>
              </a:custGeom>
              <a:solidFill>
                <a:srgbClr val="6F6F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7" name="Freeform 658"/>
              <p:cNvSpPr>
                <a:spLocks/>
              </p:cNvSpPr>
              <p:nvPr/>
            </p:nvSpPr>
            <p:spPr bwMode="auto">
              <a:xfrm>
                <a:off x="1443039" y="5995988"/>
                <a:ext cx="2330450" cy="268288"/>
              </a:xfrm>
              <a:custGeom>
                <a:avLst/>
                <a:gdLst>
                  <a:gd name="T0" fmla="*/ 1115 w 1115"/>
                  <a:gd name="T1" fmla="*/ 66 h 128"/>
                  <a:gd name="T2" fmla="*/ 1052 w 1115"/>
                  <a:gd name="T3" fmla="*/ 128 h 128"/>
                  <a:gd name="T4" fmla="*/ 62 w 1115"/>
                  <a:gd name="T5" fmla="*/ 125 h 128"/>
                  <a:gd name="T6" fmla="*/ 0 w 1115"/>
                  <a:gd name="T7" fmla="*/ 63 h 128"/>
                  <a:gd name="T8" fmla="*/ 62 w 1115"/>
                  <a:gd name="T9" fmla="*/ 0 h 128"/>
                  <a:gd name="T10" fmla="*/ 1052 w 1115"/>
                  <a:gd name="T11" fmla="*/ 3 h 128"/>
                  <a:gd name="T12" fmla="*/ 1115 w 1115"/>
                  <a:gd name="T13" fmla="*/ 66 h 128"/>
                </a:gdLst>
                <a:ahLst/>
                <a:cxnLst>
                  <a:cxn ang="0">
                    <a:pos x="T0" y="T1"/>
                  </a:cxn>
                  <a:cxn ang="0">
                    <a:pos x="T2" y="T3"/>
                  </a:cxn>
                  <a:cxn ang="0">
                    <a:pos x="T4" y="T5"/>
                  </a:cxn>
                  <a:cxn ang="0">
                    <a:pos x="T6" y="T7"/>
                  </a:cxn>
                  <a:cxn ang="0">
                    <a:pos x="T8" y="T9"/>
                  </a:cxn>
                  <a:cxn ang="0">
                    <a:pos x="T10" y="T11"/>
                  </a:cxn>
                  <a:cxn ang="0">
                    <a:pos x="T12" y="T13"/>
                  </a:cxn>
                </a:cxnLst>
                <a:rect l="0" t="0" r="r" b="b"/>
                <a:pathLst>
                  <a:path w="1115" h="128">
                    <a:moveTo>
                      <a:pt x="1115" y="66"/>
                    </a:moveTo>
                    <a:cubicBezTo>
                      <a:pt x="1115" y="100"/>
                      <a:pt x="1087" y="128"/>
                      <a:pt x="1052" y="128"/>
                    </a:cubicBezTo>
                    <a:cubicBezTo>
                      <a:pt x="62" y="125"/>
                      <a:pt x="62" y="125"/>
                      <a:pt x="62" y="125"/>
                    </a:cubicBezTo>
                    <a:cubicBezTo>
                      <a:pt x="28" y="125"/>
                      <a:pt x="0" y="97"/>
                      <a:pt x="0" y="63"/>
                    </a:cubicBezTo>
                    <a:cubicBezTo>
                      <a:pt x="0" y="28"/>
                      <a:pt x="28" y="0"/>
                      <a:pt x="62" y="0"/>
                    </a:cubicBezTo>
                    <a:cubicBezTo>
                      <a:pt x="1052" y="3"/>
                      <a:pt x="1052" y="3"/>
                      <a:pt x="1052" y="3"/>
                    </a:cubicBezTo>
                    <a:cubicBezTo>
                      <a:pt x="1087" y="3"/>
                      <a:pt x="1115" y="31"/>
                      <a:pt x="1115" y="66"/>
                    </a:cubicBezTo>
                  </a:path>
                </a:pathLst>
              </a:custGeom>
              <a:solidFill>
                <a:srgbClr val="8DC3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8" name="Freeform 659"/>
              <p:cNvSpPr>
                <a:spLocks/>
              </p:cNvSpPr>
              <p:nvPr/>
            </p:nvSpPr>
            <p:spPr bwMode="auto">
              <a:xfrm>
                <a:off x="3511552" y="5622925"/>
                <a:ext cx="654050" cy="654050"/>
              </a:xfrm>
              <a:custGeom>
                <a:avLst/>
                <a:gdLst>
                  <a:gd name="T0" fmla="*/ 288 w 313"/>
                  <a:gd name="T1" fmla="*/ 24 h 313"/>
                  <a:gd name="T2" fmla="*/ 288 w 313"/>
                  <a:gd name="T3" fmla="*/ 113 h 313"/>
                  <a:gd name="T4" fmla="*/ 112 w 313"/>
                  <a:gd name="T5" fmla="*/ 289 h 313"/>
                  <a:gd name="T6" fmla="*/ 24 w 313"/>
                  <a:gd name="T7" fmla="*/ 289 h 313"/>
                  <a:gd name="T8" fmla="*/ 24 w 313"/>
                  <a:gd name="T9" fmla="*/ 201 h 313"/>
                  <a:gd name="T10" fmla="*/ 200 w 313"/>
                  <a:gd name="T11" fmla="*/ 24 h 313"/>
                  <a:gd name="T12" fmla="*/ 288 w 313"/>
                  <a:gd name="T13" fmla="*/ 24 h 313"/>
                </a:gdLst>
                <a:ahLst/>
                <a:cxnLst>
                  <a:cxn ang="0">
                    <a:pos x="T0" y="T1"/>
                  </a:cxn>
                  <a:cxn ang="0">
                    <a:pos x="T2" y="T3"/>
                  </a:cxn>
                  <a:cxn ang="0">
                    <a:pos x="T4" y="T5"/>
                  </a:cxn>
                  <a:cxn ang="0">
                    <a:pos x="T6" y="T7"/>
                  </a:cxn>
                  <a:cxn ang="0">
                    <a:pos x="T8" y="T9"/>
                  </a:cxn>
                  <a:cxn ang="0">
                    <a:pos x="T10" y="T11"/>
                  </a:cxn>
                  <a:cxn ang="0">
                    <a:pos x="T12" y="T13"/>
                  </a:cxn>
                </a:cxnLst>
                <a:rect l="0" t="0" r="r" b="b"/>
                <a:pathLst>
                  <a:path w="313" h="313">
                    <a:moveTo>
                      <a:pt x="288" y="24"/>
                    </a:moveTo>
                    <a:cubicBezTo>
                      <a:pt x="313" y="49"/>
                      <a:pt x="313" y="88"/>
                      <a:pt x="288" y="113"/>
                    </a:cubicBezTo>
                    <a:cubicBezTo>
                      <a:pt x="112" y="289"/>
                      <a:pt x="112" y="289"/>
                      <a:pt x="112" y="289"/>
                    </a:cubicBezTo>
                    <a:cubicBezTo>
                      <a:pt x="88" y="313"/>
                      <a:pt x="48" y="313"/>
                      <a:pt x="24" y="289"/>
                    </a:cubicBezTo>
                    <a:cubicBezTo>
                      <a:pt x="0" y="264"/>
                      <a:pt x="0" y="225"/>
                      <a:pt x="24" y="201"/>
                    </a:cubicBezTo>
                    <a:cubicBezTo>
                      <a:pt x="200" y="24"/>
                      <a:pt x="200" y="24"/>
                      <a:pt x="200" y="24"/>
                    </a:cubicBezTo>
                    <a:cubicBezTo>
                      <a:pt x="225" y="0"/>
                      <a:pt x="264" y="0"/>
                      <a:pt x="288" y="24"/>
                    </a:cubicBezTo>
                  </a:path>
                </a:pathLst>
              </a:custGeom>
              <a:solidFill>
                <a:srgbClr val="8DC3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9" name="Freeform 660"/>
              <p:cNvSpPr>
                <a:spLocks noEditPoints="1"/>
              </p:cNvSpPr>
              <p:nvPr/>
            </p:nvSpPr>
            <p:spPr bwMode="auto">
              <a:xfrm>
                <a:off x="1443039" y="5672138"/>
                <a:ext cx="2709863" cy="455613"/>
              </a:xfrm>
              <a:custGeom>
                <a:avLst/>
                <a:gdLst>
                  <a:gd name="T0" fmla="*/ 0 w 1296"/>
                  <a:gd name="T1" fmla="*/ 218 h 218"/>
                  <a:gd name="T2" fmla="*/ 0 w 1296"/>
                  <a:gd name="T3" fmla="*/ 218 h 218"/>
                  <a:gd name="T4" fmla="*/ 0 w 1296"/>
                  <a:gd name="T5" fmla="*/ 218 h 218"/>
                  <a:gd name="T6" fmla="*/ 0 w 1296"/>
                  <a:gd name="T7" fmla="*/ 218 h 218"/>
                  <a:gd name="T8" fmla="*/ 1277 w 1296"/>
                  <a:gd name="T9" fmla="*/ 0 h 218"/>
                  <a:gd name="T10" fmla="*/ 1277 w 1296"/>
                  <a:gd name="T11" fmla="*/ 0 h 218"/>
                  <a:gd name="T12" fmla="*/ 1296 w 1296"/>
                  <a:gd name="T13" fmla="*/ 44 h 218"/>
                  <a:gd name="T14" fmla="*/ 1277 w 1296"/>
                  <a:gd name="T15" fmla="*/ 0 h 218"/>
                  <a:gd name="T16" fmla="*/ 1277 w 1296"/>
                  <a:gd name="T17" fmla="*/ 0 h 218"/>
                  <a:gd name="T18" fmla="*/ 1277 w 1296"/>
                  <a:gd name="T19" fmla="*/ 0 h 218"/>
                  <a:gd name="T20" fmla="*/ 1277 w 1296"/>
                  <a:gd name="T21" fmla="*/ 0 h 218"/>
                  <a:gd name="T22" fmla="*/ 1277 w 1296"/>
                  <a:gd name="T2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96" h="218">
                    <a:moveTo>
                      <a:pt x="0" y="218"/>
                    </a:moveTo>
                    <a:cubicBezTo>
                      <a:pt x="0" y="218"/>
                      <a:pt x="0" y="218"/>
                      <a:pt x="0" y="218"/>
                    </a:cubicBezTo>
                    <a:cubicBezTo>
                      <a:pt x="0" y="218"/>
                      <a:pt x="0" y="218"/>
                      <a:pt x="0" y="218"/>
                    </a:cubicBezTo>
                    <a:cubicBezTo>
                      <a:pt x="0" y="218"/>
                      <a:pt x="0" y="218"/>
                      <a:pt x="0" y="218"/>
                    </a:cubicBezTo>
                    <a:moveTo>
                      <a:pt x="1277" y="0"/>
                    </a:moveTo>
                    <a:cubicBezTo>
                      <a:pt x="1277" y="0"/>
                      <a:pt x="1277" y="0"/>
                      <a:pt x="1277" y="0"/>
                    </a:cubicBezTo>
                    <a:cubicBezTo>
                      <a:pt x="1290" y="13"/>
                      <a:pt x="1296" y="29"/>
                      <a:pt x="1296" y="44"/>
                    </a:cubicBezTo>
                    <a:cubicBezTo>
                      <a:pt x="1296" y="29"/>
                      <a:pt x="1290" y="13"/>
                      <a:pt x="1277" y="0"/>
                    </a:cubicBezTo>
                    <a:cubicBezTo>
                      <a:pt x="1277" y="0"/>
                      <a:pt x="1277" y="0"/>
                      <a:pt x="1277" y="0"/>
                    </a:cubicBezTo>
                    <a:moveTo>
                      <a:pt x="1277" y="0"/>
                    </a:moveTo>
                    <a:cubicBezTo>
                      <a:pt x="1277" y="0"/>
                      <a:pt x="1277" y="0"/>
                      <a:pt x="1277" y="0"/>
                    </a:cubicBezTo>
                    <a:cubicBezTo>
                      <a:pt x="1277" y="0"/>
                      <a:pt x="1277" y="0"/>
                      <a:pt x="1277" y="0"/>
                    </a:cubicBezTo>
                  </a:path>
                </a:pathLst>
              </a:custGeom>
              <a:solidFill>
                <a:srgbClr val="DCDB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20" name="Freeform 661"/>
              <p:cNvSpPr>
                <a:spLocks/>
              </p:cNvSpPr>
              <p:nvPr/>
            </p:nvSpPr>
            <p:spPr bwMode="auto">
              <a:xfrm>
                <a:off x="3743327" y="6226175"/>
                <a:ext cx="1588" cy="1588"/>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1"/>
                      <a:pt x="0" y="1"/>
                    </a:cubicBezTo>
                    <a:cubicBezTo>
                      <a:pt x="0" y="1"/>
                      <a:pt x="1" y="0"/>
                      <a:pt x="1" y="0"/>
                    </a:cubicBezTo>
                  </a:path>
                </a:pathLst>
              </a:custGeom>
              <a:solidFill>
                <a:srgbClr val="676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21" name="Freeform 662"/>
              <p:cNvSpPr>
                <a:spLocks/>
              </p:cNvSpPr>
              <p:nvPr/>
            </p:nvSpPr>
            <p:spPr bwMode="auto">
              <a:xfrm>
                <a:off x="1443039" y="6107113"/>
                <a:ext cx="2203450" cy="157163"/>
              </a:xfrm>
              <a:custGeom>
                <a:avLst/>
                <a:gdLst>
                  <a:gd name="T0" fmla="*/ 1 w 1054"/>
                  <a:gd name="T1" fmla="*/ 0 h 75"/>
                  <a:gd name="T2" fmla="*/ 0 w 1054"/>
                  <a:gd name="T3" fmla="*/ 10 h 75"/>
                  <a:gd name="T4" fmla="*/ 0 w 1054"/>
                  <a:gd name="T5" fmla="*/ 10 h 75"/>
                  <a:gd name="T6" fmla="*/ 62 w 1054"/>
                  <a:gd name="T7" fmla="*/ 72 h 75"/>
                  <a:gd name="T8" fmla="*/ 1052 w 1054"/>
                  <a:gd name="T9" fmla="*/ 75 h 75"/>
                  <a:gd name="T10" fmla="*/ 1054 w 1054"/>
                  <a:gd name="T11" fmla="*/ 75 h 75"/>
                  <a:gd name="T12" fmla="*/ 1013 w 1054"/>
                  <a:gd name="T13" fmla="*/ 57 h 75"/>
                  <a:gd name="T14" fmla="*/ 995 w 1054"/>
                  <a:gd name="T15" fmla="*/ 16 h 75"/>
                  <a:gd name="T16" fmla="*/ 38 w 1054"/>
                  <a:gd name="T17" fmla="*/ 13 h 75"/>
                  <a:gd name="T18" fmla="*/ 1 w 1054"/>
                  <a:gd name="T1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4" h="75">
                    <a:moveTo>
                      <a:pt x="1" y="0"/>
                    </a:moveTo>
                    <a:cubicBezTo>
                      <a:pt x="0" y="3"/>
                      <a:pt x="0" y="6"/>
                      <a:pt x="0" y="10"/>
                    </a:cubicBezTo>
                    <a:cubicBezTo>
                      <a:pt x="0" y="10"/>
                      <a:pt x="0" y="10"/>
                      <a:pt x="0" y="10"/>
                    </a:cubicBezTo>
                    <a:cubicBezTo>
                      <a:pt x="0" y="44"/>
                      <a:pt x="28" y="72"/>
                      <a:pt x="62" y="72"/>
                    </a:cubicBezTo>
                    <a:cubicBezTo>
                      <a:pt x="1052" y="75"/>
                      <a:pt x="1052" y="75"/>
                      <a:pt x="1052" y="75"/>
                    </a:cubicBezTo>
                    <a:cubicBezTo>
                      <a:pt x="1053" y="75"/>
                      <a:pt x="1054" y="75"/>
                      <a:pt x="1054" y="75"/>
                    </a:cubicBezTo>
                    <a:cubicBezTo>
                      <a:pt x="1039" y="74"/>
                      <a:pt x="1024" y="68"/>
                      <a:pt x="1013" y="57"/>
                    </a:cubicBezTo>
                    <a:cubicBezTo>
                      <a:pt x="1002" y="46"/>
                      <a:pt x="996" y="31"/>
                      <a:pt x="995" y="16"/>
                    </a:cubicBezTo>
                    <a:cubicBezTo>
                      <a:pt x="38" y="13"/>
                      <a:pt x="38" y="13"/>
                      <a:pt x="38" y="13"/>
                    </a:cubicBezTo>
                    <a:cubicBezTo>
                      <a:pt x="24" y="13"/>
                      <a:pt x="11" y="9"/>
                      <a:pt x="1" y="0"/>
                    </a:cubicBezTo>
                  </a:path>
                </a:pathLst>
              </a:custGeom>
              <a:solidFill>
                <a:srgbClr val="80AE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22" name="Freeform 663"/>
              <p:cNvSpPr>
                <a:spLocks/>
              </p:cNvSpPr>
              <p:nvPr/>
            </p:nvSpPr>
            <p:spPr bwMode="auto">
              <a:xfrm>
                <a:off x="3522664" y="5662613"/>
                <a:ext cx="630238" cy="601663"/>
              </a:xfrm>
              <a:custGeom>
                <a:avLst/>
                <a:gdLst>
                  <a:gd name="T0" fmla="*/ 276 w 301"/>
                  <a:gd name="T1" fmla="*/ 0 h 288"/>
                  <a:gd name="T2" fmla="*/ 259 w 301"/>
                  <a:gd name="T3" fmla="*/ 35 h 288"/>
                  <a:gd name="T4" fmla="*/ 83 w 301"/>
                  <a:gd name="T5" fmla="*/ 211 h 288"/>
                  <a:gd name="T6" fmla="*/ 39 w 301"/>
                  <a:gd name="T7" fmla="*/ 229 h 288"/>
                  <a:gd name="T8" fmla="*/ 36 w 301"/>
                  <a:gd name="T9" fmla="*/ 229 h 288"/>
                  <a:gd name="T10" fmla="*/ 34 w 301"/>
                  <a:gd name="T11" fmla="*/ 229 h 288"/>
                  <a:gd name="T12" fmla="*/ 0 w 301"/>
                  <a:gd name="T13" fmla="*/ 229 h 288"/>
                  <a:gd name="T14" fmla="*/ 18 w 301"/>
                  <a:gd name="T15" fmla="*/ 270 h 288"/>
                  <a:gd name="T16" fmla="*/ 59 w 301"/>
                  <a:gd name="T17" fmla="*/ 288 h 288"/>
                  <a:gd name="T18" fmla="*/ 60 w 301"/>
                  <a:gd name="T19" fmla="*/ 288 h 288"/>
                  <a:gd name="T20" fmla="*/ 62 w 301"/>
                  <a:gd name="T21" fmla="*/ 288 h 288"/>
                  <a:gd name="T22" fmla="*/ 105 w 301"/>
                  <a:gd name="T23" fmla="*/ 271 h 288"/>
                  <a:gd name="T24" fmla="*/ 106 w 301"/>
                  <a:gd name="T25" fmla="*/ 270 h 288"/>
                  <a:gd name="T26" fmla="*/ 106 w 301"/>
                  <a:gd name="T27" fmla="*/ 270 h 288"/>
                  <a:gd name="T28" fmla="*/ 282 w 301"/>
                  <a:gd name="T29" fmla="*/ 94 h 288"/>
                  <a:gd name="T30" fmla="*/ 301 w 301"/>
                  <a:gd name="T31" fmla="*/ 49 h 288"/>
                  <a:gd name="T32" fmla="*/ 282 w 301"/>
                  <a:gd name="T33" fmla="*/ 5 h 288"/>
                  <a:gd name="T34" fmla="*/ 282 w 301"/>
                  <a:gd name="T35" fmla="*/ 5 h 288"/>
                  <a:gd name="T36" fmla="*/ 282 w 301"/>
                  <a:gd name="T37" fmla="*/ 5 h 288"/>
                  <a:gd name="T38" fmla="*/ 282 w 301"/>
                  <a:gd name="T39" fmla="*/ 5 h 288"/>
                  <a:gd name="T40" fmla="*/ 276 w 301"/>
                  <a:gd name="T41"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1" h="288">
                    <a:moveTo>
                      <a:pt x="276" y="0"/>
                    </a:moveTo>
                    <a:cubicBezTo>
                      <a:pt x="274" y="13"/>
                      <a:pt x="269" y="25"/>
                      <a:pt x="259" y="35"/>
                    </a:cubicBezTo>
                    <a:cubicBezTo>
                      <a:pt x="83" y="211"/>
                      <a:pt x="83" y="211"/>
                      <a:pt x="83" y="211"/>
                    </a:cubicBezTo>
                    <a:cubicBezTo>
                      <a:pt x="70" y="223"/>
                      <a:pt x="54" y="229"/>
                      <a:pt x="39" y="229"/>
                    </a:cubicBezTo>
                    <a:cubicBezTo>
                      <a:pt x="38" y="229"/>
                      <a:pt x="37" y="229"/>
                      <a:pt x="36" y="229"/>
                    </a:cubicBezTo>
                    <a:cubicBezTo>
                      <a:pt x="35" y="229"/>
                      <a:pt x="34" y="229"/>
                      <a:pt x="34" y="229"/>
                    </a:cubicBezTo>
                    <a:cubicBezTo>
                      <a:pt x="0" y="229"/>
                      <a:pt x="0" y="229"/>
                      <a:pt x="0" y="229"/>
                    </a:cubicBezTo>
                    <a:cubicBezTo>
                      <a:pt x="1" y="244"/>
                      <a:pt x="7" y="259"/>
                      <a:pt x="18" y="270"/>
                    </a:cubicBezTo>
                    <a:cubicBezTo>
                      <a:pt x="29" y="281"/>
                      <a:pt x="44" y="287"/>
                      <a:pt x="59" y="288"/>
                    </a:cubicBezTo>
                    <a:cubicBezTo>
                      <a:pt x="59" y="288"/>
                      <a:pt x="60" y="288"/>
                      <a:pt x="60" y="288"/>
                    </a:cubicBezTo>
                    <a:cubicBezTo>
                      <a:pt x="61" y="288"/>
                      <a:pt x="61" y="288"/>
                      <a:pt x="62" y="288"/>
                    </a:cubicBezTo>
                    <a:cubicBezTo>
                      <a:pt x="78" y="288"/>
                      <a:pt x="93" y="282"/>
                      <a:pt x="105" y="271"/>
                    </a:cubicBezTo>
                    <a:cubicBezTo>
                      <a:pt x="105" y="271"/>
                      <a:pt x="106" y="270"/>
                      <a:pt x="106" y="270"/>
                    </a:cubicBezTo>
                    <a:cubicBezTo>
                      <a:pt x="106" y="270"/>
                      <a:pt x="106" y="270"/>
                      <a:pt x="106" y="270"/>
                    </a:cubicBezTo>
                    <a:cubicBezTo>
                      <a:pt x="282" y="94"/>
                      <a:pt x="282" y="94"/>
                      <a:pt x="282" y="94"/>
                    </a:cubicBezTo>
                    <a:cubicBezTo>
                      <a:pt x="295" y="81"/>
                      <a:pt x="301" y="65"/>
                      <a:pt x="301" y="49"/>
                    </a:cubicBezTo>
                    <a:cubicBezTo>
                      <a:pt x="301" y="34"/>
                      <a:pt x="295" y="18"/>
                      <a:pt x="282" y="5"/>
                    </a:cubicBezTo>
                    <a:cubicBezTo>
                      <a:pt x="282" y="5"/>
                      <a:pt x="282" y="5"/>
                      <a:pt x="282" y="5"/>
                    </a:cubicBezTo>
                    <a:cubicBezTo>
                      <a:pt x="282" y="5"/>
                      <a:pt x="282" y="5"/>
                      <a:pt x="282" y="5"/>
                    </a:cubicBezTo>
                    <a:cubicBezTo>
                      <a:pt x="282" y="5"/>
                      <a:pt x="282" y="5"/>
                      <a:pt x="282" y="5"/>
                    </a:cubicBezTo>
                    <a:cubicBezTo>
                      <a:pt x="280" y="3"/>
                      <a:pt x="278" y="2"/>
                      <a:pt x="276" y="0"/>
                    </a:cubicBezTo>
                  </a:path>
                </a:pathLst>
              </a:custGeom>
              <a:solidFill>
                <a:srgbClr val="80AE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23" name="Freeform 664"/>
              <p:cNvSpPr>
                <a:spLocks/>
              </p:cNvSpPr>
              <p:nvPr/>
            </p:nvSpPr>
            <p:spPr bwMode="auto">
              <a:xfrm>
                <a:off x="1739902" y="6292850"/>
                <a:ext cx="77788" cy="765175"/>
              </a:xfrm>
              <a:custGeom>
                <a:avLst/>
                <a:gdLst>
                  <a:gd name="T0" fmla="*/ 37 w 37"/>
                  <a:gd name="T1" fmla="*/ 348 h 366"/>
                  <a:gd name="T2" fmla="*/ 19 w 37"/>
                  <a:gd name="T3" fmla="*/ 366 h 366"/>
                  <a:gd name="T4" fmla="*/ 0 w 37"/>
                  <a:gd name="T5" fmla="*/ 348 h 366"/>
                  <a:gd name="T6" fmla="*/ 0 w 37"/>
                  <a:gd name="T7" fmla="*/ 18 h 366"/>
                  <a:gd name="T8" fmla="*/ 19 w 37"/>
                  <a:gd name="T9" fmla="*/ 0 h 366"/>
                  <a:gd name="T10" fmla="*/ 37 w 37"/>
                  <a:gd name="T11" fmla="*/ 18 h 366"/>
                  <a:gd name="T12" fmla="*/ 37 w 37"/>
                  <a:gd name="T13" fmla="*/ 348 h 366"/>
                </a:gdLst>
                <a:ahLst/>
                <a:cxnLst>
                  <a:cxn ang="0">
                    <a:pos x="T0" y="T1"/>
                  </a:cxn>
                  <a:cxn ang="0">
                    <a:pos x="T2" y="T3"/>
                  </a:cxn>
                  <a:cxn ang="0">
                    <a:pos x="T4" y="T5"/>
                  </a:cxn>
                  <a:cxn ang="0">
                    <a:pos x="T6" y="T7"/>
                  </a:cxn>
                  <a:cxn ang="0">
                    <a:pos x="T8" y="T9"/>
                  </a:cxn>
                  <a:cxn ang="0">
                    <a:pos x="T10" y="T11"/>
                  </a:cxn>
                  <a:cxn ang="0">
                    <a:pos x="T12" y="T13"/>
                  </a:cxn>
                </a:cxnLst>
                <a:rect l="0" t="0" r="r" b="b"/>
                <a:pathLst>
                  <a:path w="37" h="366">
                    <a:moveTo>
                      <a:pt x="37" y="348"/>
                    </a:moveTo>
                    <a:cubicBezTo>
                      <a:pt x="37" y="358"/>
                      <a:pt x="29" y="366"/>
                      <a:pt x="19" y="366"/>
                    </a:cubicBezTo>
                    <a:cubicBezTo>
                      <a:pt x="9" y="366"/>
                      <a:pt x="0" y="358"/>
                      <a:pt x="0" y="348"/>
                    </a:cubicBezTo>
                    <a:cubicBezTo>
                      <a:pt x="0" y="18"/>
                      <a:pt x="0" y="18"/>
                      <a:pt x="0" y="18"/>
                    </a:cubicBezTo>
                    <a:cubicBezTo>
                      <a:pt x="0" y="8"/>
                      <a:pt x="9" y="0"/>
                      <a:pt x="19" y="0"/>
                    </a:cubicBezTo>
                    <a:cubicBezTo>
                      <a:pt x="29" y="0"/>
                      <a:pt x="37" y="8"/>
                      <a:pt x="37" y="18"/>
                    </a:cubicBezTo>
                    <a:lnTo>
                      <a:pt x="37" y="348"/>
                    </a:lnTo>
                    <a:close/>
                  </a:path>
                </a:pathLst>
              </a:custGeom>
              <a:solidFill>
                <a:srgbClr val="6F6F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24" name="Freeform 665"/>
              <p:cNvSpPr>
                <a:spLocks/>
              </p:cNvSpPr>
              <p:nvPr/>
            </p:nvSpPr>
            <p:spPr bwMode="auto">
              <a:xfrm>
                <a:off x="3425827" y="6299200"/>
                <a:ext cx="76200" cy="765175"/>
              </a:xfrm>
              <a:custGeom>
                <a:avLst/>
                <a:gdLst>
                  <a:gd name="T0" fmla="*/ 37 w 37"/>
                  <a:gd name="T1" fmla="*/ 348 h 366"/>
                  <a:gd name="T2" fmla="*/ 18 w 37"/>
                  <a:gd name="T3" fmla="*/ 366 h 366"/>
                  <a:gd name="T4" fmla="*/ 0 w 37"/>
                  <a:gd name="T5" fmla="*/ 348 h 366"/>
                  <a:gd name="T6" fmla="*/ 0 w 37"/>
                  <a:gd name="T7" fmla="*/ 18 h 366"/>
                  <a:gd name="T8" fmla="*/ 18 w 37"/>
                  <a:gd name="T9" fmla="*/ 0 h 366"/>
                  <a:gd name="T10" fmla="*/ 37 w 37"/>
                  <a:gd name="T11" fmla="*/ 18 h 366"/>
                  <a:gd name="T12" fmla="*/ 37 w 37"/>
                  <a:gd name="T13" fmla="*/ 348 h 366"/>
                </a:gdLst>
                <a:ahLst/>
                <a:cxnLst>
                  <a:cxn ang="0">
                    <a:pos x="T0" y="T1"/>
                  </a:cxn>
                  <a:cxn ang="0">
                    <a:pos x="T2" y="T3"/>
                  </a:cxn>
                  <a:cxn ang="0">
                    <a:pos x="T4" y="T5"/>
                  </a:cxn>
                  <a:cxn ang="0">
                    <a:pos x="T6" y="T7"/>
                  </a:cxn>
                  <a:cxn ang="0">
                    <a:pos x="T8" y="T9"/>
                  </a:cxn>
                  <a:cxn ang="0">
                    <a:pos x="T10" y="T11"/>
                  </a:cxn>
                  <a:cxn ang="0">
                    <a:pos x="T12" y="T13"/>
                  </a:cxn>
                </a:cxnLst>
                <a:rect l="0" t="0" r="r" b="b"/>
                <a:pathLst>
                  <a:path w="37" h="366">
                    <a:moveTo>
                      <a:pt x="37" y="348"/>
                    </a:moveTo>
                    <a:cubicBezTo>
                      <a:pt x="37" y="358"/>
                      <a:pt x="28" y="366"/>
                      <a:pt x="18" y="366"/>
                    </a:cubicBezTo>
                    <a:cubicBezTo>
                      <a:pt x="8" y="366"/>
                      <a:pt x="0" y="358"/>
                      <a:pt x="0" y="348"/>
                    </a:cubicBezTo>
                    <a:cubicBezTo>
                      <a:pt x="0" y="18"/>
                      <a:pt x="0" y="18"/>
                      <a:pt x="0" y="18"/>
                    </a:cubicBezTo>
                    <a:cubicBezTo>
                      <a:pt x="0" y="8"/>
                      <a:pt x="8" y="0"/>
                      <a:pt x="18" y="0"/>
                    </a:cubicBezTo>
                    <a:cubicBezTo>
                      <a:pt x="28" y="0"/>
                      <a:pt x="37" y="8"/>
                      <a:pt x="37" y="18"/>
                    </a:cubicBezTo>
                    <a:lnTo>
                      <a:pt x="37" y="348"/>
                    </a:lnTo>
                    <a:close/>
                  </a:path>
                </a:pathLst>
              </a:custGeom>
              <a:solidFill>
                <a:srgbClr val="6F6F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25" name="Oval 666"/>
              <p:cNvSpPr>
                <a:spLocks noChangeArrowheads="1"/>
              </p:cNvSpPr>
              <p:nvPr/>
            </p:nvSpPr>
            <p:spPr bwMode="auto">
              <a:xfrm>
                <a:off x="1665289" y="6943725"/>
                <a:ext cx="230188" cy="231775"/>
              </a:xfrm>
              <a:prstGeom prst="ellipse">
                <a:avLst/>
              </a:prstGeom>
              <a:solidFill>
                <a:srgbClr val="5D5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26" name="Oval 667"/>
              <p:cNvSpPr>
                <a:spLocks noChangeArrowheads="1"/>
              </p:cNvSpPr>
              <p:nvPr/>
            </p:nvSpPr>
            <p:spPr bwMode="auto">
              <a:xfrm>
                <a:off x="1720852" y="7002463"/>
                <a:ext cx="117475" cy="1143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27" name="Oval 668"/>
              <p:cNvSpPr>
                <a:spLocks noChangeArrowheads="1"/>
              </p:cNvSpPr>
              <p:nvPr/>
            </p:nvSpPr>
            <p:spPr bwMode="auto">
              <a:xfrm>
                <a:off x="3348039" y="6950075"/>
                <a:ext cx="230188" cy="228600"/>
              </a:xfrm>
              <a:prstGeom prst="ellipse">
                <a:avLst/>
              </a:prstGeom>
              <a:solidFill>
                <a:srgbClr val="5D5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28" name="Oval 669"/>
              <p:cNvSpPr>
                <a:spLocks noChangeArrowheads="1"/>
              </p:cNvSpPr>
              <p:nvPr/>
            </p:nvSpPr>
            <p:spPr bwMode="auto">
              <a:xfrm>
                <a:off x="3406777" y="7007225"/>
                <a:ext cx="114300" cy="1158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29" name="Freeform 670"/>
              <p:cNvSpPr>
                <a:spLocks/>
              </p:cNvSpPr>
              <p:nvPr/>
            </p:nvSpPr>
            <p:spPr bwMode="auto">
              <a:xfrm>
                <a:off x="2413002" y="5741988"/>
                <a:ext cx="935038" cy="273050"/>
              </a:xfrm>
              <a:custGeom>
                <a:avLst/>
                <a:gdLst>
                  <a:gd name="T0" fmla="*/ 0 w 447"/>
                  <a:gd name="T1" fmla="*/ 65 h 131"/>
                  <a:gd name="T2" fmla="*/ 66 w 447"/>
                  <a:gd name="T3" fmla="*/ 131 h 131"/>
                  <a:gd name="T4" fmla="*/ 381 w 447"/>
                  <a:gd name="T5" fmla="*/ 131 h 131"/>
                  <a:gd name="T6" fmla="*/ 447 w 447"/>
                  <a:gd name="T7" fmla="*/ 65 h 131"/>
                  <a:gd name="T8" fmla="*/ 381 w 447"/>
                  <a:gd name="T9" fmla="*/ 0 h 131"/>
                  <a:gd name="T10" fmla="*/ 66 w 447"/>
                  <a:gd name="T11" fmla="*/ 0 h 131"/>
                  <a:gd name="T12" fmla="*/ 0 w 447"/>
                  <a:gd name="T13" fmla="*/ 65 h 131"/>
                </a:gdLst>
                <a:ahLst/>
                <a:cxnLst>
                  <a:cxn ang="0">
                    <a:pos x="T0" y="T1"/>
                  </a:cxn>
                  <a:cxn ang="0">
                    <a:pos x="T2" y="T3"/>
                  </a:cxn>
                  <a:cxn ang="0">
                    <a:pos x="T4" y="T5"/>
                  </a:cxn>
                  <a:cxn ang="0">
                    <a:pos x="T6" y="T7"/>
                  </a:cxn>
                  <a:cxn ang="0">
                    <a:pos x="T8" y="T9"/>
                  </a:cxn>
                  <a:cxn ang="0">
                    <a:pos x="T10" y="T11"/>
                  </a:cxn>
                  <a:cxn ang="0">
                    <a:pos x="T12" y="T13"/>
                  </a:cxn>
                </a:cxnLst>
                <a:rect l="0" t="0" r="r" b="b"/>
                <a:pathLst>
                  <a:path w="447" h="131">
                    <a:moveTo>
                      <a:pt x="0" y="65"/>
                    </a:moveTo>
                    <a:cubicBezTo>
                      <a:pt x="0" y="102"/>
                      <a:pt x="30" y="131"/>
                      <a:pt x="66" y="131"/>
                    </a:cubicBezTo>
                    <a:cubicBezTo>
                      <a:pt x="381" y="131"/>
                      <a:pt x="381" y="131"/>
                      <a:pt x="381" y="131"/>
                    </a:cubicBezTo>
                    <a:cubicBezTo>
                      <a:pt x="418" y="131"/>
                      <a:pt x="447" y="102"/>
                      <a:pt x="447" y="65"/>
                    </a:cubicBezTo>
                    <a:cubicBezTo>
                      <a:pt x="447" y="29"/>
                      <a:pt x="418" y="0"/>
                      <a:pt x="381" y="0"/>
                    </a:cubicBezTo>
                    <a:cubicBezTo>
                      <a:pt x="66" y="0"/>
                      <a:pt x="66" y="0"/>
                      <a:pt x="66" y="0"/>
                    </a:cubicBezTo>
                    <a:cubicBezTo>
                      <a:pt x="30" y="0"/>
                      <a:pt x="0" y="29"/>
                      <a:pt x="0" y="65"/>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30" name="Freeform 671"/>
              <p:cNvSpPr>
                <a:spLocks/>
              </p:cNvSpPr>
              <p:nvPr/>
            </p:nvSpPr>
            <p:spPr bwMode="auto">
              <a:xfrm>
                <a:off x="1506539" y="5648325"/>
                <a:ext cx="1765300" cy="555625"/>
              </a:xfrm>
              <a:custGeom>
                <a:avLst/>
                <a:gdLst>
                  <a:gd name="T0" fmla="*/ 845 w 845"/>
                  <a:gd name="T1" fmla="*/ 266 h 266"/>
                  <a:gd name="T2" fmla="*/ 95 w 845"/>
                  <a:gd name="T3" fmla="*/ 263 h 266"/>
                  <a:gd name="T4" fmla="*/ 0 w 845"/>
                  <a:gd name="T5" fmla="*/ 167 h 266"/>
                  <a:gd name="T6" fmla="*/ 0 w 845"/>
                  <a:gd name="T7" fmla="*/ 96 h 266"/>
                  <a:gd name="T8" fmla="*/ 95 w 845"/>
                  <a:gd name="T9" fmla="*/ 0 h 266"/>
                  <a:gd name="T10" fmla="*/ 821 w 845"/>
                  <a:gd name="T11" fmla="*/ 3 h 266"/>
                  <a:gd name="T12" fmla="*/ 845 w 845"/>
                  <a:gd name="T13" fmla="*/ 266 h 266"/>
                </a:gdLst>
                <a:ahLst/>
                <a:cxnLst>
                  <a:cxn ang="0">
                    <a:pos x="T0" y="T1"/>
                  </a:cxn>
                  <a:cxn ang="0">
                    <a:pos x="T2" y="T3"/>
                  </a:cxn>
                  <a:cxn ang="0">
                    <a:pos x="T4" y="T5"/>
                  </a:cxn>
                  <a:cxn ang="0">
                    <a:pos x="T6" y="T7"/>
                  </a:cxn>
                  <a:cxn ang="0">
                    <a:pos x="T8" y="T9"/>
                  </a:cxn>
                  <a:cxn ang="0">
                    <a:pos x="T10" y="T11"/>
                  </a:cxn>
                  <a:cxn ang="0">
                    <a:pos x="T12" y="T13"/>
                  </a:cxn>
                </a:cxnLst>
                <a:rect l="0" t="0" r="r" b="b"/>
                <a:pathLst>
                  <a:path w="845" h="266">
                    <a:moveTo>
                      <a:pt x="845" y="266"/>
                    </a:moveTo>
                    <a:cubicBezTo>
                      <a:pt x="95" y="263"/>
                      <a:pt x="95" y="263"/>
                      <a:pt x="95" y="263"/>
                    </a:cubicBezTo>
                    <a:cubicBezTo>
                      <a:pt x="43" y="263"/>
                      <a:pt x="0" y="220"/>
                      <a:pt x="0" y="167"/>
                    </a:cubicBezTo>
                    <a:cubicBezTo>
                      <a:pt x="0" y="96"/>
                      <a:pt x="0" y="96"/>
                      <a:pt x="0" y="96"/>
                    </a:cubicBezTo>
                    <a:cubicBezTo>
                      <a:pt x="0" y="43"/>
                      <a:pt x="43" y="0"/>
                      <a:pt x="95" y="0"/>
                    </a:cubicBezTo>
                    <a:cubicBezTo>
                      <a:pt x="821" y="3"/>
                      <a:pt x="821" y="3"/>
                      <a:pt x="821" y="3"/>
                    </a:cubicBezTo>
                    <a:lnTo>
                      <a:pt x="845" y="266"/>
                    </a:lnTo>
                    <a:close/>
                  </a:path>
                </a:pathLst>
              </a:custGeom>
              <a:solidFill>
                <a:srgbClr val="E1E9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31" name="Freeform 672"/>
              <p:cNvSpPr>
                <a:spLocks/>
              </p:cNvSpPr>
              <p:nvPr/>
            </p:nvSpPr>
            <p:spPr bwMode="auto">
              <a:xfrm>
                <a:off x="1506539" y="6002338"/>
                <a:ext cx="1765300" cy="201613"/>
              </a:xfrm>
              <a:custGeom>
                <a:avLst/>
                <a:gdLst>
                  <a:gd name="T0" fmla="*/ 0 w 845"/>
                  <a:gd name="T1" fmla="*/ 0 h 96"/>
                  <a:gd name="T2" fmla="*/ 95 w 845"/>
                  <a:gd name="T3" fmla="*/ 93 h 96"/>
                  <a:gd name="T4" fmla="*/ 845 w 845"/>
                  <a:gd name="T5" fmla="*/ 96 h 96"/>
                  <a:gd name="T6" fmla="*/ 837 w 845"/>
                  <a:gd name="T7" fmla="*/ 3 h 96"/>
                  <a:gd name="T8" fmla="*/ 0 w 845"/>
                  <a:gd name="T9" fmla="*/ 0 h 96"/>
                </a:gdLst>
                <a:ahLst/>
                <a:cxnLst>
                  <a:cxn ang="0">
                    <a:pos x="T0" y="T1"/>
                  </a:cxn>
                  <a:cxn ang="0">
                    <a:pos x="T2" y="T3"/>
                  </a:cxn>
                  <a:cxn ang="0">
                    <a:pos x="T4" y="T5"/>
                  </a:cxn>
                  <a:cxn ang="0">
                    <a:pos x="T6" y="T7"/>
                  </a:cxn>
                  <a:cxn ang="0">
                    <a:pos x="T8" y="T9"/>
                  </a:cxn>
                </a:cxnLst>
                <a:rect l="0" t="0" r="r" b="b"/>
                <a:pathLst>
                  <a:path w="845" h="96">
                    <a:moveTo>
                      <a:pt x="0" y="0"/>
                    </a:moveTo>
                    <a:cubicBezTo>
                      <a:pt x="2" y="51"/>
                      <a:pt x="44" y="93"/>
                      <a:pt x="95" y="93"/>
                    </a:cubicBezTo>
                    <a:cubicBezTo>
                      <a:pt x="845" y="96"/>
                      <a:pt x="845" y="96"/>
                      <a:pt x="845" y="96"/>
                    </a:cubicBezTo>
                    <a:cubicBezTo>
                      <a:pt x="837" y="3"/>
                      <a:pt x="837" y="3"/>
                      <a:pt x="837" y="3"/>
                    </a:cubicBezTo>
                    <a:lnTo>
                      <a:pt x="0" y="0"/>
                    </a:lnTo>
                    <a:close/>
                  </a:path>
                </a:pathLst>
              </a:cu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32" name="Freeform 673"/>
              <p:cNvSpPr>
                <a:spLocks/>
              </p:cNvSpPr>
              <p:nvPr/>
            </p:nvSpPr>
            <p:spPr bwMode="auto">
              <a:xfrm>
                <a:off x="4484689" y="5365750"/>
                <a:ext cx="311150" cy="496888"/>
              </a:xfrm>
              <a:custGeom>
                <a:avLst/>
                <a:gdLst>
                  <a:gd name="T0" fmla="*/ 0 w 149"/>
                  <a:gd name="T1" fmla="*/ 163 h 238"/>
                  <a:gd name="T2" fmla="*/ 30 w 149"/>
                  <a:gd name="T3" fmla="*/ 225 h 238"/>
                  <a:gd name="T4" fmla="*/ 148 w 149"/>
                  <a:gd name="T5" fmla="*/ 37 h 238"/>
                  <a:gd name="T6" fmla="*/ 128 w 149"/>
                  <a:gd name="T7" fmla="*/ 2 h 238"/>
                  <a:gd name="T8" fmla="*/ 26 w 149"/>
                  <a:gd name="T9" fmla="*/ 129 h 238"/>
                  <a:gd name="T10" fmla="*/ 0 w 149"/>
                  <a:gd name="T11" fmla="*/ 163 h 238"/>
                </a:gdLst>
                <a:ahLst/>
                <a:cxnLst>
                  <a:cxn ang="0">
                    <a:pos x="T0" y="T1"/>
                  </a:cxn>
                  <a:cxn ang="0">
                    <a:pos x="T2" y="T3"/>
                  </a:cxn>
                  <a:cxn ang="0">
                    <a:pos x="T4" y="T5"/>
                  </a:cxn>
                  <a:cxn ang="0">
                    <a:pos x="T6" y="T7"/>
                  </a:cxn>
                  <a:cxn ang="0">
                    <a:pos x="T8" y="T9"/>
                  </a:cxn>
                  <a:cxn ang="0">
                    <a:pos x="T10" y="T11"/>
                  </a:cxn>
                </a:cxnLst>
                <a:rect l="0" t="0" r="r" b="b"/>
                <a:pathLst>
                  <a:path w="149" h="238">
                    <a:moveTo>
                      <a:pt x="0" y="163"/>
                    </a:moveTo>
                    <a:cubicBezTo>
                      <a:pt x="20" y="187"/>
                      <a:pt x="16" y="238"/>
                      <a:pt x="30" y="225"/>
                    </a:cubicBezTo>
                    <a:cubicBezTo>
                      <a:pt x="84" y="175"/>
                      <a:pt x="149" y="80"/>
                      <a:pt x="148" y="37"/>
                    </a:cubicBezTo>
                    <a:cubicBezTo>
                      <a:pt x="147" y="9"/>
                      <a:pt x="138" y="3"/>
                      <a:pt x="128" y="2"/>
                    </a:cubicBezTo>
                    <a:cubicBezTo>
                      <a:pt x="87" y="0"/>
                      <a:pt x="71" y="65"/>
                      <a:pt x="26" y="129"/>
                    </a:cubicBezTo>
                    <a:lnTo>
                      <a:pt x="0" y="163"/>
                    </a:lnTo>
                    <a:close/>
                  </a:path>
                </a:pathLst>
              </a:custGeom>
              <a:solidFill>
                <a:srgbClr val="C4CC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33" name="Freeform 674"/>
              <p:cNvSpPr>
                <a:spLocks/>
              </p:cNvSpPr>
              <p:nvPr/>
            </p:nvSpPr>
            <p:spPr bwMode="auto">
              <a:xfrm>
                <a:off x="4087814" y="5681663"/>
                <a:ext cx="127000" cy="149225"/>
              </a:xfrm>
              <a:custGeom>
                <a:avLst/>
                <a:gdLst>
                  <a:gd name="T0" fmla="*/ 41 w 61"/>
                  <a:gd name="T1" fmla="*/ 70 h 72"/>
                  <a:gd name="T2" fmla="*/ 19 w 61"/>
                  <a:gd name="T3" fmla="*/ 62 h 72"/>
                  <a:gd name="T4" fmla="*/ 8 w 61"/>
                  <a:gd name="T5" fmla="*/ 21 h 72"/>
                  <a:gd name="T6" fmla="*/ 19 w 61"/>
                  <a:gd name="T7" fmla="*/ 35 h 72"/>
                  <a:gd name="T8" fmla="*/ 17 w 61"/>
                  <a:gd name="T9" fmla="*/ 11 h 72"/>
                  <a:gd name="T10" fmla="*/ 21 w 61"/>
                  <a:gd name="T11" fmla="*/ 1 h 72"/>
                  <a:gd name="T12" fmla="*/ 27 w 61"/>
                  <a:gd name="T13" fmla="*/ 7 h 72"/>
                  <a:gd name="T14" fmla="*/ 36 w 61"/>
                  <a:gd name="T15" fmla="*/ 11 h 72"/>
                  <a:gd name="T16" fmla="*/ 44 w 61"/>
                  <a:gd name="T17" fmla="*/ 14 h 72"/>
                  <a:gd name="T18" fmla="*/ 51 w 61"/>
                  <a:gd name="T19" fmla="*/ 18 h 72"/>
                  <a:gd name="T20" fmla="*/ 57 w 61"/>
                  <a:gd name="T21" fmla="*/ 43 h 72"/>
                  <a:gd name="T22" fmla="*/ 41 w 61"/>
                  <a:gd name="T23" fmla="*/ 7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72">
                    <a:moveTo>
                      <a:pt x="41" y="70"/>
                    </a:moveTo>
                    <a:cubicBezTo>
                      <a:pt x="41" y="70"/>
                      <a:pt x="24" y="72"/>
                      <a:pt x="19" y="62"/>
                    </a:cubicBezTo>
                    <a:cubicBezTo>
                      <a:pt x="13" y="53"/>
                      <a:pt x="0" y="25"/>
                      <a:pt x="8" y="21"/>
                    </a:cubicBezTo>
                    <a:cubicBezTo>
                      <a:pt x="12" y="20"/>
                      <a:pt x="15" y="21"/>
                      <a:pt x="19" y="35"/>
                    </a:cubicBezTo>
                    <a:cubicBezTo>
                      <a:pt x="19" y="35"/>
                      <a:pt x="19" y="21"/>
                      <a:pt x="17" y="11"/>
                    </a:cubicBezTo>
                    <a:cubicBezTo>
                      <a:pt x="14" y="2"/>
                      <a:pt x="18" y="0"/>
                      <a:pt x="21" y="1"/>
                    </a:cubicBezTo>
                    <a:cubicBezTo>
                      <a:pt x="23" y="1"/>
                      <a:pt x="26" y="3"/>
                      <a:pt x="27" y="7"/>
                    </a:cubicBezTo>
                    <a:cubicBezTo>
                      <a:pt x="27" y="7"/>
                      <a:pt x="33" y="5"/>
                      <a:pt x="36" y="11"/>
                    </a:cubicBezTo>
                    <a:cubicBezTo>
                      <a:pt x="36" y="11"/>
                      <a:pt x="42" y="9"/>
                      <a:pt x="44" y="14"/>
                    </a:cubicBezTo>
                    <a:cubicBezTo>
                      <a:pt x="44" y="14"/>
                      <a:pt x="48" y="13"/>
                      <a:pt x="51" y="18"/>
                    </a:cubicBezTo>
                    <a:cubicBezTo>
                      <a:pt x="53" y="22"/>
                      <a:pt x="57" y="34"/>
                      <a:pt x="57" y="43"/>
                    </a:cubicBezTo>
                    <a:cubicBezTo>
                      <a:pt x="58" y="53"/>
                      <a:pt x="61" y="69"/>
                      <a:pt x="41" y="70"/>
                    </a:cubicBezTo>
                    <a:close/>
                  </a:path>
                </a:pathLst>
              </a:custGeom>
              <a:solidFill>
                <a:srgbClr val="ECB8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34" name="Freeform 675"/>
              <p:cNvSpPr>
                <a:spLocks/>
              </p:cNvSpPr>
              <p:nvPr/>
            </p:nvSpPr>
            <p:spPr bwMode="auto">
              <a:xfrm>
                <a:off x="4143377" y="5695950"/>
                <a:ext cx="17463" cy="61913"/>
              </a:xfrm>
              <a:custGeom>
                <a:avLst/>
                <a:gdLst>
                  <a:gd name="T0" fmla="*/ 2 w 8"/>
                  <a:gd name="T1" fmla="*/ 0 h 30"/>
                  <a:gd name="T2" fmla="*/ 2 w 8"/>
                  <a:gd name="T3" fmla="*/ 0 h 30"/>
                  <a:gd name="T4" fmla="*/ 5 w 8"/>
                  <a:gd name="T5" fmla="*/ 30 h 30"/>
                  <a:gd name="T6" fmla="*/ 0 w 8"/>
                  <a:gd name="T7" fmla="*/ 0 h 30"/>
                  <a:gd name="T8" fmla="*/ 2 w 8"/>
                  <a:gd name="T9" fmla="*/ 0 h 30"/>
                </a:gdLst>
                <a:ahLst/>
                <a:cxnLst>
                  <a:cxn ang="0">
                    <a:pos x="T0" y="T1"/>
                  </a:cxn>
                  <a:cxn ang="0">
                    <a:pos x="T2" y="T3"/>
                  </a:cxn>
                  <a:cxn ang="0">
                    <a:pos x="T4" y="T5"/>
                  </a:cxn>
                  <a:cxn ang="0">
                    <a:pos x="T6" y="T7"/>
                  </a:cxn>
                  <a:cxn ang="0">
                    <a:pos x="T8" y="T9"/>
                  </a:cxn>
                </a:cxnLst>
                <a:rect l="0" t="0" r="r" b="b"/>
                <a:pathLst>
                  <a:path w="8" h="30">
                    <a:moveTo>
                      <a:pt x="2" y="0"/>
                    </a:moveTo>
                    <a:cubicBezTo>
                      <a:pt x="2" y="0"/>
                      <a:pt x="2" y="0"/>
                      <a:pt x="2" y="0"/>
                    </a:cubicBezTo>
                    <a:cubicBezTo>
                      <a:pt x="8" y="20"/>
                      <a:pt x="5" y="30"/>
                      <a:pt x="5" y="30"/>
                    </a:cubicBezTo>
                    <a:cubicBezTo>
                      <a:pt x="5" y="18"/>
                      <a:pt x="0" y="0"/>
                      <a:pt x="0" y="0"/>
                    </a:cubicBezTo>
                    <a:lnTo>
                      <a:pt x="2" y="0"/>
                    </a:lnTo>
                    <a:close/>
                  </a:path>
                </a:pathLst>
              </a:custGeom>
              <a:solidFill>
                <a:srgbClr val="B98F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35" name="Freeform 676"/>
              <p:cNvSpPr>
                <a:spLocks/>
              </p:cNvSpPr>
              <p:nvPr/>
            </p:nvSpPr>
            <p:spPr bwMode="auto">
              <a:xfrm>
                <a:off x="4162427" y="5703888"/>
                <a:ext cx="12700" cy="53975"/>
              </a:xfrm>
              <a:custGeom>
                <a:avLst/>
                <a:gdLst>
                  <a:gd name="T0" fmla="*/ 0 w 6"/>
                  <a:gd name="T1" fmla="*/ 0 h 26"/>
                  <a:gd name="T2" fmla="*/ 1 w 6"/>
                  <a:gd name="T3" fmla="*/ 0 h 26"/>
                  <a:gd name="T4" fmla="*/ 4 w 6"/>
                  <a:gd name="T5" fmla="*/ 26 h 26"/>
                  <a:gd name="T6" fmla="*/ 0 w 6"/>
                  <a:gd name="T7" fmla="*/ 0 h 26"/>
                </a:gdLst>
                <a:ahLst/>
                <a:cxnLst>
                  <a:cxn ang="0">
                    <a:pos x="T0" y="T1"/>
                  </a:cxn>
                  <a:cxn ang="0">
                    <a:pos x="T2" y="T3"/>
                  </a:cxn>
                  <a:cxn ang="0">
                    <a:pos x="T4" y="T5"/>
                  </a:cxn>
                  <a:cxn ang="0">
                    <a:pos x="T6" y="T7"/>
                  </a:cxn>
                </a:cxnLst>
                <a:rect l="0" t="0" r="r" b="b"/>
                <a:pathLst>
                  <a:path w="6" h="26">
                    <a:moveTo>
                      <a:pt x="0" y="0"/>
                    </a:moveTo>
                    <a:cubicBezTo>
                      <a:pt x="0" y="0"/>
                      <a:pt x="1" y="0"/>
                      <a:pt x="1" y="0"/>
                    </a:cubicBezTo>
                    <a:cubicBezTo>
                      <a:pt x="6" y="18"/>
                      <a:pt x="4" y="26"/>
                      <a:pt x="4" y="26"/>
                    </a:cubicBezTo>
                    <a:cubicBezTo>
                      <a:pt x="4" y="17"/>
                      <a:pt x="1" y="6"/>
                      <a:pt x="0" y="0"/>
                    </a:cubicBezTo>
                    <a:close/>
                  </a:path>
                </a:pathLst>
              </a:custGeom>
              <a:solidFill>
                <a:srgbClr val="B98F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36" name="Freeform 677"/>
              <p:cNvSpPr>
                <a:spLocks/>
              </p:cNvSpPr>
              <p:nvPr/>
            </p:nvSpPr>
            <p:spPr bwMode="auto">
              <a:xfrm>
                <a:off x="4179889" y="5710238"/>
                <a:ext cx="9525" cy="50800"/>
              </a:xfrm>
              <a:custGeom>
                <a:avLst/>
                <a:gdLst>
                  <a:gd name="T0" fmla="*/ 0 w 5"/>
                  <a:gd name="T1" fmla="*/ 0 h 24"/>
                  <a:gd name="T2" fmla="*/ 1 w 5"/>
                  <a:gd name="T3" fmla="*/ 0 h 24"/>
                  <a:gd name="T4" fmla="*/ 3 w 5"/>
                  <a:gd name="T5" fmla="*/ 24 h 24"/>
                  <a:gd name="T6" fmla="*/ 0 w 5"/>
                  <a:gd name="T7" fmla="*/ 0 h 24"/>
                </a:gdLst>
                <a:ahLst/>
                <a:cxnLst>
                  <a:cxn ang="0">
                    <a:pos x="T0" y="T1"/>
                  </a:cxn>
                  <a:cxn ang="0">
                    <a:pos x="T2" y="T3"/>
                  </a:cxn>
                  <a:cxn ang="0">
                    <a:pos x="T4" y="T5"/>
                  </a:cxn>
                  <a:cxn ang="0">
                    <a:pos x="T6" y="T7"/>
                  </a:cxn>
                </a:cxnLst>
                <a:rect l="0" t="0" r="r" b="b"/>
                <a:pathLst>
                  <a:path w="5" h="24">
                    <a:moveTo>
                      <a:pt x="0" y="0"/>
                    </a:moveTo>
                    <a:cubicBezTo>
                      <a:pt x="0" y="0"/>
                      <a:pt x="1" y="0"/>
                      <a:pt x="1" y="0"/>
                    </a:cubicBezTo>
                    <a:cubicBezTo>
                      <a:pt x="5" y="16"/>
                      <a:pt x="3" y="24"/>
                      <a:pt x="3" y="24"/>
                    </a:cubicBezTo>
                    <a:cubicBezTo>
                      <a:pt x="3" y="16"/>
                      <a:pt x="1" y="6"/>
                      <a:pt x="0" y="0"/>
                    </a:cubicBezTo>
                    <a:close/>
                  </a:path>
                </a:pathLst>
              </a:custGeom>
              <a:solidFill>
                <a:srgbClr val="B98F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37" name="Freeform 678"/>
              <p:cNvSpPr>
                <a:spLocks/>
              </p:cNvSpPr>
              <p:nvPr/>
            </p:nvSpPr>
            <p:spPr bwMode="auto">
              <a:xfrm>
                <a:off x="4175127" y="5738813"/>
                <a:ext cx="139700" cy="82550"/>
              </a:xfrm>
              <a:custGeom>
                <a:avLst/>
                <a:gdLst>
                  <a:gd name="T0" fmla="*/ 8 w 67"/>
                  <a:gd name="T1" fmla="*/ 38 h 39"/>
                  <a:gd name="T2" fmla="*/ 2 w 67"/>
                  <a:gd name="T3" fmla="*/ 24 h 39"/>
                  <a:gd name="T4" fmla="*/ 1 w 67"/>
                  <a:gd name="T5" fmla="*/ 13 h 39"/>
                  <a:gd name="T6" fmla="*/ 9 w 67"/>
                  <a:gd name="T7" fmla="*/ 9 h 39"/>
                  <a:gd name="T8" fmla="*/ 53 w 67"/>
                  <a:gd name="T9" fmla="*/ 3 h 39"/>
                  <a:gd name="T10" fmla="*/ 64 w 67"/>
                  <a:gd name="T11" fmla="*/ 5 h 39"/>
                  <a:gd name="T12" fmla="*/ 66 w 67"/>
                  <a:gd name="T13" fmla="*/ 25 h 39"/>
                  <a:gd name="T14" fmla="*/ 58 w 67"/>
                  <a:gd name="T15" fmla="*/ 39 h 39"/>
                  <a:gd name="T16" fmla="*/ 8 w 67"/>
                  <a:gd name="T17" fmla="*/ 3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39">
                    <a:moveTo>
                      <a:pt x="8" y="38"/>
                    </a:moveTo>
                    <a:cubicBezTo>
                      <a:pt x="3" y="38"/>
                      <a:pt x="3" y="30"/>
                      <a:pt x="2" y="24"/>
                    </a:cubicBezTo>
                    <a:cubicBezTo>
                      <a:pt x="1" y="13"/>
                      <a:pt x="1" y="13"/>
                      <a:pt x="1" y="13"/>
                    </a:cubicBezTo>
                    <a:cubicBezTo>
                      <a:pt x="0" y="8"/>
                      <a:pt x="4" y="9"/>
                      <a:pt x="9" y="9"/>
                    </a:cubicBezTo>
                    <a:cubicBezTo>
                      <a:pt x="53" y="3"/>
                      <a:pt x="53" y="3"/>
                      <a:pt x="53" y="3"/>
                    </a:cubicBezTo>
                    <a:cubicBezTo>
                      <a:pt x="58" y="3"/>
                      <a:pt x="63" y="0"/>
                      <a:pt x="64" y="5"/>
                    </a:cubicBezTo>
                    <a:cubicBezTo>
                      <a:pt x="66" y="25"/>
                      <a:pt x="66" y="25"/>
                      <a:pt x="66" y="25"/>
                    </a:cubicBezTo>
                    <a:cubicBezTo>
                      <a:pt x="67" y="31"/>
                      <a:pt x="63" y="39"/>
                      <a:pt x="58" y="39"/>
                    </a:cubicBezTo>
                    <a:lnTo>
                      <a:pt x="8" y="38"/>
                    </a:lnTo>
                    <a:close/>
                  </a:path>
                </a:pathLst>
              </a:custGeom>
              <a:solidFill>
                <a:srgbClr val="ECB8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38" name="Freeform 679"/>
              <p:cNvSpPr>
                <a:spLocks/>
              </p:cNvSpPr>
              <p:nvPr/>
            </p:nvSpPr>
            <p:spPr bwMode="auto">
              <a:xfrm>
                <a:off x="4219577" y="5689600"/>
                <a:ext cx="396875" cy="192088"/>
              </a:xfrm>
              <a:custGeom>
                <a:avLst/>
                <a:gdLst>
                  <a:gd name="T0" fmla="*/ 161 w 190"/>
                  <a:gd name="T1" fmla="*/ 47 h 92"/>
                  <a:gd name="T2" fmla="*/ 177 w 190"/>
                  <a:gd name="T3" fmla="*/ 4 h 92"/>
                  <a:gd name="T4" fmla="*/ 116 w 190"/>
                  <a:gd name="T5" fmla="*/ 10 h 92"/>
                  <a:gd name="T6" fmla="*/ 0 w 190"/>
                  <a:gd name="T7" fmla="*/ 28 h 92"/>
                  <a:gd name="T8" fmla="*/ 0 w 190"/>
                  <a:gd name="T9" fmla="*/ 69 h 92"/>
                  <a:gd name="T10" fmla="*/ 134 w 190"/>
                  <a:gd name="T11" fmla="*/ 79 h 92"/>
                  <a:gd name="T12" fmla="*/ 161 w 190"/>
                  <a:gd name="T13" fmla="*/ 47 h 92"/>
                </a:gdLst>
                <a:ahLst/>
                <a:cxnLst>
                  <a:cxn ang="0">
                    <a:pos x="T0" y="T1"/>
                  </a:cxn>
                  <a:cxn ang="0">
                    <a:pos x="T2" y="T3"/>
                  </a:cxn>
                  <a:cxn ang="0">
                    <a:pos x="T4" y="T5"/>
                  </a:cxn>
                  <a:cxn ang="0">
                    <a:pos x="T6" y="T7"/>
                  </a:cxn>
                  <a:cxn ang="0">
                    <a:pos x="T8" y="T9"/>
                  </a:cxn>
                  <a:cxn ang="0">
                    <a:pos x="T10" y="T11"/>
                  </a:cxn>
                  <a:cxn ang="0">
                    <a:pos x="T12" y="T13"/>
                  </a:cxn>
                </a:cxnLst>
                <a:rect l="0" t="0" r="r" b="b"/>
                <a:pathLst>
                  <a:path w="190" h="92">
                    <a:moveTo>
                      <a:pt x="161" y="47"/>
                    </a:moveTo>
                    <a:cubicBezTo>
                      <a:pt x="161" y="40"/>
                      <a:pt x="190" y="11"/>
                      <a:pt x="177" y="4"/>
                    </a:cubicBezTo>
                    <a:cubicBezTo>
                      <a:pt x="171" y="0"/>
                      <a:pt x="147" y="6"/>
                      <a:pt x="116" y="10"/>
                    </a:cubicBezTo>
                    <a:cubicBezTo>
                      <a:pt x="86" y="14"/>
                      <a:pt x="44" y="24"/>
                      <a:pt x="0" y="28"/>
                    </a:cubicBezTo>
                    <a:cubicBezTo>
                      <a:pt x="0" y="28"/>
                      <a:pt x="3" y="62"/>
                      <a:pt x="0" y="69"/>
                    </a:cubicBezTo>
                    <a:cubicBezTo>
                      <a:pt x="0" y="69"/>
                      <a:pt x="85" y="92"/>
                      <a:pt x="134" y="79"/>
                    </a:cubicBezTo>
                    <a:cubicBezTo>
                      <a:pt x="175" y="68"/>
                      <a:pt x="162" y="59"/>
                      <a:pt x="161" y="47"/>
                    </a:cubicBezTo>
                    <a:close/>
                  </a:path>
                </a:pathLst>
              </a:custGeom>
              <a:solidFill>
                <a:srgbClr val="C4CC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39" name="Freeform 680"/>
              <p:cNvSpPr>
                <a:spLocks/>
              </p:cNvSpPr>
              <p:nvPr/>
            </p:nvSpPr>
            <p:spPr bwMode="auto">
              <a:xfrm>
                <a:off x="4667252" y="5195888"/>
                <a:ext cx="174625" cy="287338"/>
              </a:xfrm>
              <a:custGeom>
                <a:avLst/>
                <a:gdLst>
                  <a:gd name="T0" fmla="*/ 84 w 84"/>
                  <a:gd name="T1" fmla="*/ 115 h 137"/>
                  <a:gd name="T2" fmla="*/ 39 w 84"/>
                  <a:gd name="T3" fmla="*/ 133 h 137"/>
                  <a:gd name="T4" fmla="*/ 11 w 84"/>
                  <a:gd name="T5" fmla="*/ 107 h 137"/>
                  <a:gd name="T6" fmla="*/ 0 w 84"/>
                  <a:gd name="T7" fmla="*/ 40 h 137"/>
                  <a:gd name="T8" fmla="*/ 39 w 84"/>
                  <a:gd name="T9" fmla="*/ 0 h 137"/>
                  <a:gd name="T10" fmla="*/ 84 w 84"/>
                  <a:gd name="T11" fmla="*/ 28 h 137"/>
                  <a:gd name="T12" fmla="*/ 84 w 84"/>
                  <a:gd name="T13" fmla="*/ 115 h 137"/>
                </a:gdLst>
                <a:ahLst/>
                <a:cxnLst>
                  <a:cxn ang="0">
                    <a:pos x="T0" y="T1"/>
                  </a:cxn>
                  <a:cxn ang="0">
                    <a:pos x="T2" y="T3"/>
                  </a:cxn>
                  <a:cxn ang="0">
                    <a:pos x="T4" y="T5"/>
                  </a:cxn>
                  <a:cxn ang="0">
                    <a:pos x="T6" y="T7"/>
                  </a:cxn>
                  <a:cxn ang="0">
                    <a:pos x="T8" y="T9"/>
                  </a:cxn>
                  <a:cxn ang="0">
                    <a:pos x="T10" y="T11"/>
                  </a:cxn>
                  <a:cxn ang="0">
                    <a:pos x="T12" y="T13"/>
                  </a:cxn>
                </a:cxnLst>
                <a:rect l="0" t="0" r="r" b="b"/>
                <a:pathLst>
                  <a:path w="84" h="137">
                    <a:moveTo>
                      <a:pt x="84" y="115"/>
                    </a:moveTo>
                    <a:cubicBezTo>
                      <a:pt x="84" y="137"/>
                      <a:pt x="61" y="133"/>
                      <a:pt x="39" y="133"/>
                    </a:cubicBezTo>
                    <a:cubicBezTo>
                      <a:pt x="17" y="133"/>
                      <a:pt x="11" y="128"/>
                      <a:pt x="11" y="107"/>
                    </a:cubicBezTo>
                    <a:cubicBezTo>
                      <a:pt x="0" y="40"/>
                      <a:pt x="0" y="40"/>
                      <a:pt x="0" y="40"/>
                    </a:cubicBezTo>
                    <a:cubicBezTo>
                      <a:pt x="0" y="18"/>
                      <a:pt x="17" y="0"/>
                      <a:pt x="39" y="0"/>
                    </a:cubicBezTo>
                    <a:cubicBezTo>
                      <a:pt x="61" y="0"/>
                      <a:pt x="84" y="7"/>
                      <a:pt x="84" y="28"/>
                    </a:cubicBezTo>
                    <a:cubicBezTo>
                      <a:pt x="84" y="115"/>
                      <a:pt x="84" y="115"/>
                      <a:pt x="84" y="115"/>
                    </a:cubicBezTo>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40" name="Freeform 681"/>
              <p:cNvSpPr>
                <a:spLocks noEditPoints="1"/>
              </p:cNvSpPr>
              <p:nvPr/>
            </p:nvSpPr>
            <p:spPr bwMode="auto">
              <a:xfrm>
                <a:off x="4667252" y="5195888"/>
                <a:ext cx="171450" cy="84138"/>
              </a:xfrm>
              <a:custGeom>
                <a:avLst/>
                <a:gdLst>
                  <a:gd name="T0" fmla="*/ 82 w 82"/>
                  <a:gd name="T1" fmla="*/ 18 h 40"/>
                  <a:gd name="T2" fmla="*/ 82 w 82"/>
                  <a:gd name="T3" fmla="*/ 17 h 40"/>
                  <a:gd name="T4" fmla="*/ 58 w 82"/>
                  <a:gd name="T5" fmla="*/ 2 h 40"/>
                  <a:gd name="T6" fmla="*/ 57 w 82"/>
                  <a:gd name="T7" fmla="*/ 2 h 40"/>
                  <a:gd name="T8" fmla="*/ 56 w 82"/>
                  <a:gd name="T9" fmla="*/ 2 h 40"/>
                  <a:gd name="T10" fmla="*/ 56 w 82"/>
                  <a:gd name="T11" fmla="*/ 2 h 40"/>
                  <a:gd name="T12" fmla="*/ 56 w 82"/>
                  <a:gd name="T13" fmla="*/ 1 h 40"/>
                  <a:gd name="T14" fmla="*/ 55 w 82"/>
                  <a:gd name="T15" fmla="*/ 1 h 40"/>
                  <a:gd name="T16" fmla="*/ 55 w 82"/>
                  <a:gd name="T17" fmla="*/ 1 h 40"/>
                  <a:gd name="T18" fmla="*/ 55 w 82"/>
                  <a:gd name="T19" fmla="*/ 1 h 40"/>
                  <a:gd name="T20" fmla="*/ 54 w 82"/>
                  <a:gd name="T21" fmla="*/ 1 h 40"/>
                  <a:gd name="T22" fmla="*/ 54 w 82"/>
                  <a:gd name="T23" fmla="*/ 1 h 40"/>
                  <a:gd name="T24" fmla="*/ 54 w 82"/>
                  <a:gd name="T25" fmla="*/ 1 h 40"/>
                  <a:gd name="T26" fmla="*/ 53 w 82"/>
                  <a:gd name="T27" fmla="*/ 1 h 40"/>
                  <a:gd name="T28" fmla="*/ 53 w 82"/>
                  <a:gd name="T29" fmla="*/ 1 h 40"/>
                  <a:gd name="T30" fmla="*/ 53 w 82"/>
                  <a:gd name="T31" fmla="*/ 1 h 40"/>
                  <a:gd name="T32" fmla="*/ 53 w 82"/>
                  <a:gd name="T33" fmla="*/ 1 h 40"/>
                  <a:gd name="T34" fmla="*/ 52 w 82"/>
                  <a:gd name="T35" fmla="*/ 1 h 40"/>
                  <a:gd name="T36" fmla="*/ 52 w 82"/>
                  <a:gd name="T37" fmla="*/ 1 h 40"/>
                  <a:gd name="T38" fmla="*/ 52 w 82"/>
                  <a:gd name="T39" fmla="*/ 1 h 40"/>
                  <a:gd name="T40" fmla="*/ 51 w 82"/>
                  <a:gd name="T41" fmla="*/ 1 h 40"/>
                  <a:gd name="T42" fmla="*/ 51 w 82"/>
                  <a:gd name="T43" fmla="*/ 1 h 40"/>
                  <a:gd name="T44" fmla="*/ 50 w 82"/>
                  <a:gd name="T45" fmla="*/ 1 h 40"/>
                  <a:gd name="T46" fmla="*/ 50 w 82"/>
                  <a:gd name="T47" fmla="*/ 1 h 40"/>
                  <a:gd name="T48" fmla="*/ 50 w 82"/>
                  <a:gd name="T49" fmla="*/ 1 h 40"/>
                  <a:gd name="T50" fmla="*/ 49 w 82"/>
                  <a:gd name="T51" fmla="*/ 1 h 40"/>
                  <a:gd name="T52" fmla="*/ 49 w 82"/>
                  <a:gd name="T53" fmla="*/ 1 h 40"/>
                  <a:gd name="T54" fmla="*/ 49 w 82"/>
                  <a:gd name="T55" fmla="*/ 1 h 40"/>
                  <a:gd name="T56" fmla="*/ 48 w 82"/>
                  <a:gd name="T57" fmla="*/ 0 h 40"/>
                  <a:gd name="T58" fmla="*/ 48 w 82"/>
                  <a:gd name="T59" fmla="*/ 0 h 40"/>
                  <a:gd name="T60" fmla="*/ 48 w 82"/>
                  <a:gd name="T61" fmla="*/ 0 h 40"/>
                  <a:gd name="T62" fmla="*/ 47 w 82"/>
                  <a:gd name="T63" fmla="*/ 0 h 40"/>
                  <a:gd name="T64" fmla="*/ 47 w 82"/>
                  <a:gd name="T65" fmla="*/ 0 h 40"/>
                  <a:gd name="T66" fmla="*/ 47 w 82"/>
                  <a:gd name="T67" fmla="*/ 0 h 40"/>
                  <a:gd name="T68" fmla="*/ 46 w 82"/>
                  <a:gd name="T69" fmla="*/ 0 h 40"/>
                  <a:gd name="T70" fmla="*/ 46 w 82"/>
                  <a:gd name="T71" fmla="*/ 0 h 40"/>
                  <a:gd name="T72" fmla="*/ 46 w 82"/>
                  <a:gd name="T73" fmla="*/ 0 h 40"/>
                  <a:gd name="T74" fmla="*/ 45 w 82"/>
                  <a:gd name="T75" fmla="*/ 0 h 40"/>
                  <a:gd name="T76" fmla="*/ 45 w 82"/>
                  <a:gd name="T77" fmla="*/ 0 h 40"/>
                  <a:gd name="T78" fmla="*/ 45 w 82"/>
                  <a:gd name="T79" fmla="*/ 0 h 40"/>
                  <a:gd name="T80" fmla="*/ 44 w 82"/>
                  <a:gd name="T81" fmla="*/ 0 h 40"/>
                  <a:gd name="T82" fmla="*/ 44 w 82"/>
                  <a:gd name="T83" fmla="*/ 0 h 40"/>
                  <a:gd name="T84" fmla="*/ 44 w 82"/>
                  <a:gd name="T85" fmla="*/ 0 h 40"/>
                  <a:gd name="T86" fmla="*/ 43 w 82"/>
                  <a:gd name="T87" fmla="*/ 0 h 40"/>
                  <a:gd name="T88" fmla="*/ 43 w 82"/>
                  <a:gd name="T89" fmla="*/ 0 h 40"/>
                  <a:gd name="T90" fmla="*/ 43 w 82"/>
                  <a:gd name="T91" fmla="*/ 0 h 40"/>
                  <a:gd name="T92" fmla="*/ 42 w 82"/>
                  <a:gd name="T93" fmla="*/ 0 h 40"/>
                  <a:gd name="T94" fmla="*/ 42 w 82"/>
                  <a:gd name="T95" fmla="*/ 0 h 40"/>
                  <a:gd name="T96" fmla="*/ 41 w 82"/>
                  <a:gd name="T97" fmla="*/ 0 h 40"/>
                  <a:gd name="T98" fmla="*/ 41 w 82"/>
                  <a:gd name="T99" fmla="*/ 0 h 40"/>
                  <a:gd name="T100" fmla="*/ 41 w 82"/>
                  <a:gd name="T101" fmla="*/ 0 h 40"/>
                  <a:gd name="T102" fmla="*/ 40 w 82"/>
                  <a:gd name="T103" fmla="*/ 0 h 40"/>
                  <a:gd name="T104" fmla="*/ 40 w 82"/>
                  <a:gd name="T105" fmla="*/ 0 h 40"/>
                  <a:gd name="T106" fmla="*/ 40 w 82"/>
                  <a:gd name="T107" fmla="*/ 0 h 40"/>
                  <a:gd name="T108" fmla="*/ 39 w 82"/>
                  <a:gd name="T109" fmla="*/ 0 h 40"/>
                  <a:gd name="T110" fmla="*/ 39 w 82"/>
                  <a:gd name="T11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 h="40">
                    <a:moveTo>
                      <a:pt x="82" y="18"/>
                    </a:moveTo>
                    <a:cubicBezTo>
                      <a:pt x="82" y="18"/>
                      <a:pt x="82" y="18"/>
                      <a:pt x="82" y="18"/>
                    </a:cubicBezTo>
                    <a:cubicBezTo>
                      <a:pt x="82" y="18"/>
                      <a:pt x="82" y="18"/>
                      <a:pt x="82" y="18"/>
                    </a:cubicBezTo>
                    <a:cubicBezTo>
                      <a:pt x="82" y="18"/>
                      <a:pt x="82" y="18"/>
                      <a:pt x="82" y="18"/>
                    </a:cubicBezTo>
                    <a:moveTo>
                      <a:pt x="82" y="18"/>
                    </a:moveTo>
                    <a:cubicBezTo>
                      <a:pt x="82" y="18"/>
                      <a:pt x="82" y="18"/>
                      <a:pt x="82" y="18"/>
                    </a:cubicBezTo>
                    <a:cubicBezTo>
                      <a:pt x="82" y="18"/>
                      <a:pt x="82" y="18"/>
                      <a:pt x="82" y="18"/>
                    </a:cubicBezTo>
                    <a:moveTo>
                      <a:pt x="82" y="17"/>
                    </a:moveTo>
                    <a:cubicBezTo>
                      <a:pt x="82" y="18"/>
                      <a:pt x="82" y="18"/>
                      <a:pt x="82" y="18"/>
                    </a:cubicBezTo>
                    <a:cubicBezTo>
                      <a:pt x="82" y="18"/>
                      <a:pt x="82" y="18"/>
                      <a:pt x="82" y="17"/>
                    </a:cubicBezTo>
                    <a:moveTo>
                      <a:pt x="82" y="17"/>
                    </a:moveTo>
                    <a:cubicBezTo>
                      <a:pt x="82" y="17"/>
                      <a:pt x="82" y="17"/>
                      <a:pt x="82" y="17"/>
                    </a:cubicBezTo>
                    <a:cubicBezTo>
                      <a:pt x="82" y="17"/>
                      <a:pt x="82" y="17"/>
                      <a:pt x="82" y="17"/>
                    </a:cubicBezTo>
                    <a:moveTo>
                      <a:pt x="82" y="17"/>
                    </a:moveTo>
                    <a:cubicBezTo>
                      <a:pt x="82" y="17"/>
                      <a:pt x="82" y="17"/>
                      <a:pt x="82" y="17"/>
                    </a:cubicBezTo>
                    <a:cubicBezTo>
                      <a:pt x="82" y="17"/>
                      <a:pt x="82" y="17"/>
                      <a:pt x="82" y="17"/>
                    </a:cubicBezTo>
                    <a:moveTo>
                      <a:pt x="58" y="2"/>
                    </a:moveTo>
                    <a:cubicBezTo>
                      <a:pt x="58" y="2"/>
                      <a:pt x="58" y="2"/>
                      <a:pt x="58" y="2"/>
                    </a:cubicBezTo>
                    <a:cubicBezTo>
                      <a:pt x="58" y="2"/>
                      <a:pt x="58" y="2"/>
                      <a:pt x="58" y="2"/>
                    </a:cubicBezTo>
                    <a:moveTo>
                      <a:pt x="58" y="2"/>
                    </a:moveTo>
                    <a:cubicBezTo>
                      <a:pt x="58" y="2"/>
                      <a:pt x="58" y="2"/>
                      <a:pt x="58" y="2"/>
                    </a:cubicBezTo>
                    <a:cubicBezTo>
                      <a:pt x="58" y="2"/>
                      <a:pt x="58" y="2"/>
                      <a:pt x="58" y="2"/>
                    </a:cubicBezTo>
                    <a:moveTo>
                      <a:pt x="57" y="2"/>
                    </a:moveTo>
                    <a:cubicBezTo>
                      <a:pt x="57" y="2"/>
                      <a:pt x="57" y="2"/>
                      <a:pt x="57" y="2"/>
                    </a:cubicBezTo>
                    <a:cubicBezTo>
                      <a:pt x="57" y="2"/>
                      <a:pt x="57" y="2"/>
                      <a:pt x="57" y="2"/>
                    </a:cubicBezTo>
                    <a:moveTo>
                      <a:pt x="57" y="2"/>
                    </a:moveTo>
                    <a:cubicBezTo>
                      <a:pt x="57" y="2"/>
                      <a:pt x="57" y="2"/>
                      <a:pt x="57" y="2"/>
                    </a:cubicBezTo>
                    <a:cubicBezTo>
                      <a:pt x="57" y="2"/>
                      <a:pt x="57" y="2"/>
                      <a:pt x="57" y="2"/>
                    </a:cubicBezTo>
                    <a:moveTo>
                      <a:pt x="56" y="2"/>
                    </a:moveTo>
                    <a:cubicBezTo>
                      <a:pt x="56" y="2"/>
                      <a:pt x="56" y="2"/>
                      <a:pt x="56" y="2"/>
                    </a:cubicBezTo>
                    <a:cubicBezTo>
                      <a:pt x="56" y="2"/>
                      <a:pt x="56" y="2"/>
                      <a:pt x="56" y="2"/>
                    </a:cubicBezTo>
                    <a:moveTo>
                      <a:pt x="56" y="2"/>
                    </a:moveTo>
                    <a:cubicBezTo>
                      <a:pt x="56" y="2"/>
                      <a:pt x="56" y="2"/>
                      <a:pt x="56" y="2"/>
                    </a:cubicBezTo>
                    <a:cubicBezTo>
                      <a:pt x="56" y="2"/>
                      <a:pt x="56" y="2"/>
                      <a:pt x="56" y="2"/>
                    </a:cubicBezTo>
                    <a:moveTo>
                      <a:pt x="56" y="2"/>
                    </a:moveTo>
                    <a:cubicBezTo>
                      <a:pt x="56" y="2"/>
                      <a:pt x="56" y="2"/>
                      <a:pt x="56" y="2"/>
                    </a:cubicBezTo>
                    <a:cubicBezTo>
                      <a:pt x="56" y="2"/>
                      <a:pt x="56" y="2"/>
                      <a:pt x="56" y="2"/>
                    </a:cubicBezTo>
                    <a:moveTo>
                      <a:pt x="56" y="2"/>
                    </a:moveTo>
                    <a:cubicBezTo>
                      <a:pt x="56" y="2"/>
                      <a:pt x="56" y="2"/>
                      <a:pt x="56" y="2"/>
                    </a:cubicBezTo>
                    <a:cubicBezTo>
                      <a:pt x="56" y="2"/>
                      <a:pt x="56" y="2"/>
                      <a:pt x="56" y="2"/>
                    </a:cubicBezTo>
                    <a:moveTo>
                      <a:pt x="56" y="2"/>
                    </a:moveTo>
                    <a:cubicBezTo>
                      <a:pt x="56" y="2"/>
                      <a:pt x="56" y="2"/>
                      <a:pt x="56" y="2"/>
                    </a:cubicBezTo>
                    <a:cubicBezTo>
                      <a:pt x="56" y="2"/>
                      <a:pt x="56" y="2"/>
                      <a:pt x="56" y="2"/>
                    </a:cubicBezTo>
                    <a:moveTo>
                      <a:pt x="56" y="2"/>
                    </a:moveTo>
                    <a:cubicBezTo>
                      <a:pt x="56" y="2"/>
                      <a:pt x="56" y="2"/>
                      <a:pt x="56" y="2"/>
                    </a:cubicBezTo>
                    <a:cubicBezTo>
                      <a:pt x="56" y="2"/>
                      <a:pt x="56" y="2"/>
                      <a:pt x="56" y="2"/>
                    </a:cubicBezTo>
                    <a:moveTo>
                      <a:pt x="56" y="1"/>
                    </a:moveTo>
                    <a:cubicBezTo>
                      <a:pt x="56" y="2"/>
                      <a:pt x="56" y="2"/>
                      <a:pt x="56" y="2"/>
                    </a:cubicBezTo>
                    <a:cubicBezTo>
                      <a:pt x="56" y="2"/>
                      <a:pt x="56" y="2"/>
                      <a:pt x="56" y="1"/>
                    </a:cubicBezTo>
                    <a:moveTo>
                      <a:pt x="55" y="1"/>
                    </a:moveTo>
                    <a:cubicBezTo>
                      <a:pt x="55" y="1"/>
                      <a:pt x="55" y="1"/>
                      <a:pt x="55" y="1"/>
                    </a:cubicBezTo>
                    <a:cubicBezTo>
                      <a:pt x="55" y="1"/>
                      <a:pt x="55" y="1"/>
                      <a:pt x="55" y="1"/>
                    </a:cubicBezTo>
                    <a:moveTo>
                      <a:pt x="55" y="1"/>
                    </a:moveTo>
                    <a:cubicBezTo>
                      <a:pt x="55" y="1"/>
                      <a:pt x="55" y="1"/>
                      <a:pt x="55" y="1"/>
                    </a:cubicBezTo>
                    <a:cubicBezTo>
                      <a:pt x="55" y="1"/>
                      <a:pt x="55" y="1"/>
                      <a:pt x="55" y="1"/>
                    </a:cubicBezTo>
                    <a:moveTo>
                      <a:pt x="55" y="1"/>
                    </a:moveTo>
                    <a:cubicBezTo>
                      <a:pt x="55" y="1"/>
                      <a:pt x="55" y="1"/>
                      <a:pt x="55" y="1"/>
                    </a:cubicBezTo>
                    <a:cubicBezTo>
                      <a:pt x="55" y="1"/>
                      <a:pt x="55" y="1"/>
                      <a:pt x="55" y="1"/>
                    </a:cubicBezTo>
                    <a:moveTo>
                      <a:pt x="55" y="1"/>
                    </a:moveTo>
                    <a:cubicBezTo>
                      <a:pt x="55" y="1"/>
                      <a:pt x="55" y="1"/>
                      <a:pt x="55" y="1"/>
                    </a:cubicBezTo>
                    <a:cubicBezTo>
                      <a:pt x="55" y="1"/>
                      <a:pt x="55" y="1"/>
                      <a:pt x="55" y="1"/>
                    </a:cubicBezTo>
                    <a:moveTo>
                      <a:pt x="55" y="1"/>
                    </a:moveTo>
                    <a:cubicBezTo>
                      <a:pt x="55" y="1"/>
                      <a:pt x="55" y="1"/>
                      <a:pt x="55" y="1"/>
                    </a:cubicBezTo>
                    <a:cubicBezTo>
                      <a:pt x="55" y="1"/>
                      <a:pt x="55" y="1"/>
                      <a:pt x="55" y="1"/>
                    </a:cubicBezTo>
                    <a:moveTo>
                      <a:pt x="55" y="1"/>
                    </a:moveTo>
                    <a:cubicBezTo>
                      <a:pt x="55" y="1"/>
                      <a:pt x="55" y="1"/>
                      <a:pt x="55" y="1"/>
                    </a:cubicBezTo>
                    <a:cubicBezTo>
                      <a:pt x="55" y="1"/>
                      <a:pt x="55" y="1"/>
                      <a:pt x="55" y="1"/>
                    </a:cubicBezTo>
                    <a:moveTo>
                      <a:pt x="55" y="1"/>
                    </a:moveTo>
                    <a:cubicBezTo>
                      <a:pt x="55" y="1"/>
                      <a:pt x="55" y="1"/>
                      <a:pt x="55" y="1"/>
                    </a:cubicBezTo>
                    <a:cubicBezTo>
                      <a:pt x="55" y="1"/>
                      <a:pt x="55" y="1"/>
                      <a:pt x="55" y="1"/>
                    </a:cubicBezTo>
                    <a:moveTo>
                      <a:pt x="55" y="1"/>
                    </a:moveTo>
                    <a:cubicBezTo>
                      <a:pt x="55" y="1"/>
                      <a:pt x="55" y="1"/>
                      <a:pt x="55" y="1"/>
                    </a:cubicBezTo>
                    <a:cubicBezTo>
                      <a:pt x="55" y="1"/>
                      <a:pt x="55" y="1"/>
                      <a:pt x="55" y="1"/>
                    </a:cubicBezTo>
                    <a:moveTo>
                      <a:pt x="54" y="1"/>
                    </a:moveTo>
                    <a:cubicBezTo>
                      <a:pt x="54" y="1"/>
                      <a:pt x="54" y="1"/>
                      <a:pt x="54" y="1"/>
                    </a:cubicBezTo>
                    <a:cubicBezTo>
                      <a:pt x="54" y="1"/>
                      <a:pt x="54" y="1"/>
                      <a:pt x="54" y="1"/>
                    </a:cubicBezTo>
                    <a:moveTo>
                      <a:pt x="54" y="1"/>
                    </a:moveTo>
                    <a:cubicBezTo>
                      <a:pt x="54" y="1"/>
                      <a:pt x="54" y="1"/>
                      <a:pt x="54" y="1"/>
                    </a:cubicBezTo>
                    <a:cubicBezTo>
                      <a:pt x="54" y="1"/>
                      <a:pt x="54" y="1"/>
                      <a:pt x="54" y="1"/>
                    </a:cubicBezTo>
                    <a:moveTo>
                      <a:pt x="54" y="1"/>
                    </a:moveTo>
                    <a:cubicBezTo>
                      <a:pt x="54" y="1"/>
                      <a:pt x="54" y="1"/>
                      <a:pt x="54" y="1"/>
                    </a:cubicBezTo>
                    <a:cubicBezTo>
                      <a:pt x="54" y="1"/>
                      <a:pt x="54" y="1"/>
                      <a:pt x="54" y="1"/>
                    </a:cubicBezTo>
                    <a:moveTo>
                      <a:pt x="54" y="1"/>
                    </a:moveTo>
                    <a:cubicBezTo>
                      <a:pt x="54" y="1"/>
                      <a:pt x="54" y="1"/>
                      <a:pt x="54" y="1"/>
                    </a:cubicBezTo>
                    <a:cubicBezTo>
                      <a:pt x="54" y="1"/>
                      <a:pt x="54" y="1"/>
                      <a:pt x="54" y="1"/>
                    </a:cubicBezTo>
                    <a:moveTo>
                      <a:pt x="54" y="1"/>
                    </a:moveTo>
                    <a:cubicBezTo>
                      <a:pt x="54" y="1"/>
                      <a:pt x="54" y="1"/>
                      <a:pt x="54" y="1"/>
                    </a:cubicBezTo>
                    <a:cubicBezTo>
                      <a:pt x="54" y="1"/>
                      <a:pt x="54" y="1"/>
                      <a:pt x="54" y="1"/>
                    </a:cubicBezTo>
                    <a:moveTo>
                      <a:pt x="54" y="1"/>
                    </a:moveTo>
                    <a:cubicBezTo>
                      <a:pt x="54" y="1"/>
                      <a:pt x="54" y="1"/>
                      <a:pt x="54" y="1"/>
                    </a:cubicBezTo>
                    <a:cubicBezTo>
                      <a:pt x="54" y="1"/>
                      <a:pt x="54" y="1"/>
                      <a:pt x="54" y="1"/>
                    </a:cubicBezTo>
                    <a:moveTo>
                      <a:pt x="54" y="1"/>
                    </a:moveTo>
                    <a:cubicBezTo>
                      <a:pt x="54" y="1"/>
                      <a:pt x="54" y="1"/>
                      <a:pt x="54" y="1"/>
                    </a:cubicBezTo>
                    <a:cubicBezTo>
                      <a:pt x="54" y="1"/>
                      <a:pt x="54" y="1"/>
                      <a:pt x="54" y="1"/>
                    </a:cubicBezTo>
                    <a:moveTo>
                      <a:pt x="54" y="1"/>
                    </a:moveTo>
                    <a:cubicBezTo>
                      <a:pt x="54" y="1"/>
                      <a:pt x="54" y="1"/>
                      <a:pt x="54" y="1"/>
                    </a:cubicBezTo>
                    <a:cubicBezTo>
                      <a:pt x="54" y="1"/>
                      <a:pt x="54" y="1"/>
                      <a:pt x="54" y="1"/>
                    </a:cubicBezTo>
                    <a:moveTo>
                      <a:pt x="53" y="1"/>
                    </a:moveTo>
                    <a:cubicBezTo>
                      <a:pt x="53" y="1"/>
                      <a:pt x="53" y="1"/>
                      <a:pt x="53" y="1"/>
                    </a:cubicBezTo>
                    <a:cubicBezTo>
                      <a:pt x="53" y="1"/>
                      <a:pt x="53" y="1"/>
                      <a:pt x="53" y="1"/>
                    </a:cubicBezTo>
                    <a:moveTo>
                      <a:pt x="53" y="1"/>
                    </a:moveTo>
                    <a:cubicBezTo>
                      <a:pt x="53" y="1"/>
                      <a:pt x="53" y="1"/>
                      <a:pt x="53" y="1"/>
                    </a:cubicBezTo>
                    <a:cubicBezTo>
                      <a:pt x="53" y="1"/>
                      <a:pt x="53" y="1"/>
                      <a:pt x="53" y="1"/>
                    </a:cubicBezTo>
                    <a:moveTo>
                      <a:pt x="53" y="1"/>
                    </a:moveTo>
                    <a:cubicBezTo>
                      <a:pt x="53" y="1"/>
                      <a:pt x="53" y="1"/>
                      <a:pt x="53" y="1"/>
                    </a:cubicBezTo>
                    <a:cubicBezTo>
                      <a:pt x="53" y="1"/>
                      <a:pt x="53" y="1"/>
                      <a:pt x="53" y="1"/>
                    </a:cubicBezTo>
                    <a:moveTo>
                      <a:pt x="53" y="1"/>
                    </a:moveTo>
                    <a:cubicBezTo>
                      <a:pt x="53" y="1"/>
                      <a:pt x="53" y="1"/>
                      <a:pt x="53" y="1"/>
                    </a:cubicBezTo>
                    <a:cubicBezTo>
                      <a:pt x="53" y="1"/>
                      <a:pt x="53" y="1"/>
                      <a:pt x="53" y="1"/>
                    </a:cubicBezTo>
                    <a:moveTo>
                      <a:pt x="53" y="1"/>
                    </a:moveTo>
                    <a:cubicBezTo>
                      <a:pt x="53" y="1"/>
                      <a:pt x="53" y="1"/>
                      <a:pt x="53" y="1"/>
                    </a:cubicBezTo>
                    <a:cubicBezTo>
                      <a:pt x="53" y="1"/>
                      <a:pt x="53" y="1"/>
                      <a:pt x="53" y="1"/>
                    </a:cubicBezTo>
                    <a:moveTo>
                      <a:pt x="53" y="1"/>
                    </a:moveTo>
                    <a:cubicBezTo>
                      <a:pt x="53" y="1"/>
                      <a:pt x="53" y="1"/>
                      <a:pt x="53" y="1"/>
                    </a:cubicBezTo>
                    <a:cubicBezTo>
                      <a:pt x="53" y="1"/>
                      <a:pt x="53" y="1"/>
                      <a:pt x="53" y="1"/>
                    </a:cubicBezTo>
                    <a:moveTo>
                      <a:pt x="53" y="1"/>
                    </a:moveTo>
                    <a:cubicBezTo>
                      <a:pt x="53" y="1"/>
                      <a:pt x="53" y="1"/>
                      <a:pt x="53" y="1"/>
                    </a:cubicBezTo>
                    <a:cubicBezTo>
                      <a:pt x="53" y="1"/>
                      <a:pt x="53" y="1"/>
                      <a:pt x="53" y="1"/>
                    </a:cubicBezTo>
                    <a:moveTo>
                      <a:pt x="53" y="1"/>
                    </a:moveTo>
                    <a:cubicBezTo>
                      <a:pt x="53" y="1"/>
                      <a:pt x="53" y="1"/>
                      <a:pt x="53" y="1"/>
                    </a:cubicBezTo>
                    <a:cubicBezTo>
                      <a:pt x="53" y="1"/>
                      <a:pt x="53" y="1"/>
                      <a:pt x="53" y="1"/>
                    </a:cubicBezTo>
                    <a:moveTo>
                      <a:pt x="52" y="1"/>
                    </a:moveTo>
                    <a:cubicBezTo>
                      <a:pt x="52" y="1"/>
                      <a:pt x="52" y="1"/>
                      <a:pt x="52" y="1"/>
                    </a:cubicBezTo>
                    <a:cubicBezTo>
                      <a:pt x="52" y="1"/>
                      <a:pt x="52" y="1"/>
                      <a:pt x="52" y="1"/>
                    </a:cubicBezTo>
                    <a:moveTo>
                      <a:pt x="52" y="1"/>
                    </a:moveTo>
                    <a:cubicBezTo>
                      <a:pt x="52" y="1"/>
                      <a:pt x="52" y="1"/>
                      <a:pt x="52" y="1"/>
                    </a:cubicBezTo>
                    <a:cubicBezTo>
                      <a:pt x="52" y="1"/>
                      <a:pt x="52" y="1"/>
                      <a:pt x="52" y="1"/>
                    </a:cubicBezTo>
                    <a:moveTo>
                      <a:pt x="52" y="1"/>
                    </a:moveTo>
                    <a:cubicBezTo>
                      <a:pt x="52" y="1"/>
                      <a:pt x="52" y="1"/>
                      <a:pt x="52" y="1"/>
                    </a:cubicBezTo>
                    <a:cubicBezTo>
                      <a:pt x="52" y="1"/>
                      <a:pt x="52" y="1"/>
                      <a:pt x="52" y="1"/>
                    </a:cubicBezTo>
                    <a:moveTo>
                      <a:pt x="52" y="1"/>
                    </a:moveTo>
                    <a:cubicBezTo>
                      <a:pt x="52" y="1"/>
                      <a:pt x="52" y="1"/>
                      <a:pt x="52" y="1"/>
                    </a:cubicBezTo>
                    <a:cubicBezTo>
                      <a:pt x="52" y="1"/>
                      <a:pt x="52" y="1"/>
                      <a:pt x="52" y="1"/>
                    </a:cubicBezTo>
                    <a:moveTo>
                      <a:pt x="52" y="1"/>
                    </a:moveTo>
                    <a:cubicBezTo>
                      <a:pt x="52" y="1"/>
                      <a:pt x="52" y="1"/>
                      <a:pt x="52" y="1"/>
                    </a:cubicBezTo>
                    <a:cubicBezTo>
                      <a:pt x="52" y="1"/>
                      <a:pt x="52" y="1"/>
                      <a:pt x="52" y="1"/>
                    </a:cubicBezTo>
                    <a:moveTo>
                      <a:pt x="52" y="1"/>
                    </a:moveTo>
                    <a:cubicBezTo>
                      <a:pt x="52" y="1"/>
                      <a:pt x="52" y="1"/>
                      <a:pt x="52" y="1"/>
                    </a:cubicBezTo>
                    <a:cubicBezTo>
                      <a:pt x="52" y="1"/>
                      <a:pt x="52" y="1"/>
                      <a:pt x="52" y="1"/>
                    </a:cubicBezTo>
                    <a:moveTo>
                      <a:pt x="52" y="1"/>
                    </a:moveTo>
                    <a:cubicBezTo>
                      <a:pt x="52" y="1"/>
                      <a:pt x="52" y="1"/>
                      <a:pt x="52" y="1"/>
                    </a:cubicBezTo>
                    <a:cubicBezTo>
                      <a:pt x="52" y="1"/>
                      <a:pt x="52" y="1"/>
                      <a:pt x="52" y="1"/>
                    </a:cubicBezTo>
                    <a:moveTo>
                      <a:pt x="51" y="1"/>
                    </a:moveTo>
                    <a:cubicBezTo>
                      <a:pt x="51" y="1"/>
                      <a:pt x="51" y="1"/>
                      <a:pt x="51" y="1"/>
                    </a:cubicBezTo>
                    <a:cubicBezTo>
                      <a:pt x="51" y="1"/>
                      <a:pt x="51" y="1"/>
                      <a:pt x="51" y="1"/>
                    </a:cubicBezTo>
                    <a:moveTo>
                      <a:pt x="51" y="1"/>
                    </a:moveTo>
                    <a:cubicBezTo>
                      <a:pt x="51" y="1"/>
                      <a:pt x="51" y="1"/>
                      <a:pt x="51" y="1"/>
                    </a:cubicBezTo>
                    <a:cubicBezTo>
                      <a:pt x="51" y="1"/>
                      <a:pt x="51" y="1"/>
                      <a:pt x="51" y="1"/>
                    </a:cubicBezTo>
                    <a:moveTo>
                      <a:pt x="51" y="1"/>
                    </a:moveTo>
                    <a:cubicBezTo>
                      <a:pt x="51" y="1"/>
                      <a:pt x="51" y="1"/>
                      <a:pt x="51" y="1"/>
                    </a:cubicBezTo>
                    <a:cubicBezTo>
                      <a:pt x="51" y="1"/>
                      <a:pt x="51" y="1"/>
                      <a:pt x="51" y="1"/>
                    </a:cubicBezTo>
                    <a:moveTo>
                      <a:pt x="51" y="1"/>
                    </a:moveTo>
                    <a:cubicBezTo>
                      <a:pt x="51" y="1"/>
                      <a:pt x="51" y="1"/>
                      <a:pt x="51" y="1"/>
                    </a:cubicBezTo>
                    <a:cubicBezTo>
                      <a:pt x="51" y="1"/>
                      <a:pt x="51" y="1"/>
                      <a:pt x="51" y="1"/>
                    </a:cubicBezTo>
                    <a:moveTo>
                      <a:pt x="51" y="1"/>
                    </a:moveTo>
                    <a:cubicBezTo>
                      <a:pt x="51" y="1"/>
                      <a:pt x="51" y="1"/>
                      <a:pt x="51" y="1"/>
                    </a:cubicBezTo>
                    <a:cubicBezTo>
                      <a:pt x="51" y="1"/>
                      <a:pt x="51" y="1"/>
                      <a:pt x="51" y="1"/>
                    </a:cubicBezTo>
                    <a:moveTo>
                      <a:pt x="51" y="1"/>
                    </a:moveTo>
                    <a:cubicBezTo>
                      <a:pt x="51" y="1"/>
                      <a:pt x="51" y="1"/>
                      <a:pt x="51" y="1"/>
                    </a:cubicBezTo>
                    <a:cubicBezTo>
                      <a:pt x="51" y="1"/>
                      <a:pt x="51" y="1"/>
                      <a:pt x="51" y="1"/>
                    </a:cubicBezTo>
                    <a:moveTo>
                      <a:pt x="50" y="1"/>
                    </a:moveTo>
                    <a:cubicBezTo>
                      <a:pt x="51" y="1"/>
                      <a:pt x="51" y="1"/>
                      <a:pt x="51" y="1"/>
                    </a:cubicBezTo>
                    <a:cubicBezTo>
                      <a:pt x="51" y="1"/>
                      <a:pt x="51" y="1"/>
                      <a:pt x="50" y="1"/>
                    </a:cubicBezTo>
                    <a:moveTo>
                      <a:pt x="50" y="1"/>
                    </a:moveTo>
                    <a:cubicBezTo>
                      <a:pt x="50" y="1"/>
                      <a:pt x="50" y="1"/>
                      <a:pt x="50" y="1"/>
                    </a:cubicBezTo>
                    <a:cubicBezTo>
                      <a:pt x="50" y="1"/>
                      <a:pt x="50" y="1"/>
                      <a:pt x="50" y="1"/>
                    </a:cubicBezTo>
                    <a:moveTo>
                      <a:pt x="50" y="1"/>
                    </a:moveTo>
                    <a:cubicBezTo>
                      <a:pt x="50" y="1"/>
                      <a:pt x="50" y="1"/>
                      <a:pt x="50" y="1"/>
                    </a:cubicBezTo>
                    <a:cubicBezTo>
                      <a:pt x="50" y="1"/>
                      <a:pt x="50" y="1"/>
                      <a:pt x="50" y="1"/>
                    </a:cubicBezTo>
                    <a:moveTo>
                      <a:pt x="50" y="1"/>
                    </a:moveTo>
                    <a:cubicBezTo>
                      <a:pt x="50" y="1"/>
                      <a:pt x="50" y="1"/>
                      <a:pt x="50" y="1"/>
                    </a:cubicBezTo>
                    <a:cubicBezTo>
                      <a:pt x="50" y="1"/>
                      <a:pt x="50" y="1"/>
                      <a:pt x="50" y="1"/>
                    </a:cubicBezTo>
                    <a:moveTo>
                      <a:pt x="50" y="1"/>
                    </a:moveTo>
                    <a:cubicBezTo>
                      <a:pt x="50" y="1"/>
                      <a:pt x="50" y="1"/>
                      <a:pt x="50" y="1"/>
                    </a:cubicBezTo>
                    <a:cubicBezTo>
                      <a:pt x="50" y="1"/>
                      <a:pt x="50" y="1"/>
                      <a:pt x="50" y="1"/>
                    </a:cubicBezTo>
                    <a:moveTo>
                      <a:pt x="50" y="1"/>
                    </a:moveTo>
                    <a:cubicBezTo>
                      <a:pt x="50" y="1"/>
                      <a:pt x="50" y="1"/>
                      <a:pt x="50" y="1"/>
                    </a:cubicBezTo>
                    <a:cubicBezTo>
                      <a:pt x="50" y="1"/>
                      <a:pt x="50" y="1"/>
                      <a:pt x="50" y="1"/>
                    </a:cubicBezTo>
                    <a:moveTo>
                      <a:pt x="50" y="1"/>
                    </a:moveTo>
                    <a:cubicBezTo>
                      <a:pt x="50" y="1"/>
                      <a:pt x="50" y="1"/>
                      <a:pt x="50" y="1"/>
                    </a:cubicBezTo>
                    <a:cubicBezTo>
                      <a:pt x="50" y="1"/>
                      <a:pt x="50" y="1"/>
                      <a:pt x="50" y="1"/>
                    </a:cubicBezTo>
                    <a:moveTo>
                      <a:pt x="49" y="1"/>
                    </a:moveTo>
                    <a:cubicBezTo>
                      <a:pt x="50" y="1"/>
                      <a:pt x="50" y="1"/>
                      <a:pt x="50" y="1"/>
                    </a:cubicBezTo>
                    <a:cubicBezTo>
                      <a:pt x="50" y="1"/>
                      <a:pt x="50" y="1"/>
                      <a:pt x="49" y="1"/>
                    </a:cubicBezTo>
                    <a:moveTo>
                      <a:pt x="49" y="1"/>
                    </a:moveTo>
                    <a:cubicBezTo>
                      <a:pt x="49" y="1"/>
                      <a:pt x="49" y="1"/>
                      <a:pt x="49" y="1"/>
                    </a:cubicBezTo>
                    <a:cubicBezTo>
                      <a:pt x="49" y="1"/>
                      <a:pt x="49" y="1"/>
                      <a:pt x="49" y="1"/>
                    </a:cubicBezTo>
                    <a:moveTo>
                      <a:pt x="49" y="1"/>
                    </a:moveTo>
                    <a:cubicBezTo>
                      <a:pt x="49" y="1"/>
                      <a:pt x="49" y="1"/>
                      <a:pt x="49" y="1"/>
                    </a:cubicBezTo>
                    <a:cubicBezTo>
                      <a:pt x="49" y="1"/>
                      <a:pt x="49" y="1"/>
                      <a:pt x="49" y="1"/>
                    </a:cubicBezTo>
                    <a:moveTo>
                      <a:pt x="49" y="1"/>
                    </a:moveTo>
                    <a:cubicBezTo>
                      <a:pt x="49" y="1"/>
                      <a:pt x="49" y="1"/>
                      <a:pt x="49" y="1"/>
                    </a:cubicBezTo>
                    <a:cubicBezTo>
                      <a:pt x="49" y="1"/>
                      <a:pt x="49" y="1"/>
                      <a:pt x="49" y="1"/>
                    </a:cubicBezTo>
                    <a:moveTo>
                      <a:pt x="49" y="1"/>
                    </a:moveTo>
                    <a:cubicBezTo>
                      <a:pt x="49" y="1"/>
                      <a:pt x="49" y="1"/>
                      <a:pt x="49" y="1"/>
                    </a:cubicBezTo>
                    <a:cubicBezTo>
                      <a:pt x="49" y="1"/>
                      <a:pt x="49" y="1"/>
                      <a:pt x="49" y="1"/>
                    </a:cubicBezTo>
                    <a:moveTo>
                      <a:pt x="49" y="1"/>
                    </a:moveTo>
                    <a:cubicBezTo>
                      <a:pt x="49" y="1"/>
                      <a:pt x="49" y="1"/>
                      <a:pt x="49" y="1"/>
                    </a:cubicBezTo>
                    <a:cubicBezTo>
                      <a:pt x="49" y="1"/>
                      <a:pt x="49" y="1"/>
                      <a:pt x="49" y="1"/>
                    </a:cubicBezTo>
                    <a:moveTo>
                      <a:pt x="49" y="1"/>
                    </a:moveTo>
                    <a:cubicBezTo>
                      <a:pt x="49" y="1"/>
                      <a:pt x="49" y="1"/>
                      <a:pt x="49" y="1"/>
                    </a:cubicBezTo>
                    <a:cubicBezTo>
                      <a:pt x="49" y="1"/>
                      <a:pt x="49" y="1"/>
                      <a:pt x="49" y="1"/>
                    </a:cubicBezTo>
                    <a:moveTo>
                      <a:pt x="48" y="0"/>
                    </a:moveTo>
                    <a:cubicBezTo>
                      <a:pt x="48" y="1"/>
                      <a:pt x="49" y="1"/>
                      <a:pt x="49" y="1"/>
                    </a:cubicBezTo>
                    <a:cubicBezTo>
                      <a:pt x="49" y="1"/>
                      <a:pt x="48" y="0"/>
                      <a:pt x="48" y="0"/>
                    </a:cubicBezTo>
                    <a:moveTo>
                      <a:pt x="48" y="0"/>
                    </a:moveTo>
                    <a:cubicBezTo>
                      <a:pt x="48" y="0"/>
                      <a:pt x="48" y="0"/>
                      <a:pt x="48" y="0"/>
                    </a:cubicBezTo>
                    <a:cubicBezTo>
                      <a:pt x="48" y="0"/>
                      <a:pt x="48" y="0"/>
                      <a:pt x="48" y="0"/>
                    </a:cubicBezTo>
                    <a:moveTo>
                      <a:pt x="48" y="0"/>
                    </a:moveTo>
                    <a:cubicBezTo>
                      <a:pt x="48" y="0"/>
                      <a:pt x="48" y="0"/>
                      <a:pt x="48" y="0"/>
                    </a:cubicBezTo>
                    <a:cubicBezTo>
                      <a:pt x="48" y="0"/>
                      <a:pt x="48" y="0"/>
                      <a:pt x="48" y="0"/>
                    </a:cubicBezTo>
                    <a:moveTo>
                      <a:pt x="48" y="0"/>
                    </a:moveTo>
                    <a:cubicBezTo>
                      <a:pt x="48" y="0"/>
                      <a:pt x="48" y="0"/>
                      <a:pt x="48" y="0"/>
                    </a:cubicBezTo>
                    <a:cubicBezTo>
                      <a:pt x="48" y="0"/>
                      <a:pt x="48" y="0"/>
                      <a:pt x="48" y="0"/>
                    </a:cubicBezTo>
                    <a:moveTo>
                      <a:pt x="48" y="0"/>
                    </a:moveTo>
                    <a:cubicBezTo>
                      <a:pt x="48" y="0"/>
                      <a:pt x="48" y="0"/>
                      <a:pt x="48" y="0"/>
                    </a:cubicBezTo>
                    <a:cubicBezTo>
                      <a:pt x="48" y="0"/>
                      <a:pt x="48" y="0"/>
                      <a:pt x="48" y="0"/>
                    </a:cubicBezTo>
                    <a:moveTo>
                      <a:pt x="48" y="0"/>
                    </a:moveTo>
                    <a:cubicBezTo>
                      <a:pt x="48" y="0"/>
                      <a:pt x="48" y="0"/>
                      <a:pt x="48" y="0"/>
                    </a:cubicBezTo>
                    <a:cubicBezTo>
                      <a:pt x="48" y="0"/>
                      <a:pt x="48" y="0"/>
                      <a:pt x="48" y="0"/>
                    </a:cubicBezTo>
                    <a:moveTo>
                      <a:pt x="48" y="0"/>
                    </a:moveTo>
                    <a:cubicBezTo>
                      <a:pt x="48" y="0"/>
                      <a:pt x="48" y="0"/>
                      <a:pt x="48" y="0"/>
                    </a:cubicBezTo>
                    <a:cubicBezTo>
                      <a:pt x="48" y="0"/>
                      <a:pt x="48" y="0"/>
                      <a:pt x="48" y="0"/>
                    </a:cubicBezTo>
                    <a:moveTo>
                      <a:pt x="47" y="0"/>
                    </a:moveTo>
                    <a:cubicBezTo>
                      <a:pt x="47" y="0"/>
                      <a:pt x="47" y="0"/>
                      <a:pt x="48" y="0"/>
                    </a:cubicBezTo>
                    <a:cubicBezTo>
                      <a:pt x="47" y="0"/>
                      <a:pt x="47" y="0"/>
                      <a:pt x="47" y="0"/>
                    </a:cubicBezTo>
                    <a:moveTo>
                      <a:pt x="47" y="0"/>
                    </a:moveTo>
                    <a:cubicBezTo>
                      <a:pt x="47" y="0"/>
                      <a:pt x="47" y="0"/>
                      <a:pt x="47" y="0"/>
                    </a:cubicBezTo>
                    <a:cubicBezTo>
                      <a:pt x="47" y="0"/>
                      <a:pt x="47" y="0"/>
                      <a:pt x="47" y="0"/>
                    </a:cubicBezTo>
                    <a:moveTo>
                      <a:pt x="47" y="0"/>
                    </a:moveTo>
                    <a:cubicBezTo>
                      <a:pt x="47" y="0"/>
                      <a:pt x="47" y="0"/>
                      <a:pt x="47" y="0"/>
                    </a:cubicBezTo>
                    <a:cubicBezTo>
                      <a:pt x="47" y="0"/>
                      <a:pt x="47" y="0"/>
                      <a:pt x="47" y="0"/>
                    </a:cubicBezTo>
                    <a:moveTo>
                      <a:pt x="47" y="0"/>
                    </a:moveTo>
                    <a:cubicBezTo>
                      <a:pt x="47" y="0"/>
                      <a:pt x="47" y="0"/>
                      <a:pt x="47" y="0"/>
                    </a:cubicBezTo>
                    <a:cubicBezTo>
                      <a:pt x="47" y="0"/>
                      <a:pt x="47" y="0"/>
                      <a:pt x="47" y="0"/>
                    </a:cubicBezTo>
                    <a:moveTo>
                      <a:pt x="47" y="0"/>
                    </a:moveTo>
                    <a:cubicBezTo>
                      <a:pt x="47" y="0"/>
                      <a:pt x="47" y="0"/>
                      <a:pt x="47" y="0"/>
                    </a:cubicBezTo>
                    <a:cubicBezTo>
                      <a:pt x="47" y="0"/>
                      <a:pt x="47" y="0"/>
                      <a:pt x="47" y="0"/>
                    </a:cubicBezTo>
                    <a:moveTo>
                      <a:pt x="47" y="0"/>
                    </a:moveTo>
                    <a:cubicBezTo>
                      <a:pt x="47" y="0"/>
                      <a:pt x="47" y="0"/>
                      <a:pt x="47" y="0"/>
                    </a:cubicBezTo>
                    <a:cubicBezTo>
                      <a:pt x="47" y="0"/>
                      <a:pt x="47" y="0"/>
                      <a:pt x="47" y="0"/>
                    </a:cubicBezTo>
                    <a:moveTo>
                      <a:pt x="47" y="0"/>
                    </a:moveTo>
                    <a:cubicBezTo>
                      <a:pt x="47" y="0"/>
                      <a:pt x="47" y="0"/>
                      <a:pt x="47" y="0"/>
                    </a:cubicBezTo>
                    <a:cubicBezTo>
                      <a:pt x="47" y="0"/>
                      <a:pt x="47" y="0"/>
                      <a:pt x="47" y="0"/>
                    </a:cubicBezTo>
                    <a:moveTo>
                      <a:pt x="46" y="0"/>
                    </a:moveTo>
                    <a:cubicBezTo>
                      <a:pt x="46" y="0"/>
                      <a:pt x="46" y="0"/>
                      <a:pt x="47" y="0"/>
                    </a:cubicBezTo>
                    <a:cubicBezTo>
                      <a:pt x="46" y="0"/>
                      <a:pt x="46" y="0"/>
                      <a:pt x="46" y="0"/>
                    </a:cubicBezTo>
                    <a:moveTo>
                      <a:pt x="46" y="0"/>
                    </a:moveTo>
                    <a:cubicBezTo>
                      <a:pt x="46" y="0"/>
                      <a:pt x="46" y="0"/>
                      <a:pt x="46" y="0"/>
                    </a:cubicBezTo>
                    <a:cubicBezTo>
                      <a:pt x="46" y="0"/>
                      <a:pt x="46" y="0"/>
                      <a:pt x="46" y="0"/>
                    </a:cubicBezTo>
                    <a:moveTo>
                      <a:pt x="46" y="0"/>
                    </a:moveTo>
                    <a:cubicBezTo>
                      <a:pt x="46" y="0"/>
                      <a:pt x="46" y="0"/>
                      <a:pt x="46" y="0"/>
                    </a:cubicBezTo>
                    <a:cubicBezTo>
                      <a:pt x="46" y="0"/>
                      <a:pt x="46" y="0"/>
                      <a:pt x="46" y="0"/>
                    </a:cubicBezTo>
                    <a:moveTo>
                      <a:pt x="46" y="0"/>
                    </a:moveTo>
                    <a:cubicBezTo>
                      <a:pt x="46" y="0"/>
                      <a:pt x="46" y="0"/>
                      <a:pt x="46" y="0"/>
                    </a:cubicBezTo>
                    <a:cubicBezTo>
                      <a:pt x="46" y="0"/>
                      <a:pt x="46" y="0"/>
                      <a:pt x="46" y="0"/>
                    </a:cubicBezTo>
                    <a:moveTo>
                      <a:pt x="46" y="0"/>
                    </a:moveTo>
                    <a:cubicBezTo>
                      <a:pt x="46" y="0"/>
                      <a:pt x="46" y="0"/>
                      <a:pt x="46" y="0"/>
                    </a:cubicBezTo>
                    <a:cubicBezTo>
                      <a:pt x="46" y="0"/>
                      <a:pt x="46" y="0"/>
                      <a:pt x="46" y="0"/>
                    </a:cubicBezTo>
                    <a:moveTo>
                      <a:pt x="46" y="0"/>
                    </a:moveTo>
                    <a:cubicBezTo>
                      <a:pt x="46" y="0"/>
                      <a:pt x="46" y="0"/>
                      <a:pt x="46" y="0"/>
                    </a:cubicBezTo>
                    <a:cubicBezTo>
                      <a:pt x="46" y="0"/>
                      <a:pt x="46" y="0"/>
                      <a:pt x="46" y="0"/>
                    </a:cubicBezTo>
                    <a:moveTo>
                      <a:pt x="46" y="0"/>
                    </a:moveTo>
                    <a:cubicBezTo>
                      <a:pt x="46" y="0"/>
                      <a:pt x="46" y="0"/>
                      <a:pt x="46" y="0"/>
                    </a:cubicBezTo>
                    <a:cubicBezTo>
                      <a:pt x="46" y="0"/>
                      <a:pt x="46" y="0"/>
                      <a:pt x="46" y="0"/>
                    </a:cubicBezTo>
                    <a:moveTo>
                      <a:pt x="45" y="0"/>
                    </a:moveTo>
                    <a:cubicBezTo>
                      <a:pt x="45" y="0"/>
                      <a:pt x="45" y="0"/>
                      <a:pt x="45" y="0"/>
                    </a:cubicBezTo>
                    <a:cubicBezTo>
                      <a:pt x="45" y="0"/>
                      <a:pt x="45" y="0"/>
                      <a:pt x="45" y="0"/>
                    </a:cubicBezTo>
                    <a:moveTo>
                      <a:pt x="45" y="0"/>
                    </a:moveTo>
                    <a:cubicBezTo>
                      <a:pt x="45" y="0"/>
                      <a:pt x="45" y="0"/>
                      <a:pt x="45" y="0"/>
                    </a:cubicBezTo>
                    <a:cubicBezTo>
                      <a:pt x="45" y="0"/>
                      <a:pt x="45" y="0"/>
                      <a:pt x="45" y="0"/>
                    </a:cubicBezTo>
                    <a:moveTo>
                      <a:pt x="45" y="0"/>
                    </a:moveTo>
                    <a:cubicBezTo>
                      <a:pt x="45" y="0"/>
                      <a:pt x="45" y="0"/>
                      <a:pt x="45" y="0"/>
                    </a:cubicBezTo>
                    <a:cubicBezTo>
                      <a:pt x="45" y="0"/>
                      <a:pt x="45" y="0"/>
                      <a:pt x="45" y="0"/>
                    </a:cubicBezTo>
                    <a:moveTo>
                      <a:pt x="45" y="0"/>
                    </a:moveTo>
                    <a:cubicBezTo>
                      <a:pt x="45" y="0"/>
                      <a:pt x="45" y="0"/>
                      <a:pt x="45" y="0"/>
                    </a:cubicBezTo>
                    <a:cubicBezTo>
                      <a:pt x="45" y="0"/>
                      <a:pt x="45" y="0"/>
                      <a:pt x="45" y="0"/>
                    </a:cubicBezTo>
                    <a:moveTo>
                      <a:pt x="45" y="0"/>
                    </a:moveTo>
                    <a:cubicBezTo>
                      <a:pt x="45" y="0"/>
                      <a:pt x="45" y="0"/>
                      <a:pt x="45" y="0"/>
                    </a:cubicBezTo>
                    <a:cubicBezTo>
                      <a:pt x="45" y="0"/>
                      <a:pt x="45" y="0"/>
                      <a:pt x="45" y="0"/>
                    </a:cubicBezTo>
                    <a:moveTo>
                      <a:pt x="45" y="0"/>
                    </a:moveTo>
                    <a:cubicBezTo>
                      <a:pt x="45" y="0"/>
                      <a:pt x="45" y="0"/>
                      <a:pt x="45" y="0"/>
                    </a:cubicBezTo>
                    <a:cubicBezTo>
                      <a:pt x="45" y="0"/>
                      <a:pt x="45" y="0"/>
                      <a:pt x="45" y="0"/>
                    </a:cubicBezTo>
                    <a:moveTo>
                      <a:pt x="44" y="0"/>
                    </a:moveTo>
                    <a:cubicBezTo>
                      <a:pt x="45" y="0"/>
                      <a:pt x="45" y="0"/>
                      <a:pt x="45" y="0"/>
                    </a:cubicBezTo>
                    <a:cubicBezTo>
                      <a:pt x="45" y="0"/>
                      <a:pt x="45" y="0"/>
                      <a:pt x="44" y="0"/>
                    </a:cubicBezTo>
                    <a:moveTo>
                      <a:pt x="44" y="0"/>
                    </a:moveTo>
                    <a:cubicBezTo>
                      <a:pt x="44" y="0"/>
                      <a:pt x="44" y="0"/>
                      <a:pt x="44" y="0"/>
                    </a:cubicBezTo>
                    <a:cubicBezTo>
                      <a:pt x="44" y="0"/>
                      <a:pt x="44" y="0"/>
                      <a:pt x="44" y="0"/>
                    </a:cubicBezTo>
                    <a:moveTo>
                      <a:pt x="44" y="0"/>
                    </a:moveTo>
                    <a:cubicBezTo>
                      <a:pt x="44" y="0"/>
                      <a:pt x="44" y="0"/>
                      <a:pt x="44" y="0"/>
                    </a:cubicBezTo>
                    <a:cubicBezTo>
                      <a:pt x="44" y="0"/>
                      <a:pt x="44" y="0"/>
                      <a:pt x="44" y="0"/>
                    </a:cubicBezTo>
                    <a:moveTo>
                      <a:pt x="44" y="0"/>
                    </a:moveTo>
                    <a:cubicBezTo>
                      <a:pt x="44" y="0"/>
                      <a:pt x="44" y="0"/>
                      <a:pt x="44" y="0"/>
                    </a:cubicBezTo>
                    <a:cubicBezTo>
                      <a:pt x="44" y="0"/>
                      <a:pt x="44" y="0"/>
                      <a:pt x="44" y="0"/>
                    </a:cubicBezTo>
                    <a:moveTo>
                      <a:pt x="44" y="0"/>
                    </a:moveTo>
                    <a:cubicBezTo>
                      <a:pt x="44" y="0"/>
                      <a:pt x="44" y="0"/>
                      <a:pt x="44" y="0"/>
                    </a:cubicBezTo>
                    <a:cubicBezTo>
                      <a:pt x="44" y="0"/>
                      <a:pt x="44" y="0"/>
                      <a:pt x="44" y="0"/>
                    </a:cubicBezTo>
                    <a:moveTo>
                      <a:pt x="44" y="0"/>
                    </a:moveTo>
                    <a:cubicBezTo>
                      <a:pt x="44" y="0"/>
                      <a:pt x="44" y="0"/>
                      <a:pt x="44" y="0"/>
                    </a:cubicBezTo>
                    <a:cubicBezTo>
                      <a:pt x="44" y="0"/>
                      <a:pt x="44" y="0"/>
                      <a:pt x="44" y="0"/>
                    </a:cubicBezTo>
                    <a:moveTo>
                      <a:pt x="43" y="0"/>
                    </a:moveTo>
                    <a:cubicBezTo>
                      <a:pt x="44" y="0"/>
                      <a:pt x="44" y="0"/>
                      <a:pt x="44" y="0"/>
                    </a:cubicBezTo>
                    <a:cubicBezTo>
                      <a:pt x="44" y="0"/>
                      <a:pt x="44" y="0"/>
                      <a:pt x="43" y="0"/>
                    </a:cubicBezTo>
                    <a:moveTo>
                      <a:pt x="43" y="0"/>
                    </a:moveTo>
                    <a:cubicBezTo>
                      <a:pt x="43" y="0"/>
                      <a:pt x="43" y="0"/>
                      <a:pt x="43" y="0"/>
                    </a:cubicBezTo>
                    <a:cubicBezTo>
                      <a:pt x="43" y="0"/>
                      <a:pt x="43" y="0"/>
                      <a:pt x="43" y="0"/>
                    </a:cubicBezTo>
                    <a:moveTo>
                      <a:pt x="43" y="0"/>
                    </a:moveTo>
                    <a:cubicBezTo>
                      <a:pt x="43" y="0"/>
                      <a:pt x="43" y="0"/>
                      <a:pt x="43" y="0"/>
                    </a:cubicBezTo>
                    <a:cubicBezTo>
                      <a:pt x="43" y="0"/>
                      <a:pt x="43" y="0"/>
                      <a:pt x="43" y="0"/>
                    </a:cubicBezTo>
                    <a:moveTo>
                      <a:pt x="43" y="0"/>
                    </a:moveTo>
                    <a:cubicBezTo>
                      <a:pt x="43" y="0"/>
                      <a:pt x="43" y="0"/>
                      <a:pt x="43" y="0"/>
                    </a:cubicBezTo>
                    <a:cubicBezTo>
                      <a:pt x="43" y="0"/>
                      <a:pt x="43" y="0"/>
                      <a:pt x="43" y="0"/>
                    </a:cubicBezTo>
                    <a:moveTo>
                      <a:pt x="43" y="0"/>
                    </a:moveTo>
                    <a:cubicBezTo>
                      <a:pt x="43" y="0"/>
                      <a:pt x="43" y="0"/>
                      <a:pt x="43" y="0"/>
                    </a:cubicBezTo>
                    <a:cubicBezTo>
                      <a:pt x="43" y="0"/>
                      <a:pt x="43" y="0"/>
                      <a:pt x="43" y="0"/>
                    </a:cubicBezTo>
                    <a:moveTo>
                      <a:pt x="43" y="0"/>
                    </a:moveTo>
                    <a:cubicBezTo>
                      <a:pt x="43" y="0"/>
                      <a:pt x="43" y="0"/>
                      <a:pt x="43" y="0"/>
                    </a:cubicBezTo>
                    <a:cubicBezTo>
                      <a:pt x="43" y="0"/>
                      <a:pt x="43" y="0"/>
                      <a:pt x="43" y="0"/>
                    </a:cubicBezTo>
                    <a:moveTo>
                      <a:pt x="43" y="0"/>
                    </a:moveTo>
                    <a:cubicBezTo>
                      <a:pt x="43" y="0"/>
                      <a:pt x="43" y="0"/>
                      <a:pt x="43" y="0"/>
                    </a:cubicBezTo>
                    <a:cubicBezTo>
                      <a:pt x="43" y="0"/>
                      <a:pt x="43" y="0"/>
                      <a:pt x="43" y="0"/>
                    </a:cubicBezTo>
                    <a:moveTo>
                      <a:pt x="42" y="0"/>
                    </a:moveTo>
                    <a:cubicBezTo>
                      <a:pt x="42" y="0"/>
                      <a:pt x="42" y="0"/>
                      <a:pt x="43" y="0"/>
                    </a:cubicBezTo>
                    <a:cubicBezTo>
                      <a:pt x="42" y="0"/>
                      <a:pt x="42" y="0"/>
                      <a:pt x="42" y="0"/>
                    </a:cubicBezTo>
                    <a:moveTo>
                      <a:pt x="42" y="0"/>
                    </a:moveTo>
                    <a:cubicBezTo>
                      <a:pt x="42" y="0"/>
                      <a:pt x="42" y="0"/>
                      <a:pt x="42" y="0"/>
                    </a:cubicBezTo>
                    <a:cubicBezTo>
                      <a:pt x="42" y="0"/>
                      <a:pt x="42" y="0"/>
                      <a:pt x="42" y="0"/>
                    </a:cubicBezTo>
                    <a:moveTo>
                      <a:pt x="42" y="0"/>
                    </a:moveTo>
                    <a:cubicBezTo>
                      <a:pt x="42" y="0"/>
                      <a:pt x="42" y="0"/>
                      <a:pt x="42" y="0"/>
                    </a:cubicBezTo>
                    <a:cubicBezTo>
                      <a:pt x="42" y="0"/>
                      <a:pt x="42" y="0"/>
                      <a:pt x="42" y="0"/>
                    </a:cubicBezTo>
                    <a:moveTo>
                      <a:pt x="42" y="0"/>
                    </a:moveTo>
                    <a:cubicBezTo>
                      <a:pt x="42" y="0"/>
                      <a:pt x="42" y="0"/>
                      <a:pt x="42" y="0"/>
                    </a:cubicBezTo>
                    <a:cubicBezTo>
                      <a:pt x="42" y="0"/>
                      <a:pt x="42" y="0"/>
                      <a:pt x="42" y="0"/>
                    </a:cubicBezTo>
                    <a:moveTo>
                      <a:pt x="42" y="0"/>
                    </a:moveTo>
                    <a:cubicBezTo>
                      <a:pt x="42" y="0"/>
                      <a:pt x="42" y="0"/>
                      <a:pt x="42" y="0"/>
                    </a:cubicBezTo>
                    <a:cubicBezTo>
                      <a:pt x="42" y="0"/>
                      <a:pt x="42" y="0"/>
                      <a:pt x="42" y="0"/>
                    </a:cubicBezTo>
                    <a:moveTo>
                      <a:pt x="42" y="0"/>
                    </a:moveTo>
                    <a:cubicBezTo>
                      <a:pt x="42" y="0"/>
                      <a:pt x="42" y="0"/>
                      <a:pt x="42" y="0"/>
                    </a:cubicBezTo>
                    <a:cubicBezTo>
                      <a:pt x="42" y="0"/>
                      <a:pt x="42" y="0"/>
                      <a:pt x="42" y="0"/>
                    </a:cubicBezTo>
                    <a:moveTo>
                      <a:pt x="41" y="0"/>
                    </a:moveTo>
                    <a:cubicBezTo>
                      <a:pt x="41" y="0"/>
                      <a:pt x="41" y="0"/>
                      <a:pt x="42" y="0"/>
                    </a:cubicBezTo>
                    <a:cubicBezTo>
                      <a:pt x="41" y="0"/>
                      <a:pt x="41" y="0"/>
                      <a:pt x="41" y="0"/>
                    </a:cubicBezTo>
                    <a:moveTo>
                      <a:pt x="41" y="0"/>
                    </a:moveTo>
                    <a:cubicBezTo>
                      <a:pt x="41" y="0"/>
                      <a:pt x="41" y="0"/>
                      <a:pt x="41" y="0"/>
                    </a:cubicBezTo>
                    <a:cubicBezTo>
                      <a:pt x="41" y="0"/>
                      <a:pt x="41" y="0"/>
                      <a:pt x="41" y="0"/>
                    </a:cubicBezTo>
                    <a:moveTo>
                      <a:pt x="41" y="0"/>
                    </a:moveTo>
                    <a:cubicBezTo>
                      <a:pt x="41" y="0"/>
                      <a:pt x="41" y="0"/>
                      <a:pt x="41" y="0"/>
                    </a:cubicBezTo>
                    <a:cubicBezTo>
                      <a:pt x="41" y="0"/>
                      <a:pt x="41" y="0"/>
                      <a:pt x="41" y="0"/>
                    </a:cubicBezTo>
                    <a:moveTo>
                      <a:pt x="41" y="0"/>
                    </a:moveTo>
                    <a:cubicBezTo>
                      <a:pt x="41" y="0"/>
                      <a:pt x="41" y="0"/>
                      <a:pt x="41" y="0"/>
                    </a:cubicBezTo>
                    <a:cubicBezTo>
                      <a:pt x="41" y="0"/>
                      <a:pt x="41" y="0"/>
                      <a:pt x="41" y="0"/>
                    </a:cubicBezTo>
                    <a:moveTo>
                      <a:pt x="41" y="0"/>
                    </a:moveTo>
                    <a:cubicBezTo>
                      <a:pt x="41" y="0"/>
                      <a:pt x="41" y="0"/>
                      <a:pt x="41" y="0"/>
                    </a:cubicBezTo>
                    <a:cubicBezTo>
                      <a:pt x="41" y="0"/>
                      <a:pt x="41" y="0"/>
                      <a:pt x="41" y="0"/>
                    </a:cubicBezTo>
                    <a:moveTo>
                      <a:pt x="41" y="0"/>
                    </a:moveTo>
                    <a:cubicBezTo>
                      <a:pt x="41" y="0"/>
                      <a:pt x="41" y="0"/>
                      <a:pt x="41" y="0"/>
                    </a:cubicBezTo>
                    <a:cubicBezTo>
                      <a:pt x="41" y="0"/>
                      <a:pt x="41" y="0"/>
                      <a:pt x="41" y="0"/>
                    </a:cubicBezTo>
                    <a:moveTo>
                      <a:pt x="41" y="0"/>
                    </a:moveTo>
                    <a:cubicBezTo>
                      <a:pt x="41" y="0"/>
                      <a:pt x="41" y="0"/>
                      <a:pt x="41" y="0"/>
                    </a:cubicBezTo>
                    <a:cubicBezTo>
                      <a:pt x="41" y="0"/>
                      <a:pt x="41" y="0"/>
                      <a:pt x="41" y="0"/>
                    </a:cubicBezTo>
                    <a:moveTo>
                      <a:pt x="40" y="0"/>
                    </a:moveTo>
                    <a:cubicBezTo>
                      <a:pt x="40" y="0"/>
                      <a:pt x="40" y="0"/>
                      <a:pt x="40" y="0"/>
                    </a:cubicBezTo>
                    <a:cubicBezTo>
                      <a:pt x="40" y="0"/>
                      <a:pt x="40" y="0"/>
                      <a:pt x="40" y="0"/>
                    </a:cubicBezTo>
                    <a:moveTo>
                      <a:pt x="40" y="0"/>
                    </a:moveTo>
                    <a:cubicBezTo>
                      <a:pt x="40" y="0"/>
                      <a:pt x="40" y="0"/>
                      <a:pt x="40" y="0"/>
                    </a:cubicBezTo>
                    <a:cubicBezTo>
                      <a:pt x="40" y="0"/>
                      <a:pt x="40" y="0"/>
                      <a:pt x="40" y="0"/>
                    </a:cubicBezTo>
                    <a:moveTo>
                      <a:pt x="40" y="0"/>
                    </a:moveTo>
                    <a:cubicBezTo>
                      <a:pt x="40" y="0"/>
                      <a:pt x="40" y="0"/>
                      <a:pt x="40" y="0"/>
                    </a:cubicBezTo>
                    <a:cubicBezTo>
                      <a:pt x="40" y="0"/>
                      <a:pt x="40" y="0"/>
                      <a:pt x="40" y="0"/>
                    </a:cubicBezTo>
                    <a:moveTo>
                      <a:pt x="40" y="0"/>
                    </a:moveTo>
                    <a:cubicBezTo>
                      <a:pt x="40" y="0"/>
                      <a:pt x="40" y="0"/>
                      <a:pt x="40" y="0"/>
                    </a:cubicBezTo>
                    <a:cubicBezTo>
                      <a:pt x="40" y="0"/>
                      <a:pt x="40" y="0"/>
                      <a:pt x="40" y="0"/>
                    </a:cubicBezTo>
                    <a:moveTo>
                      <a:pt x="40" y="0"/>
                    </a:moveTo>
                    <a:cubicBezTo>
                      <a:pt x="40" y="0"/>
                      <a:pt x="40" y="0"/>
                      <a:pt x="40" y="0"/>
                    </a:cubicBezTo>
                    <a:cubicBezTo>
                      <a:pt x="40" y="0"/>
                      <a:pt x="40" y="0"/>
                      <a:pt x="40" y="0"/>
                    </a:cubicBezTo>
                    <a:moveTo>
                      <a:pt x="40" y="0"/>
                    </a:moveTo>
                    <a:cubicBezTo>
                      <a:pt x="40" y="0"/>
                      <a:pt x="40" y="0"/>
                      <a:pt x="40" y="0"/>
                    </a:cubicBezTo>
                    <a:cubicBezTo>
                      <a:pt x="40" y="0"/>
                      <a:pt x="40" y="0"/>
                      <a:pt x="40" y="0"/>
                    </a:cubicBezTo>
                    <a:moveTo>
                      <a:pt x="40" y="0"/>
                    </a:moveTo>
                    <a:cubicBezTo>
                      <a:pt x="40" y="0"/>
                      <a:pt x="40" y="0"/>
                      <a:pt x="40" y="0"/>
                    </a:cubicBezTo>
                    <a:cubicBezTo>
                      <a:pt x="40" y="0"/>
                      <a:pt x="40" y="0"/>
                      <a:pt x="40" y="0"/>
                    </a:cubicBezTo>
                    <a:moveTo>
                      <a:pt x="39" y="0"/>
                    </a:moveTo>
                    <a:cubicBezTo>
                      <a:pt x="40" y="0"/>
                      <a:pt x="40" y="0"/>
                      <a:pt x="40" y="0"/>
                    </a:cubicBezTo>
                    <a:cubicBezTo>
                      <a:pt x="40" y="0"/>
                      <a:pt x="40" y="0"/>
                      <a:pt x="39" y="0"/>
                    </a:cubicBezTo>
                    <a:moveTo>
                      <a:pt x="39" y="0"/>
                    </a:moveTo>
                    <a:cubicBezTo>
                      <a:pt x="39" y="0"/>
                      <a:pt x="39" y="0"/>
                      <a:pt x="39" y="0"/>
                    </a:cubicBezTo>
                    <a:cubicBezTo>
                      <a:pt x="39" y="0"/>
                      <a:pt x="39" y="0"/>
                      <a:pt x="39" y="0"/>
                    </a:cubicBezTo>
                    <a:moveTo>
                      <a:pt x="39" y="0"/>
                    </a:moveTo>
                    <a:cubicBezTo>
                      <a:pt x="39" y="0"/>
                      <a:pt x="39" y="0"/>
                      <a:pt x="39" y="0"/>
                    </a:cubicBezTo>
                    <a:cubicBezTo>
                      <a:pt x="39" y="0"/>
                      <a:pt x="39" y="0"/>
                      <a:pt x="39" y="0"/>
                    </a:cubicBezTo>
                    <a:moveTo>
                      <a:pt x="39" y="0"/>
                    </a:moveTo>
                    <a:cubicBezTo>
                      <a:pt x="17" y="0"/>
                      <a:pt x="0" y="18"/>
                      <a:pt x="0" y="40"/>
                    </a:cubicBezTo>
                    <a:cubicBezTo>
                      <a:pt x="0" y="40"/>
                      <a:pt x="0" y="40"/>
                      <a:pt x="0" y="40"/>
                    </a:cubicBezTo>
                    <a:cubicBezTo>
                      <a:pt x="0" y="18"/>
                      <a:pt x="17" y="0"/>
                      <a:pt x="39" y="0"/>
                    </a:cubicBezTo>
                    <a:cubicBezTo>
                      <a:pt x="39" y="0"/>
                      <a:pt x="39" y="0"/>
                      <a:pt x="39" y="0"/>
                    </a:cubicBezTo>
                    <a:cubicBezTo>
                      <a:pt x="39" y="0"/>
                      <a:pt x="39" y="0"/>
                      <a:pt x="39" y="0"/>
                    </a:cubicBezTo>
                  </a:path>
                </a:pathLst>
              </a:custGeom>
              <a:solidFill>
                <a:srgbClr val="D4C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41" name="Freeform 682"/>
              <p:cNvSpPr>
                <a:spLocks/>
              </p:cNvSpPr>
              <p:nvPr/>
            </p:nvSpPr>
            <p:spPr bwMode="auto">
              <a:xfrm>
                <a:off x="4667252" y="5195888"/>
                <a:ext cx="171450" cy="144463"/>
              </a:xfrm>
              <a:custGeom>
                <a:avLst/>
                <a:gdLst>
                  <a:gd name="T0" fmla="*/ 82 w 82"/>
                  <a:gd name="T1" fmla="*/ 18 h 69"/>
                  <a:gd name="T2" fmla="*/ 82 w 82"/>
                  <a:gd name="T3" fmla="*/ 17 h 69"/>
                  <a:gd name="T4" fmla="*/ 58 w 82"/>
                  <a:gd name="T5" fmla="*/ 2 h 69"/>
                  <a:gd name="T6" fmla="*/ 57 w 82"/>
                  <a:gd name="T7" fmla="*/ 2 h 69"/>
                  <a:gd name="T8" fmla="*/ 56 w 82"/>
                  <a:gd name="T9" fmla="*/ 2 h 69"/>
                  <a:gd name="T10" fmla="*/ 56 w 82"/>
                  <a:gd name="T11" fmla="*/ 2 h 69"/>
                  <a:gd name="T12" fmla="*/ 56 w 82"/>
                  <a:gd name="T13" fmla="*/ 2 h 69"/>
                  <a:gd name="T14" fmla="*/ 55 w 82"/>
                  <a:gd name="T15" fmla="*/ 1 h 69"/>
                  <a:gd name="T16" fmla="*/ 55 w 82"/>
                  <a:gd name="T17" fmla="*/ 1 h 69"/>
                  <a:gd name="T18" fmla="*/ 55 w 82"/>
                  <a:gd name="T19" fmla="*/ 1 h 69"/>
                  <a:gd name="T20" fmla="*/ 54 w 82"/>
                  <a:gd name="T21" fmla="*/ 1 h 69"/>
                  <a:gd name="T22" fmla="*/ 54 w 82"/>
                  <a:gd name="T23" fmla="*/ 1 h 69"/>
                  <a:gd name="T24" fmla="*/ 54 w 82"/>
                  <a:gd name="T25" fmla="*/ 1 h 69"/>
                  <a:gd name="T26" fmla="*/ 53 w 82"/>
                  <a:gd name="T27" fmla="*/ 1 h 69"/>
                  <a:gd name="T28" fmla="*/ 53 w 82"/>
                  <a:gd name="T29" fmla="*/ 1 h 69"/>
                  <a:gd name="T30" fmla="*/ 53 w 82"/>
                  <a:gd name="T31" fmla="*/ 1 h 69"/>
                  <a:gd name="T32" fmla="*/ 52 w 82"/>
                  <a:gd name="T33" fmla="*/ 1 h 69"/>
                  <a:gd name="T34" fmla="*/ 52 w 82"/>
                  <a:gd name="T35" fmla="*/ 1 h 69"/>
                  <a:gd name="T36" fmla="*/ 52 w 82"/>
                  <a:gd name="T37" fmla="*/ 1 h 69"/>
                  <a:gd name="T38" fmla="*/ 51 w 82"/>
                  <a:gd name="T39" fmla="*/ 1 h 69"/>
                  <a:gd name="T40" fmla="*/ 51 w 82"/>
                  <a:gd name="T41" fmla="*/ 1 h 69"/>
                  <a:gd name="T42" fmla="*/ 51 w 82"/>
                  <a:gd name="T43" fmla="*/ 1 h 69"/>
                  <a:gd name="T44" fmla="*/ 50 w 82"/>
                  <a:gd name="T45" fmla="*/ 1 h 69"/>
                  <a:gd name="T46" fmla="*/ 50 w 82"/>
                  <a:gd name="T47" fmla="*/ 1 h 69"/>
                  <a:gd name="T48" fmla="*/ 50 w 82"/>
                  <a:gd name="T49" fmla="*/ 1 h 69"/>
                  <a:gd name="T50" fmla="*/ 49 w 82"/>
                  <a:gd name="T51" fmla="*/ 1 h 69"/>
                  <a:gd name="T52" fmla="*/ 49 w 82"/>
                  <a:gd name="T53" fmla="*/ 1 h 69"/>
                  <a:gd name="T54" fmla="*/ 48 w 82"/>
                  <a:gd name="T55" fmla="*/ 0 h 69"/>
                  <a:gd name="T56" fmla="*/ 48 w 82"/>
                  <a:gd name="T57" fmla="*/ 0 h 69"/>
                  <a:gd name="T58" fmla="*/ 48 w 82"/>
                  <a:gd name="T59" fmla="*/ 0 h 69"/>
                  <a:gd name="T60" fmla="*/ 47 w 82"/>
                  <a:gd name="T61" fmla="*/ 0 h 69"/>
                  <a:gd name="T62" fmla="*/ 47 w 82"/>
                  <a:gd name="T63" fmla="*/ 0 h 69"/>
                  <a:gd name="T64" fmla="*/ 47 w 82"/>
                  <a:gd name="T65" fmla="*/ 0 h 69"/>
                  <a:gd name="T66" fmla="*/ 46 w 82"/>
                  <a:gd name="T67" fmla="*/ 0 h 69"/>
                  <a:gd name="T68" fmla="*/ 46 w 82"/>
                  <a:gd name="T69" fmla="*/ 0 h 69"/>
                  <a:gd name="T70" fmla="*/ 46 w 82"/>
                  <a:gd name="T71" fmla="*/ 0 h 69"/>
                  <a:gd name="T72" fmla="*/ 45 w 82"/>
                  <a:gd name="T73" fmla="*/ 0 h 69"/>
                  <a:gd name="T74" fmla="*/ 45 w 82"/>
                  <a:gd name="T75" fmla="*/ 0 h 69"/>
                  <a:gd name="T76" fmla="*/ 44 w 82"/>
                  <a:gd name="T77" fmla="*/ 0 h 69"/>
                  <a:gd name="T78" fmla="*/ 44 w 82"/>
                  <a:gd name="T79" fmla="*/ 0 h 69"/>
                  <a:gd name="T80" fmla="*/ 44 w 82"/>
                  <a:gd name="T81" fmla="*/ 0 h 69"/>
                  <a:gd name="T82" fmla="*/ 43 w 82"/>
                  <a:gd name="T83" fmla="*/ 0 h 69"/>
                  <a:gd name="T84" fmla="*/ 43 w 82"/>
                  <a:gd name="T85" fmla="*/ 0 h 69"/>
                  <a:gd name="T86" fmla="*/ 42 w 82"/>
                  <a:gd name="T87" fmla="*/ 0 h 69"/>
                  <a:gd name="T88" fmla="*/ 42 w 82"/>
                  <a:gd name="T89" fmla="*/ 0 h 69"/>
                  <a:gd name="T90" fmla="*/ 42 w 82"/>
                  <a:gd name="T91" fmla="*/ 0 h 69"/>
                  <a:gd name="T92" fmla="*/ 41 w 82"/>
                  <a:gd name="T93" fmla="*/ 0 h 69"/>
                  <a:gd name="T94" fmla="*/ 41 w 82"/>
                  <a:gd name="T95" fmla="*/ 0 h 69"/>
                  <a:gd name="T96" fmla="*/ 40 w 82"/>
                  <a:gd name="T97" fmla="*/ 0 h 69"/>
                  <a:gd name="T98" fmla="*/ 40 w 82"/>
                  <a:gd name="T99" fmla="*/ 0 h 69"/>
                  <a:gd name="T100" fmla="*/ 40 w 82"/>
                  <a:gd name="T101" fmla="*/ 0 h 69"/>
                  <a:gd name="T102" fmla="*/ 39 w 82"/>
                  <a:gd name="T103" fmla="*/ 0 h 69"/>
                  <a:gd name="T104" fmla="*/ 39 w 82"/>
                  <a:gd name="T10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 h="69">
                    <a:moveTo>
                      <a:pt x="39" y="0"/>
                    </a:moveTo>
                    <a:cubicBezTo>
                      <a:pt x="17" y="0"/>
                      <a:pt x="0" y="18"/>
                      <a:pt x="0" y="40"/>
                    </a:cubicBezTo>
                    <a:cubicBezTo>
                      <a:pt x="4" y="67"/>
                      <a:pt x="4" y="67"/>
                      <a:pt x="4" y="67"/>
                    </a:cubicBezTo>
                    <a:cubicBezTo>
                      <a:pt x="9" y="68"/>
                      <a:pt x="14" y="69"/>
                      <a:pt x="19" y="69"/>
                    </a:cubicBezTo>
                    <a:cubicBezTo>
                      <a:pt x="51" y="69"/>
                      <a:pt x="77" y="47"/>
                      <a:pt x="82" y="18"/>
                    </a:cubicBezTo>
                    <a:cubicBezTo>
                      <a:pt x="82" y="18"/>
                      <a:pt x="82" y="18"/>
                      <a:pt x="82" y="18"/>
                    </a:cubicBezTo>
                    <a:cubicBezTo>
                      <a:pt x="82" y="18"/>
                      <a:pt x="82" y="18"/>
                      <a:pt x="82" y="18"/>
                    </a:cubicBezTo>
                    <a:cubicBezTo>
                      <a:pt x="82" y="18"/>
                      <a:pt x="82" y="18"/>
                      <a:pt x="82" y="18"/>
                    </a:cubicBezTo>
                    <a:cubicBezTo>
                      <a:pt x="82" y="18"/>
                      <a:pt x="82" y="18"/>
                      <a:pt x="82" y="18"/>
                    </a:cubicBezTo>
                    <a:cubicBezTo>
                      <a:pt x="82" y="18"/>
                      <a:pt x="82" y="18"/>
                      <a:pt x="82" y="17"/>
                    </a:cubicBezTo>
                    <a:cubicBezTo>
                      <a:pt x="82" y="17"/>
                      <a:pt x="82" y="17"/>
                      <a:pt x="82" y="17"/>
                    </a:cubicBezTo>
                    <a:cubicBezTo>
                      <a:pt x="82" y="17"/>
                      <a:pt x="82" y="17"/>
                      <a:pt x="82" y="17"/>
                    </a:cubicBezTo>
                    <a:cubicBezTo>
                      <a:pt x="82" y="17"/>
                      <a:pt x="82" y="17"/>
                      <a:pt x="82" y="17"/>
                    </a:cubicBezTo>
                    <a:cubicBezTo>
                      <a:pt x="82" y="17"/>
                      <a:pt x="82" y="17"/>
                      <a:pt x="82" y="17"/>
                    </a:cubicBezTo>
                    <a:cubicBezTo>
                      <a:pt x="77" y="9"/>
                      <a:pt x="68" y="4"/>
                      <a:pt x="58" y="2"/>
                    </a:cubicBezTo>
                    <a:cubicBezTo>
                      <a:pt x="58" y="2"/>
                      <a:pt x="58" y="2"/>
                      <a:pt x="58" y="2"/>
                    </a:cubicBezTo>
                    <a:cubicBezTo>
                      <a:pt x="58" y="2"/>
                      <a:pt x="58" y="2"/>
                      <a:pt x="58" y="2"/>
                    </a:cubicBezTo>
                    <a:cubicBezTo>
                      <a:pt x="58" y="2"/>
                      <a:pt x="58" y="2"/>
                      <a:pt x="58" y="2"/>
                    </a:cubicBezTo>
                    <a:cubicBezTo>
                      <a:pt x="58" y="2"/>
                      <a:pt x="57" y="2"/>
                      <a:pt x="57" y="2"/>
                    </a:cubicBezTo>
                    <a:cubicBezTo>
                      <a:pt x="57" y="2"/>
                      <a:pt x="57" y="2"/>
                      <a:pt x="57" y="2"/>
                    </a:cubicBezTo>
                    <a:cubicBezTo>
                      <a:pt x="57" y="2"/>
                      <a:pt x="57" y="2"/>
                      <a:pt x="57" y="2"/>
                    </a:cubicBezTo>
                    <a:cubicBezTo>
                      <a:pt x="57" y="2"/>
                      <a:pt x="57" y="2"/>
                      <a:pt x="57" y="2"/>
                    </a:cubicBezTo>
                    <a:cubicBezTo>
                      <a:pt x="57" y="2"/>
                      <a:pt x="57" y="2"/>
                      <a:pt x="56" y="2"/>
                    </a:cubicBezTo>
                    <a:cubicBezTo>
                      <a:pt x="56" y="2"/>
                      <a:pt x="56" y="2"/>
                      <a:pt x="56" y="2"/>
                    </a:cubicBezTo>
                    <a:cubicBezTo>
                      <a:pt x="56" y="2"/>
                      <a:pt x="56" y="2"/>
                      <a:pt x="56" y="2"/>
                    </a:cubicBezTo>
                    <a:cubicBezTo>
                      <a:pt x="56" y="2"/>
                      <a:pt x="56" y="2"/>
                      <a:pt x="56" y="2"/>
                    </a:cubicBezTo>
                    <a:cubicBezTo>
                      <a:pt x="56" y="2"/>
                      <a:pt x="56" y="2"/>
                      <a:pt x="56" y="2"/>
                    </a:cubicBezTo>
                    <a:cubicBezTo>
                      <a:pt x="56" y="2"/>
                      <a:pt x="56" y="2"/>
                      <a:pt x="56" y="2"/>
                    </a:cubicBezTo>
                    <a:cubicBezTo>
                      <a:pt x="56" y="2"/>
                      <a:pt x="56" y="2"/>
                      <a:pt x="56" y="2"/>
                    </a:cubicBezTo>
                    <a:cubicBezTo>
                      <a:pt x="56" y="2"/>
                      <a:pt x="56" y="2"/>
                      <a:pt x="56" y="2"/>
                    </a:cubicBezTo>
                    <a:cubicBezTo>
                      <a:pt x="56" y="2"/>
                      <a:pt x="56" y="2"/>
                      <a:pt x="56" y="2"/>
                    </a:cubicBezTo>
                    <a:cubicBezTo>
                      <a:pt x="56" y="2"/>
                      <a:pt x="56" y="2"/>
                      <a:pt x="56" y="2"/>
                    </a:cubicBezTo>
                    <a:cubicBezTo>
                      <a:pt x="56" y="2"/>
                      <a:pt x="56" y="2"/>
                      <a:pt x="56" y="2"/>
                    </a:cubicBezTo>
                    <a:cubicBezTo>
                      <a:pt x="56" y="2"/>
                      <a:pt x="56" y="2"/>
                      <a:pt x="56" y="2"/>
                    </a:cubicBezTo>
                    <a:cubicBezTo>
                      <a:pt x="56" y="2"/>
                      <a:pt x="56" y="2"/>
                      <a:pt x="56" y="2"/>
                    </a:cubicBezTo>
                    <a:cubicBezTo>
                      <a:pt x="56" y="2"/>
                      <a:pt x="56" y="2"/>
                      <a:pt x="56" y="1"/>
                    </a:cubicBezTo>
                    <a:cubicBezTo>
                      <a:pt x="56" y="1"/>
                      <a:pt x="55" y="1"/>
                      <a:pt x="55" y="1"/>
                    </a:cubicBezTo>
                    <a:cubicBezTo>
                      <a:pt x="55" y="1"/>
                      <a:pt x="55" y="1"/>
                      <a:pt x="55" y="1"/>
                    </a:cubicBezTo>
                    <a:cubicBezTo>
                      <a:pt x="55" y="1"/>
                      <a:pt x="55" y="1"/>
                      <a:pt x="55" y="1"/>
                    </a:cubicBezTo>
                    <a:cubicBezTo>
                      <a:pt x="55" y="1"/>
                      <a:pt x="55" y="1"/>
                      <a:pt x="55" y="1"/>
                    </a:cubicBezTo>
                    <a:cubicBezTo>
                      <a:pt x="55" y="1"/>
                      <a:pt x="55" y="1"/>
                      <a:pt x="55" y="1"/>
                    </a:cubicBezTo>
                    <a:cubicBezTo>
                      <a:pt x="55" y="1"/>
                      <a:pt x="55" y="1"/>
                      <a:pt x="55" y="1"/>
                    </a:cubicBezTo>
                    <a:cubicBezTo>
                      <a:pt x="55" y="1"/>
                      <a:pt x="55" y="1"/>
                      <a:pt x="55" y="1"/>
                    </a:cubicBezTo>
                    <a:cubicBezTo>
                      <a:pt x="55" y="1"/>
                      <a:pt x="55" y="1"/>
                      <a:pt x="55" y="1"/>
                    </a:cubicBezTo>
                    <a:cubicBezTo>
                      <a:pt x="55" y="1"/>
                      <a:pt x="55" y="1"/>
                      <a:pt x="55" y="1"/>
                    </a:cubicBezTo>
                    <a:cubicBezTo>
                      <a:pt x="55" y="1"/>
                      <a:pt x="55" y="1"/>
                      <a:pt x="55" y="1"/>
                    </a:cubicBezTo>
                    <a:cubicBezTo>
                      <a:pt x="55" y="1"/>
                      <a:pt x="55" y="1"/>
                      <a:pt x="55" y="1"/>
                    </a:cubicBezTo>
                    <a:cubicBezTo>
                      <a:pt x="55" y="1"/>
                      <a:pt x="55" y="1"/>
                      <a:pt x="55" y="1"/>
                    </a:cubicBezTo>
                    <a:cubicBezTo>
                      <a:pt x="55" y="1"/>
                      <a:pt x="55" y="1"/>
                      <a:pt x="55" y="1"/>
                    </a:cubicBezTo>
                    <a:cubicBezTo>
                      <a:pt x="55" y="1"/>
                      <a:pt x="55" y="1"/>
                      <a:pt x="55" y="1"/>
                    </a:cubicBezTo>
                    <a:cubicBezTo>
                      <a:pt x="55" y="1"/>
                      <a:pt x="55" y="1"/>
                      <a:pt x="55" y="1"/>
                    </a:cubicBezTo>
                    <a:cubicBezTo>
                      <a:pt x="55" y="1"/>
                      <a:pt x="55" y="1"/>
                      <a:pt x="55" y="1"/>
                    </a:cubicBezTo>
                    <a:cubicBezTo>
                      <a:pt x="55" y="1"/>
                      <a:pt x="54" y="1"/>
                      <a:pt x="54" y="1"/>
                    </a:cubicBezTo>
                    <a:cubicBezTo>
                      <a:pt x="54" y="1"/>
                      <a:pt x="54" y="1"/>
                      <a:pt x="54" y="1"/>
                    </a:cubicBezTo>
                    <a:cubicBezTo>
                      <a:pt x="54" y="1"/>
                      <a:pt x="54" y="1"/>
                      <a:pt x="54" y="1"/>
                    </a:cubicBezTo>
                    <a:cubicBezTo>
                      <a:pt x="54" y="1"/>
                      <a:pt x="54" y="1"/>
                      <a:pt x="54" y="1"/>
                    </a:cubicBezTo>
                    <a:cubicBezTo>
                      <a:pt x="54" y="1"/>
                      <a:pt x="54" y="1"/>
                      <a:pt x="54" y="1"/>
                    </a:cubicBezTo>
                    <a:cubicBezTo>
                      <a:pt x="54" y="1"/>
                      <a:pt x="54" y="1"/>
                      <a:pt x="54" y="1"/>
                    </a:cubicBezTo>
                    <a:cubicBezTo>
                      <a:pt x="54" y="1"/>
                      <a:pt x="54" y="1"/>
                      <a:pt x="54" y="1"/>
                    </a:cubicBezTo>
                    <a:cubicBezTo>
                      <a:pt x="54" y="1"/>
                      <a:pt x="54" y="1"/>
                      <a:pt x="54" y="1"/>
                    </a:cubicBezTo>
                    <a:cubicBezTo>
                      <a:pt x="54" y="1"/>
                      <a:pt x="54" y="1"/>
                      <a:pt x="54" y="1"/>
                    </a:cubicBezTo>
                    <a:cubicBezTo>
                      <a:pt x="54" y="1"/>
                      <a:pt x="54" y="1"/>
                      <a:pt x="54" y="1"/>
                    </a:cubicBezTo>
                    <a:cubicBezTo>
                      <a:pt x="54" y="1"/>
                      <a:pt x="54" y="1"/>
                      <a:pt x="54" y="1"/>
                    </a:cubicBezTo>
                    <a:cubicBezTo>
                      <a:pt x="54" y="1"/>
                      <a:pt x="54" y="1"/>
                      <a:pt x="54" y="1"/>
                    </a:cubicBezTo>
                    <a:cubicBezTo>
                      <a:pt x="54" y="1"/>
                      <a:pt x="54" y="1"/>
                      <a:pt x="54" y="1"/>
                    </a:cubicBezTo>
                    <a:cubicBezTo>
                      <a:pt x="54" y="1"/>
                      <a:pt x="54" y="1"/>
                      <a:pt x="54" y="1"/>
                    </a:cubicBezTo>
                    <a:cubicBezTo>
                      <a:pt x="54" y="1"/>
                      <a:pt x="54" y="1"/>
                      <a:pt x="54" y="1"/>
                    </a:cubicBezTo>
                    <a:cubicBezTo>
                      <a:pt x="54" y="1"/>
                      <a:pt x="54" y="1"/>
                      <a:pt x="54" y="1"/>
                    </a:cubicBezTo>
                    <a:cubicBezTo>
                      <a:pt x="54" y="1"/>
                      <a:pt x="53" y="1"/>
                      <a:pt x="53" y="1"/>
                    </a:cubicBezTo>
                    <a:cubicBezTo>
                      <a:pt x="53" y="1"/>
                      <a:pt x="53" y="1"/>
                      <a:pt x="53" y="1"/>
                    </a:cubicBezTo>
                    <a:cubicBezTo>
                      <a:pt x="53" y="1"/>
                      <a:pt x="53" y="1"/>
                      <a:pt x="53" y="1"/>
                    </a:cubicBezTo>
                    <a:cubicBezTo>
                      <a:pt x="53" y="1"/>
                      <a:pt x="53" y="1"/>
                      <a:pt x="53" y="1"/>
                    </a:cubicBezTo>
                    <a:cubicBezTo>
                      <a:pt x="53" y="1"/>
                      <a:pt x="53" y="1"/>
                      <a:pt x="53" y="1"/>
                    </a:cubicBezTo>
                    <a:cubicBezTo>
                      <a:pt x="53" y="1"/>
                      <a:pt x="53" y="1"/>
                      <a:pt x="53" y="1"/>
                    </a:cubicBezTo>
                    <a:cubicBezTo>
                      <a:pt x="53" y="1"/>
                      <a:pt x="53" y="1"/>
                      <a:pt x="53" y="1"/>
                    </a:cubicBezTo>
                    <a:cubicBezTo>
                      <a:pt x="53" y="1"/>
                      <a:pt x="53" y="1"/>
                      <a:pt x="53" y="1"/>
                    </a:cubicBezTo>
                    <a:cubicBezTo>
                      <a:pt x="53" y="1"/>
                      <a:pt x="53" y="1"/>
                      <a:pt x="53" y="1"/>
                    </a:cubicBezTo>
                    <a:cubicBezTo>
                      <a:pt x="53" y="1"/>
                      <a:pt x="53" y="1"/>
                      <a:pt x="53" y="1"/>
                    </a:cubicBezTo>
                    <a:cubicBezTo>
                      <a:pt x="53" y="1"/>
                      <a:pt x="53" y="1"/>
                      <a:pt x="53" y="1"/>
                    </a:cubicBezTo>
                    <a:cubicBezTo>
                      <a:pt x="53" y="1"/>
                      <a:pt x="53" y="1"/>
                      <a:pt x="53" y="1"/>
                    </a:cubicBezTo>
                    <a:cubicBezTo>
                      <a:pt x="53" y="1"/>
                      <a:pt x="53" y="1"/>
                      <a:pt x="53" y="1"/>
                    </a:cubicBezTo>
                    <a:cubicBezTo>
                      <a:pt x="53" y="1"/>
                      <a:pt x="53" y="1"/>
                      <a:pt x="53" y="1"/>
                    </a:cubicBezTo>
                    <a:cubicBezTo>
                      <a:pt x="53" y="1"/>
                      <a:pt x="53" y="1"/>
                      <a:pt x="53" y="1"/>
                    </a:cubicBezTo>
                    <a:cubicBezTo>
                      <a:pt x="53" y="1"/>
                      <a:pt x="53" y="1"/>
                      <a:pt x="53"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1" y="1"/>
                      <a:pt x="51" y="1"/>
                      <a:pt x="51" y="1"/>
                    </a:cubicBezTo>
                    <a:cubicBezTo>
                      <a:pt x="51" y="1"/>
                      <a:pt x="51" y="1"/>
                      <a:pt x="51" y="1"/>
                    </a:cubicBezTo>
                    <a:cubicBezTo>
                      <a:pt x="51" y="1"/>
                      <a:pt x="51" y="1"/>
                      <a:pt x="51" y="1"/>
                    </a:cubicBezTo>
                    <a:cubicBezTo>
                      <a:pt x="51" y="1"/>
                      <a:pt x="51" y="1"/>
                      <a:pt x="51" y="1"/>
                    </a:cubicBezTo>
                    <a:cubicBezTo>
                      <a:pt x="51" y="1"/>
                      <a:pt x="51" y="1"/>
                      <a:pt x="51" y="1"/>
                    </a:cubicBezTo>
                    <a:cubicBezTo>
                      <a:pt x="51" y="1"/>
                      <a:pt x="51" y="1"/>
                      <a:pt x="51" y="1"/>
                    </a:cubicBezTo>
                    <a:cubicBezTo>
                      <a:pt x="51" y="1"/>
                      <a:pt x="51" y="1"/>
                      <a:pt x="51" y="1"/>
                    </a:cubicBezTo>
                    <a:cubicBezTo>
                      <a:pt x="51" y="1"/>
                      <a:pt x="51" y="1"/>
                      <a:pt x="51" y="1"/>
                    </a:cubicBezTo>
                    <a:cubicBezTo>
                      <a:pt x="51" y="1"/>
                      <a:pt x="51" y="1"/>
                      <a:pt x="51" y="1"/>
                    </a:cubicBezTo>
                    <a:cubicBezTo>
                      <a:pt x="51" y="1"/>
                      <a:pt x="51" y="1"/>
                      <a:pt x="51" y="1"/>
                    </a:cubicBezTo>
                    <a:cubicBezTo>
                      <a:pt x="51" y="1"/>
                      <a:pt x="51" y="1"/>
                      <a:pt x="51" y="1"/>
                    </a:cubicBezTo>
                    <a:cubicBezTo>
                      <a:pt x="51" y="1"/>
                      <a:pt x="51" y="1"/>
                      <a:pt x="51" y="1"/>
                    </a:cubicBezTo>
                    <a:cubicBezTo>
                      <a:pt x="51" y="1"/>
                      <a:pt x="51" y="1"/>
                      <a:pt x="51" y="1"/>
                    </a:cubicBezTo>
                    <a:cubicBezTo>
                      <a:pt x="51" y="1"/>
                      <a:pt x="51" y="1"/>
                      <a:pt x="50" y="1"/>
                    </a:cubicBezTo>
                    <a:cubicBezTo>
                      <a:pt x="50" y="1"/>
                      <a:pt x="50" y="1"/>
                      <a:pt x="50" y="1"/>
                    </a:cubicBezTo>
                    <a:cubicBezTo>
                      <a:pt x="50" y="1"/>
                      <a:pt x="50" y="1"/>
                      <a:pt x="50" y="1"/>
                    </a:cubicBezTo>
                    <a:cubicBezTo>
                      <a:pt x="50" y="1"/>
                      <a:pt x="50" y="1"/>
                      <a:pt x="50" y="1"/>
                    </a:cubicBezTo>
                    <a:cubicBezTo>
                      <a:pt x="50" y="1"/>
                      <a:pt x="50" y="1"/>
                      <a:pt x="50" y="1"/>
                    </a:cubicBezTo>
                    <a:cubicBezTo>
                      <a:pt x="50" y="1"/>
                      <a:pt x="50" y="1"/>
                      <a:pt x="50" y="1"/>
                    </a:cubicBezTo>
                    <a:cubicBezTo>
                      <a:pt x="50" y="1"/>
                      <a:pt x="50" y="1"/>
                      <a:pt x="50" y="1"/>
                    </a:cubicBezTo>
                    <a:cubicBezTo>
                      <a:pt x="50" y="1"/>
                      <a:pt x="50" y="1"/>
                      <a:pt x="50" y="1"/>
                    </a:cubicBezTo>
                    <a:cubicBezTo>
                      <a:pt x="50" y="1"/>
                      <a:pt x="50" y="1"/>
                      <a:pt x="50" y="1"/>
                    </a:cubicBezTo>
                    <a:cubicBezTo>
                      <a:pt x="50" y="1"/>
                      <a:pt x="50" y="1"/>
                      <a:pt x="50" y="1"/>
                    </a:cubicBezTo>
                    <a:cubicBezTo>
                      <a:pt x="50" y="1"/>
                      <a:pt x="50" y="1"/>
                      <a:pt x="50" y="1"/>
                    </a:cubicBezTo>
                    <a:cubicBezTo>
                      <a:pt x="50" y="1"/>
                      <a:pt x="50" y="1"/>
                      <a:pt x="50" y="1"/>
                    </a:cubicBezTo>
                    <a:cubicBezTo>
                      <a:pt x="50" y="1"/>
                      <a:pt x="50" y="1"/>
                      <a:pt x="50" y="1"/>
                    </a:cubicBezTo>
                    <a:cubicBezTo>
                      <a:pt x="50" y="1"/>
                      <a:pt x="50" y="1"/>
                      <a:pt x="50" y="1"/>
                    </a:cubicBezTo>
                    <a:cubicBezTo>
                      <a:pt x="50" y="1"/>
                      <a:pt x="50" y="1"/>
                      <a:pt x="49" y="1"/>
                    </a:cubicBezTo>
                    <a:cubicBezTo>
                      <a:pt x="49" y="1"/>
                      <a:pt x="49" y="1"/>
                      <a:pt x="49" y="1"/>
                    </a:cubicBezTo>
                    <a:cubicBezTo>
                      <a:pt x="49" y="1"/>
                      <a:pt x="49" y="1"/>
                      <a:pt x="49" y="1"/>
                    </a:cubicBezTo>
                    <a:cubicBezTo>
                      <a:pt x="49" y="1"/>
                      <a:pt x="49" y="1"/>
                      <a:pt x="49" y="1"/>
                    </a:cubicBezTo>
                    <a:cubicBezTo>
                      <a:pt x="49" y="1"/>
                      <a:pt x="49" y="1"/>
                      <a:pt x="49" y="1"/>
                    </a:cubicBezTo>
                    <a:cubicBezTo>
                      <a:pt x="49" y="1"/>
                      <a:pt x="49" y="1"/>
                      <a:pt x="49" y="1"/>
                    </a:cubicBezTo>
                    <a:cubicBezTo>
                      <a:pt x="49" y="1"/>
                      <a:pt x="49" y="1"/>
                      <a:pt x="49" y="1"/>
                    </a:cubicBezTo>
                    <a:cubicBezTo>
                      <a:pt x="49" y="1"/>
                      <a:pt x="49" y="1"/>
                      <a:pt x="49" y="1"/>
                    </a:cubicBezTo>
                    <a:cubicBezTo>
                      <a:pt x="49" y="1"/>
                      <a:pt x="49" y="1"/>
                      <a:pt x="49" y="1"/>
                    </a:cubicBezTo>
                    <a:cubicBezTo>
                      <a:pt x="49" y="1"/>
                      <a:pt x="49" y="1"/>
                      <a:pt x="49" y="1"/>
                    </a:cubicBezTo>
                    <a:cubicBezTo>
                      <a:pt x="49" y="1"/>
                      <a:pt x="49" y="1"/>
                      <a:pt x="49" y="1"/>
                    </a:cubicBezTo>
                    <a:cubicBezTo>
                      <a:pt x="49" y="1"/>
                      <a:pt x="49" y="1"/>
                      <a:pt x="49" y="1"/>
                    </a:cubicBezTo>
                    <a:cubicBezTo>
                      <a:pt x="49" y="1"/>
                      <a:pt x="49" y="1"/>
                      <a:pt x="49" y="1"/>
                    </a:cubicBezTo>
                    <a:cubicBezTo>
                      <a:pt x="49" y="1"/>
                      <a:pt x="49" y="1"/>
                      <a:pt x="49" y="1"/>
                    </a:cubicBezTo>
                    <a:cubicBezTo>
                      <a:pt x="49" y="1"/>
                      <a:pt x="48" y="1"/>
                      <a:pt x="48" y="0"/>
                    </a:cubicBezTo>
                    <a:cubicBezTo>
                      <a:pt x="48" y="0"/>
                      <a:pt x="48" y="0"/>
                      <a:pt x="48" y="0"/>
                    </a:cubicBezTo>
                    <a:cubicBezTo>
                      <a:pt x="48" y="0"/>
                      <a:pt x="48" y="0"/>
                      <a:pt x="48" y="0"/>
                    </a:cubicBezTo>
                    <a:cubicBezTo>
                      <a:pt x="48" y="0"/>
                      <a:pt x="48" y="0"/>
                      <a:pt x="48" y="0"/>
                    </a:cubicBezTo>
                    <a:cubicBezTo>
                      <a:pt x="48" y="0"/>
                      <a:pt x="48" y="0"/>
                      <a:pt x="48" y="0"/>
                    </a:cubicBezTo>
                    <a:cubicBezTo>
                      <a:pt x="48" y="0"/>
                      <a:pt x="48" y="0"/>
                      <a:pt x="48" y="0"/>
                    </a:cubicBezTo>
                    <a:cubicBezTo>
                      <a:pt x="48" y="0"/>
                      <a:pt x="48" y="0"/>
                      <a:pt x="48" y="0"/>
                    </a:cubicBezTo>
                    <a:cubicBezTo>
                      <a:pt x="48" y="0"/>
                      <a:pt x="48" y="0"/>
                      <a:pt x="48" y="0"/>
                    </a:cubicBezTo>
                    <a:cubicBezTo>
                      <a:pt x="48" y="0"/>
                      <a:pt x="48" y="0"/>
                      <a:pt x="48" y="0"/>
                    </a:cubicBezTo>
                    <a:cubicBezTo>
                      <a:pt x="48" y="0"/>
                      <a:pt x="48" y="0"/>
                      <a:pt x="48" y="0"/>
                    </a:cubicBezTo>
                    <a:cubicBezTo>
                      <a:pt x="48" y="0"/>
                      <a:pt x="48" y="0"/>
                      <a:pt x="48" y="0"/>
                    </a:cubicBezTo>
                    <a:cubicBezTo>
                      <a:pt x="48" y="0"/>
                      <a:pt x="48" y="0"/>
                      <a:pt x="48" y="0"/>
                    </a:cubicBezTo>
                    <a:cubicBezTo>
                      <a:pt x="48" y="0"/>
                      <a:pt x="48" y="0"/>
                      <a:pt x="48" y="0"/>
                    </a:cubicBezTo>
                    <a:cubicBezTo>
                      <a:pt x="48" y="0"/>
                      <a:pt x="48" y="0"/>
                      <a:pt x="48" y="0"/>
                    </a:cubicBezTo>
                    <a:cubicBezTo>
                      <a:pt x="47" y="0"/>
                      <a:pt x="47" y="0"/>
                      <a:pt x="47" y="0"/>
                    </a:cubicBezTo>
                    <a:cubicBezTo>
                      <a:pt x="47" y="0"/>
                      <a:pt x="47" y="0"/>
                      <a:pt x="47" y="0"/>
                    </a:cubicBezTo>
                    <a:cubicBezTo>
                      <a:pt x="47" y="0"/>
                      <a:pt x="47" y="0"/>
                      <a:pt x="47" y="0"/>
                    </a:cubicBezTo>
                    <a:cubicBezTo>
                      <a:pt x="47" y="0"/>
                      <a:pt x="47" y="0"/>
                      <a:pt x="47" y="0"/>
                    </a:cubicBezTo>
                    <a:cubicBezTo>
                      <a:pt x="47" y="0"/>
                      <a:pt x="47" y="0"/>
                      <a:pt x="47" y="0"/>
                    </a:cubicBezTo>
                    <a:cubicBezTo>
                      <a:pt x="47" y="0"/>
                      <a:pt x="47" y="0"/>
                      <a:pt x="47" y="0"/>
                    </a:cubicBezTo>
                    <a:cubicBezTo>
                      <a:pt x="47" y="0"/>
                      <a:pt x="47" y="0"/>
                      <a:pt x="47" y="0"/>
                    </a:cubicBezTo>
                    <a:cubicBezTo>
                      <a:pt x="47" y="0"/>
                      <a:pt x="47" y="0"/>
                      <a:pt x="47" y="0"/>
                    </a:cubicBezTo>
                    <a:cubicBezTo>
                      <a:pt x="47" y="0"/>
                      <a:pt x="47" y="0"/>
                      <a:pt x="47" y="0"/>
                    </a:cubicBezTo>
                    <a:cubicBezTo>
                      <a:pt x="47" y="0"/>
                      <a:pt x="47" y="0"/>
                      <a:pt x="47" y="0"/>
                    </a:cubicBezTo>
                    <a:cubicBezTo>
                      <a:pt x="47" y="0"/>
                      <a:pt x="47" y="0"/>
                      <a:pt x="47" y="0"/>
                    </a:cubicBezTo>
                    <a:cubicBezTo>
                      <a:pt x="47" y="0"/>
                      <a:pt x="47" y="0"/>
                      <a:pt x="47" y="0"/>
                    </a:cubicBezTo>
                    <a:cubicBezTo>
                      <a:pt x="47" y="0"/>
                      <a:pt x="47" y="0"/>
                      <a:pt x="47" y="0"/>
                    </a:cubicBezTo>
                    <a:cubicBezTo>
                      <a:pt x="47" y="0"/>
                      <a:pt x="47" y="0"/>
                      <a:pt x="47" y="0"/>
                    </a:cubicBezTo>
                    <a:cubicBezTo>
                      <a:pt x="46" y="0"/>
                      <a:pt x="46" y="0"/>
                      <a:pt x="46" y="0"/>
                    </a:cubicBezTo>
                    <a:cubicBezTo>
                      <a:pt x="46" y="0"/>
                      <a:pt x="46" y="0"/>
                      <a:pt x="46" y="0"/>
                    </a:cubicBezTo>
                    <a:cubicBezTo>
                      <a:pt x="46" y="0"/>
                      <a:pt x="46" y="0"/>
                      <a:pt x="46" y="0"/>
                    </a:cubicBezTo>
                    <a:cubicBezTo>
                      <a:pt x="46" y="0"/>
                      <a:pt x="46" y="0"/>
                      <a:pt x="46" y="0"/>
                    </a:cubicBezTo>
                    <a:cubicBezTo>
                      <a:pt x="46" y="0"/>
                      <a:pt x="46" y="0"/>
                      <a:pt x="46" y="0"/>
                    </a:cubicBezTo>
                    <a:cubicBezTo>
                      <a:pt x="46" y="0"/>
                      <a:pt x="46" y="0"/>
                      <a:pt x="46" y="0"/>
                    </a:cubicBezTo>
                    <a:cubicBezTo>
                      <a:pt x="46" y="0"/>
                      <a:pt x="46" y="0"/>
                      <a:pt x="46" y="0"/>
                    </a:cubicBezTo>
                    <a:cubicBezTo>
                      <a:pt x="46" y="0"/>
                      <a:pt x="46" y="0"/>
                      <a:pt x="46" y="0"/>
                    </a:cubicBezTo>
                    <a:cubicBezTo>
                      <a:pt x="46" y="0"/>
                      <a:pt x="46" y="0"/>
                      <a:pt x="46" y="0"/>
                    </a:cubicBezTo>
                    <a:cubicBezTo>
                      <a:pt x="46" y="0"/>
                      <a:pt x="46" y="0"/>
                      <a:pt x="46" y="0"/>
                    </a:cubicBezTo>
                    <a:cubicBezTo>
                      <a:pt x="46" y="0"/>
                      <a:pt x="46" y="0"/>
                      <a:pt x="46" y="0"/>
                    </a:cubicBezTo>
                    <a:cubicBezTo>
                      <a:pt x="46" y="0"/>
                      <a:pt x="46" y="0"/>
                      <a:pt x="46" y="0"/>
                    </a:cubicBezTo>
                    <a:cubicBezTo>
                      <a:pt x="46" y="0"/>
                      <a:pt x="46" y="0"/>
                      <a:pt x="46" y="0"/>
                    </a:cubicBezTo>
                    <a:cubicBezTo>
                      <a:pt x="46" y="0"/>
                      <a:pt x="45" y="0"/>
                      <a:pt x="45" y="0"/>
                    </a:cubicBezTo>
                    <a:cubicBezTo>
                      <a:pt x="45" y="0"/>
                      <a:pt x="45" y="0"/>
                      <a:pt x="45" y="0"/>
                    </a:cubicBezTo>
                    <a:cubicBezTo>
                      <a:pt x="45" y="0"/>
                      <a:pt x="45" y="0"/>
                      <a:pt x="45" y="0"/>
                    </a:cubicBezTo>
                    <a:cubicBezTo>
                      <a:pt x="45" y="0"/>
                      <a:pt x="45" y="0"/>
                      <a:pt x="45" y="0"/>
                    </a:cubicBezTo>
                    <a:cubicBezTo>
                      <a:pt x="45" y="0"/>
                      <a:pt x="45" y="0"/>
                      <a:pt x="45" y="0"/>
                    </a:cubicBezTo>
                    <a:cubicBezTo>
                      <a:pt x="45" y="0"/>
                      <a:pt x="45" y="0"/>
                      <a:pt x="45" y="0"/>
                    </a:cubicBezTo>
                    <a:cubicBezTo>
                      <a:pt x="45" y="0"/>
                      <a:pt x="45" y="0"/>
                      <a:pt x="45" y="0"/>
                    </a:cubicBezTo>
                    <a:cubicBezTo>
                      <a:pt x="45" y="0"/>
                      <a:pt x="45" y="0"/>
                      <a:pt x="45" y="0"/>
                    </a:cubicBezTo>
                    <a:cubicBezTo>
                      <a:pt x="45" y="0"/>
                      <a:pt x="45" y="0"/>
                      <a:pt x="45" y="0"/>
                    </a:cubicBezTo>
                    <a:cubicBezTo>
                      <a:pt x="45" y="0"/>
                      <a:pt x="45" y="0"/>
                      <a:pt x="45" y="0"/>
                    </a:cubicBezTo>
                    <a:cubicBezTo>
                      <a:pt x="45" y="0"/>
                      <a:pt x="45" y="0"/>
                      <a:pt x="45" y="0"/>
                    </a:cubicBezTo>
                    <a:cubicBezTo>
                      <a:pt x="45" y="0"/>
                      <a:pt x="45" y="0"/>
                      <a:pt x="45" y="0"/>
                    </a:cubicBezTo>
                    <a:cubicBezTo>
                      <a:pt x="45" y="0"/>
                      <a:pt x="45" y="0"/>
                      <a:pt x="45" y="0"/>
                    </a:cubicBezTo>
                    <a:cubicBezTo>
                      <a:pt x="45" y="0"/>
                      <a:pt x="45"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0" y="0"/>
                    </a:cubicBezTo>
                    <a:cubicBezTo>
                      <a:pt x="40" y="0"/>
                      <a:pt x="40" y="0"/>
                      <a:pt x="40" y="0"/>
                    </a:cubicBezTo>
                    <a:cubicBezTo>
                      <a:pt x="40" y="0"/>
                      <a:pt x="40" y="0"/>
                      <a:pt x="40" y="0"/>
                    </a:cubicBezTo>
                    <a:cubicBezTo>
                      <a:pt x="40" y="0"/>
                      <a:pt x="40" y="0"/>
                      <a:pt x="40" y="0"/>
                    </a:cubicBezTo>
                    <a:cubicBezTo>
                      <a:pt x="40" y="0"/>
                      <a:pt x="40" y="0"/>
                      <a:pt x="40" y="0"/>
                    </a:cubicBezTo>
                    <a:cubicBezTo>
                      <a:pt x="40" y="0"/>
                      <a:pt x="40" y="0"/>
                      <a:pt x="40" y="0"/>
                    </a:cubicBezTo>
                    <a:cubicBezTo>
                      <a:pt x="40" y="0"/>
                      <a:pt x="40" y="0"/>
                      <a:pt x="40" y="0"/>
                    </a:cubicBezTo>
                    <a:cubicBezTo>
                      <a:pt x="40" y="0"/>
                      <a:pt x="40" y="0"/>
                      <a:pt x="40" y="0"/>
                    </a:cubicBezTo>
                    <a:cubicBezTo>
                      <a:pt x="40" y="0"/>
                      <a:pt x="40" y="0"/>
                      <a:pt x="40" y="0"/>
                    </a:cubicBezTo>
                    <a:cubicBezTo>
                      <a:pt x="40" y="0"/>
                      <a:pt x="40" y="0"/>
                      <a:pt x="40" y="0"/>
                    </a:cubicBezTo>
                    <a:cubicBezTo>
                      <a:pt x="40" y="0"/>
                      <a:pt x="40" y="0"/>
                      <a:pt x="40" y="0"/>
                    </a:cubicBezTo>
                    <a:cubicBezTo>
                      <a:pt x="40" y="0"/>
                      <a:pt x="40" y="0"/>
                      <a:pt x="40" y="0"/>
                    </a:cubicBezTo>
                    <a:cubicBezTo>
                      <a:pt x="40" y="0"/>
                      <a:pt x="40" y="0"/>
                      <a:pt x="40" y="0"/>
                    </a:cubicBezTo>
                    <a:cubicBezTo>
                      <a:pt x="40" y="0"/>
                      <a:pt x="40" y="0"/>
                      <a:pt x="40" y="0"/>
                    </a:cubicBezTo>
                    <a:cubicBezTo>
                      <a:pt x="40" y="0"/>
                      <a:pt x="40" y="0"/>
                      <a:pt x="40" y="0"/>
                    </a:cubicBezTo>
                    <a:cubicBezTo>
                      <a:pt x="40" y="0"/>
                      <a:pt x="40"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path>
                </a:pathLst>
              </a:custGeom>
              <a:solidFill>
                <a:srgbClr val="D2AC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42" name="Freeform 683"/>
              <p:cNvSpPr>
                <a:spLocks/>
              </p:cNvSpPr>
              <p:nvPr/>
            </p:nvSpPr>
            <p:spPr bwMode="auto">
              <a:xfrm>
                <a:off x="4537077" y="5010150"/>
                <a:ext cx="84138" cy="157163"/>
              </a:xfrm>
              <a:custGeom>
                <a:avLst/>
                <a:gdLst>
                  <a:gd name="T0" fmla="*/ 40 w 40"/>
                  <a:gd name="T1" fmla="*/ 29 h 75"/>
                  <a:gd name="T2" fmla="*/ 2 w 40"/>
                  <a:gd name="T3" fmla="*/ 33 h 75"/>
                  <a:gd name="T4" fmla="*/ 38 w 40"/>
                  <a:gd name="T5" fmla="*/ 56 h 75"/>
                  <a:gd name="T6" fmla="*/ 40 w 40"/>
                  <a:gd name="T7" fmla="*/ 29 h 75"/>
                </a:gdLst>
                <a:ahLst/>
                <a:cxnLst>
                  <a:cxn ang="0">
                    <a:pos x="T0" y="T1"/>
                  </a:cxn>
                  <a:cxn ang="0">
                    <a:pos x="T2" y="T3"/>
                  </a:cxn>
                  <a:cxn ang="0">
                    <a:pos x="T4" y="T5"/>
                  </a:cxn>
                  <a:cxn ang="0">
                    <a:pos x="T6" y="T7"/>
                  </a:cxn>
                </a:cxnLst>
                <a:rect l="0" t="0" r="r" b="b"/>
                <a:pathLst>
                  <a:path w="40" h="75">
                    <a:moveTo>
                      <a:pt x="40" y="29"/>
                    </a:moveTo>
                    <a:cubicBezTo>
                      <a:pt x="37" y="0"/>
                      <a:pt x="0" y="12"/>
                      <a:pt x="2" y="33"/>
                    </a:cubicBezTo>
                    <a:cubicBezTo>
                      <a:pt x="5" y="54"/>
                      <a:pt x="29" y="75"/>
                      <a:pt x="38" y="56"/>
                    </a:cubicBezTo>
                    <a:cubicBezTo>
                      <a:pt x="40" y="36"/>
                      <a:pt x="40" y="29"/>
                      <a:pt x="40" y="29"/>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43" name="Freeform 684"/>
              <p:cNvSpPr>
                <a:spLocks/>
              </p:cNvSpPr>
              <p:nvPr/>
            </p:nvSpPr>
            <p:spPr bwMode="auto">
              <a:xfrm>
                <a:off x="4524377" y="4897438"/>
                <a:ext cx="84138" cy="192088"/>
              </a:xfrm>
              <a:custGeom>
                <a:avLst/>
                <a:gdLst>
                  <a:gd name="T0" fmla="*/ 16 w 40"/>
                  <a:gd name="T1" fmla="*/ 4 h 92"/>
                  <a:gd name="T2" fmla="*/ 28 w 40"/>
                  <a:gd name="T3" fmla="*/ 0 h 92"/>
                  <a:gd name="T4" fmla="*/ 40 w 40"/>
                  <a:gd name="T5" fmla="*/ 90 h 92"/>
                  <a:gd name="T6" fmla="*/ 25 w 40"/>
                  <a:gd name="T7" fmla="*/ 91 h 92"/>
                  <a:gd name="T8" fmla="*/ 8 w 40"/>
                  <a:gd name="T9" fmla="*/ 53 h 92"/>
                  <a:gd name="T10" fmla="*/ 16 w 40"/>
                  <a:gd name="T11" fmla="*/ 4 h 92"/>
                </a:gdLst>
                <a:ahLst/>
                <a:cxnLst>
                  <a:cxn ang="0">
                    <a:pos x="T0" y="T1"/>
                  </a:cxn>
                  <a:cxn ang="0">
                    <a:pos x="T2" y="T3"/>
                  </a:cxn>
                  <a:cxn ang="0">
                    <a:pos x="T4" y="T5"/>
                  </a:cxn>
                  <a:cxn ang="0">
                    <a:pos x="T6" y="T7"/>
                  </a:cxn>
                  <a:cxn ang="0">
                    <a:pos x="T8" y="T9"/>
                  </a:cxn>
                  <a:cxn ang="0">
                    <a:pos x="T10" y="T11"/>
                  </a:cxn>
                </a:cxnLst>
                <a:rect l="0" t="0" r="r" b="b"/>
                <a:pathLst>
                  <a:path w="40" h="92">
                    <a:moveTo>
                      <a:pt x="16" y="4"/>
                    </a:moveTo>
                    <a:cubicBezTo>
                      <a:pt x="28" y="0"/>
                      <a:pt x="28" y="0"/>
                      <a:pt x="28" y="0"/>
                    </a:cubicBezTo>
                    <a:cubicBezTo>
                      <a:pt x="17" y="30"/>
                      <a:pt x="40" y="90"/>
                      <a:pt x="40" y="90"/>
                    </a:cubicBezTo>
                    <a:cubicBezTo>
                      <a:pt x="40" y="90"/>
                      <a:pt x="28" y="92"/>
                      <a:pt x="25" y="91"/>
                    </a:cubicBezTo>
                    <a:cubicBezTo>
                      <a:pt x="22" y="89"/>
                      <a:pt x="15" y="64"/>
                      <a:pt x="8" y="53"/>
                    </a:cubicBezTo>
                    <a:cubicBezTo>
                      <a:pt x="0" y="43"/>
                      <a:pt x="5" y="25"/>
                      <a:pt x="16" y="4"/>
                    </a:cubicBezTo>
                    <a:close/>
                  </a:path>
                </a:pathLst>
              </a:custGeom>
              <a:solidFill>
                <a:srgbClr val="754D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44" name="Freeform 685"/>
              <p:cNvSpPr>
                <a:spLocks/>
              </p:cNvSpPr>
              <p:nvPr/>
            </p:nvSpPr>
            <p:spPr bwMode="auto">
              <a:xfrm>
                <a:off x="4514852" y="4733925"/>
                <a:ext cx="436563" cy="373063"/>
              </a:xfrm>
              <a:custGeom>
                <a:avLst/>
                <a:gdLst>
                  <a:gd name="T0" fmla="*/ 12 w 209"/>
                  <a:gd name="T1" fmla="*/ 50 h 178"/>
                  <a:gd name="T2" fmla="*/ 2 w 209"/>
                  <a:gd name="T3" fmla="*/ 62 h 178"/>
                  <a:gd name="T4" fmla="*/ 14 w 209"/>
                  <a:gd name="T5" fmla="*/ 96 h 178"/>
                  <a:gd name="T6" fmla="*/ 26 w 209"/>
                  <a:gd name="T7" fmla="*/ 100 h 178"/>
                  <a:gd name="T8" fmla="*/ 169 w 209"/>
                  <a:gd name="T9" fmla="*/ 178 h 178"/>
                  <a:gd name="T10" fmla="*/ 186 w 209"/>
                  <a:gd name="T11" fmla="*/ 173 h 178"/>
                  <a:gd name="T12" fmla="*/ 191 w 209"/>
                  <a:gd name="T13" fmla="*/ 128 h 178"/>
                  <a:gd name="T14" fmla="*/ 180 w 209"/>
                  <a:gd name="T15" fmla="*/ 90 h 178"/>
                  <a:gd name="T16" fmla="*/ 183 w 209"/>
                  <a:gd name="T17" fmla="*/ 81 h 178"/>
                  <a:gd name="T18" fmla="*/ 155 w 209"/>
                  <a:gd name="T19" fmla="*/ 81 h 178"/>
                  <a:gd name="T20" fmla="*/ 141 w 209"/>
                  <a:gd name="T21" fmla="*/ 63 h 178"/>
                  <a:gd name="T22" fmla="*/ 41 w 209"/>
                  <a:gd name="T23" fmla="*/ 48 h 178"/>
                  <a:gd name="T24" fmla="*/ 12 w 209"/>
                  <a:gd name="T25" fmla="*/ 5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178">
                    <a:moveTo>
                      <a:pt x="12" y="50"/>
                    </a:moveTo>
                    <a:cubicBezTo>
                      <a:pt x="6" y="52"/>
                      <a:pt x="3" y="56"/>
                      <a:pt x="2" y="62"/>
                    </a:cubicBezTo>
                    <a:cubicBezTo>
                      <a:pt x="0" y="72"/>
                      <a:pt x="6" y="89"/>
                      <a:pt x="14" y="96"/>
                    </a:cubicBezTo>
                    <a:cubicBezTo>
                      <a:pt x="16" y="98"/>
                      <a:pt x="26" y="100"/>
                      <a:pt x="26" y="100"/>
                    </a:cubicBezTo>
                    <a:cubicBezTo>
                      <a:pt x="38" y="130"/>
                      <a:pt x="169" y="178"/>
                      <a:pt x="169" y="178"/>
                    </a:cubicBezTo>
                    <a:cubicBezTo>
                      <a:pt x="186" y="173"/>
                      <a:pt x="186" y="173"/>
                      <a:pt x="186" y="173"/>
                    </a:cubicBezTo>
                    <a:cubicBezTo>
                      <a:pt x="186" y="173"/>
                      <a:pt x="180" y="148"/>
                      <a:pt x="191" y="128"/>
                    </a:cubicBezTo>
                    <a:cubicBezTo>
                      <a:pt x="201" y="107"/>
                      <a:pt x="209" y="96"/>
                      <a:pt x="180" y="90"/>
                    </a:cubicBezTo>
                    <a:cubicBezTo>
                      <a:pt x="181" y="87"/>
                      <a:pt x="182" y="84"/>
                      <a:pt x="183" y="81"/>
                    </a:cubicBezTo>
                    <a:cubicBezTo>
                      <a:pt x="155" y="81"/>
                      <a:pt x="155" y="81"/>
                      <a:pt x="155" y="81"/>
                    </a:cubicBezTo>
                    <a:cubicBezTo>
                      <a:pt x="151" y="76"/>
                      <a:pt x="147" y="70"/>
                      <a:pt x="141" y="63"/>
                    </a:cubicBezTo>
                    <a:cubicBezTo>
                      <a:pt x="90" y="0"/>
                      <a:pt x="56" y="28"/>
                      <a:pt x="41" y="48"/>
                    </a:cubicBezTo>
                    <a:cubicBezTo>
                      <a:pt x="39" y="50"/>
                      <a:pt x="17" y="48"/>
                      <a:pt x="12" y="50"/>
                    </a:cubicBezTo>
                    <a:close/>
                  </a:path>
                </a:pathLst>
              </a:custGeom>
              <a:solidFill>
                <a:srgbClr val="754D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45" name="Freeform 686"/>
              <p:cNvSpPr>
                <a:spLocks/>
              </p:cNvSpPr>
              <p:nvPr/>
            </p:nvSpPr>
            <p:spPr bwMode="auto">
              <a:xfrm>
                <a:off x="4554539" y="4849813"/>
                <a:ext cx="320675" cy="471488"/>
              </a:xfrm>
              <a:custGeom>
                <a:avLst/>
                <a:gdLst>
                  <a:gd name="T0" fmla="*/ 35 w 154"/>
                  <a:gd name="T1" fmla="*/ 20 h 226"/>
                  <a:gd name="T2" fmla="*/ 7 w 154"/>
                  <a:gd name="T3" fmla="*/ 81 h 226"/>
                  <a:gd name="T4" fmla="*/ 17 w 154"/>
                  <a:gd name="T5" fmla="*/ 155 h 226"/>
                  <a:gd name="T6" fmla="*/ 17 w 154"/>
                  <a:gd name="T7" fmla="*/ 200 h 226"/>
                  <a:gd name="T8" fmla="*/ 63 w 154"/>
                  <a:gd name="T9" fmla="*/ 223 h 226"/>
                  <a:gd name="T10" fmla="*/ 148 w 154"/>
                  <a:gd name="T11" fmla="*/ 200 h 226"/>
                  <a:gd name="T12" fmla="*/ 142 w 154"/>
                  <a:gd name="T13" fmla="*/ 43 h 226"/>
                  <a:gd name="T14" fmla="*/ 35 w 154"/>
                  <a:gd name="T15" fmla="*/ 20 h 2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226">
                    <a:moveTo>
                      <a:pt x="35" y="20"/>
                    </a:moveTo>
                    <a:cubicBezTo>
                      <a:pt x="7" y="36"/>
                      <a:pt x="0" y="39"/>
                      <a:pt x="7" y="81"/>
                    </a:cubicBezTo>
                    <a:cubicBezTo>
                      <a:pt x="11" y="106"/>
                      <a:pt x="15" y="130"/>
                      <a:pt x="17" y="155"/>
                    </a:cubicBezTo>
                    <a:cubicBezTo>
                      <a:pt x="18" y="170"/>
                      <a:pt x="18" y="187"/>
                      <a:pt x="17" y="200"/>
                    </a:cubicBezTo>
                    <a:cubicBezTo>
                      <a:pt x="17" y="206"/>
                      <a:pt x="35" y="220"/>
                      <a:pt x="63" y="223"/>
                    </a:cubicBezTo>
                    <a:cubicBezTo>
                      <a:pt x="87" y="226"/>
                      <a:pt x="120" y="216"/>
                      <a:pt x="148" y="200"/>
                    </a:cubicBezTo>
                    <a:cubicBezTo>
                      <a:pt x="153" y="145"/>
                      <a:pt x="154" y="77"/>
                      <a:pt x="142" y="43"/>
                    </a:cubicBezTo>
                    <a:cubicBezTo>
                      <a:pt x="129" y="9"/>
                      <a:pt x="78" y="0"/>
                      <a:pt x="35" y="20"/>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46" name="Freeform 687"/>
              <p:cNvSpPr>
                <a:spLocks/>
              </p:cNvSpPr>
              <p:nvPr/>
            </p:nvSpPr>
            <p:spPr bwMode="auto">
              <a:xfrm>
                <a:off x="4654552" y="5083175"/>
                <a:ext cx="36513" cy="84138"/>
              </a:xfrm>
              <a:custGeom>
                <a:avLst/>
                <a:gdLst>
                  <a:gd name="T0" fmla="*/ 13 w 18"/>
                  <a:gd name="T1" fmla="*/ 39 h 40"/>
                  <a:gd name="T2" fmla="*/ 8 w 18"/>
                  <a:gd name="T3" fmla="*/ 33 h 40"/>
                  <a:gd name="T4" fmla="*/ 6 w 18"/>
                  <a:gd name="T5" fmla="*/ 30 h 40"/>
                  <a:gd name="T6" fmla="*/ 7 w 18"/>
                  <a:gd name="T7" fmla="*/ 28 h 40"/>
                  <a:gd name="T8" fmla="*/ 9 w 18"/>
                  <a:gd name="T9" fmla="*/ 27 h 40"/>
                  <a:gd name="T10" fmla="*/ 11 w 18"/>
                  <a:gd name="T11" fmla="*/ 25 h 40"/>
                  <a:gd name="T12" fmla="*/ 17 w 18"/>
                  <a:gd name="T13" fmla="*/ 16 h 40"/>
                  <a:gd name="T14" fmla="*/ 17 w 18"/>
                  <a:gd name="T15" fmla="*/ 7 h 40"/>
                  <a:gd name="T16" fmla="*/ 16 w 18"/>
                  <a:gd name="T17" fmla="*/ 4 h 40"/>
                  <a:gd name="T18" fmla="*/ 15 w 18"/>
                  <a:gd name="T19" fmla="*/ 2 h 40"/>
                  <a:gd name="T20" fmla="*/ 14 w 18"/>
                  <a:gd name="T21" fmla="*/ 0 h 40"/>
                  <a:gd name="T22" fmla="*/ 13 w 18"/>
                  <a:gd name="T23" fmla="*/ 2 h 40"/>
                  <a:gd name="T24" fmla="*/ 13 w 18"/>
                  <a:gd name="T25" fmla="*/ 5 h 40"/>
                  <a:gd name="T26" fmla="*/ 12 w 18"/>
                  <a:gd name="T27" fmla="*/ 7 h 40"/>
                  <a:gd name="T28" fmla="*/ 11 w 18"/>
                  <a:gd name="T29" fmla="*/ 14 h 40"/>
                  <a:gd name="T30" fmla="*/ 6 w 18"/>
                  <a:gd name="T31" fmla="*/ 20 h 40"/>
                  <a:gd name="T32" fmla="*/ 5 w 18"/>
                  <a:gd name="T33" fmla="*/ 21 h 40"/>
                  <a:gd name="T34" fmla="*/ 3 w 18"/>
                  <a:gd name="T35" fmla="*/ 23 h 40"/>
                  <a:gd name="T36" fmla="*/ 0 w 18"/>
                  <a:gd name="T37" fmla="*/ 29 h 40"/>
                  <a:gd name="T38" fmla="*/ 2 w 18"/>
                  <a:gd name="T39" fmla="*/ 35 h 40"/>
                  <a:gd name="T40" fmla="*/ 6 w 18"/>
                  <a:gd name="T41" fmla="*/ 38 h 40"/>
                  <a:gd name="T42" fmla="*/ 13 w 18"/>
                  <a:gd name="T4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40">
                    <a:moveTo>
                      <a:pt x="13" y="39"/>
                    </a:moveTo>
                    <a:cubicBezTo>
                      <a:pt x="14" y="38"/>
                      <a:pt x="11" y="36"/>
                      <a:pt x="8" y="33"/>
                    </a:cubicBezTo>
                    <a:cubicBezTo>
                      <a:pt x="7" y="32"/>
                      <a:pt x="6" y="30"/>
                      <a:pt x="6" y="30"/>
                    </a:cubicBezTo>
                    <a:cubicBezTo>
                      <a:pt x="6" y="29"/>
                      <a:pt x="7" y="29"/>
                      <a:pt x="7" y="28"/>
                    </a:cubicBezTo>
                    <a:cubicBezTo>
                      <a:pt x="8" y="28"/>
                      <a:pt x="9" y="27"/>
                      <a:pt x="9" y="27"/>
                    </a:cubicBezTo>
                    <a:cubicBezTo>
                      <a:pt x="10" y="26"/>
                      <a:pt x="10" y="25"/>
                      <a:pt x="11" y="25"/>
                    </a:cubicBezTo>
                    <a:cubicBezTo>
                      <a:pt x="14" y="22"/>
                      <a:pt x="16" y="19"/>
                      <a:pt x="17" y="16"/>
                    </a:cubicBezTo>
                    <a:cubicBezTo>
                      <a:pt x="18" y="12"/>
                      <a:pt x="18" y="9"/>
                      <a:pt x="17" y="7"/>
                    </a:cubicBezTo>
                    <a:cubicBezTo>
                      <a:pt x="17" y="6"/>
                      <a:pt x="17" y="5"/>
                      <a:pt x="16" y="4"/>
                    </a:cubicBezTo>
                    <a:cubicBezTo>
                      <a:pt x="16" y="3"/>
                      <a:pt x="16" y="2"/>
                      <a:pt x="15" y="2"/>
                    </a:cubicBezTo>
                    <a:cubicBezTo>
                      <a:pt x="15" y="1"/>
                      <a:pt x="14" y="0"/>
                      <a:pt x="14" y="0"/>
                    </a:cubicBezTo>
                    <a:cubicBezTo>
                      <a:pt x="13" y="0"/>
                      <a:pt x="13" y="1"/>
                      <a:pt x="13" y="2"/>
                    </a:cubicBezTo>
                    <a:cubicBezTo>
                      <a:pt x="13" y="3"/>
                      <a:pt x="13" y="4"/>
                      <a:pt x="13" y="5"/>
                    </a:cubicBezTo>
                    <a:cubicBezTo>
                      <a:pt x="13" y="5"/>
                      <a:pt x="12" y="6"/>
                      <a:pt x="12" y="7"/>
                    </a:cubicBezTo>
                    <a:cubicBezTo>
                      <a:pt x="12" y="9"/>
                      <a:pt x="12" y="11"/>
                      <a:pt x="11" y="14"/>
                    </a:cubicBezTo>
                    <a:cubicBezTo>
                      <a:pt x="10" y="16"/>
                      <a:pt x="8" y="18"/>
                      <a:pt x="6" y="20"/>
                    </a:cubicBezTo>
                    <a:cubicBezTo>
                      <a:pt x="6" y="20"/>
                      <a:pt x="5" y="21"/>
                      <a:pt x="5" y="21"/>
                    </a:cubicBezTo>
                    <a:cubicBezTo>
                      <a:pt x="4" y="22"/>
                      <a:pt x="3" y="23"/>
                      <a:pt x="3" y="23"/>
                    </a:cubicBezTo>
                    <a:cubicBezTo>
                      <a:pt x="1" y="25"/>
                      <a:pt x="0" y="27"/>
                      <a:pt x="0" y="29"/>
                    </a:cubicBezTo>
                    <a:cubicBezTo>
                      <a:pt x="0" y="32"/>
                      <a:pt x="1" y="34"/>
                      <a:pt x="2" y="35"/>
                    </a:cubicBezTo>
                    <a:cubicBezTo>
                      <a:pt x="3" y="36"/>
                      <a:pt x="5" y="37"/>
                      <a:pt x="6" y="38"/>
                    </a:cubicBezTo>
                    <a:cubicBezTo>
                      <a:pt x="10" y="40"/>
                      <a:pt x="13" y="40"/>
                      <a:pt x="13" y="39"/>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47" name="Freeform 688"/>
              <p:cNvSpPr>
                <a:spLocks/>
              </p:cNvSpPr>
              <p:nvPr/>
            </p:nvSpPr>
            <p:spPr bwMode="auto">
              <a:xfrm>
                <a:off x="4724402" y="5003800"/>
                <a:ext cx="77788" cy="33338"/>
              </a:xfrm>
              <a:custGeom>
                <a:avLst/>
                <a:gdLst>
                  <a:gd name="T0" fmla="*/ 1 w 37"/>
                  <a:gd name="T1" fmla="*/ 3 h 16"/>
                  <a:gd name="T2" fmla="*/ 2 w 37"/>
                  <a:gd name="T3" fmla="*/ 12 h 16"/>
                  <a:gd name="T4" fmla="*/ 34 w 37"/>
                  <a:gd name="T5" fmla="*/ 16 h 16"/>
                  <a:gd name="T6" fmla="*/ 35 w 37"/>
                  <a:gd name="T7" fmla="*/ 9 h 16"/>
                  <a:gd name="T8" fmla="*/ 1 w 37"/>
                  <a:gd name="T9" fmla="*/ 3 h 16"/>
                </a:gdLst>
                <a:ahLst/>
                <a:cxnLst>
                  <a:cxn ang="0">
                    <a:pos x="T0" y="T1"/>
                  </a:cxn>
                  <a:cxn ang="0">
                    <a:pos x="T2" y="T3"/>
                  </a:cxn>
                  <a:cxn ang="0">
                    <a:pos x="T4" y="T5"/>
                  </a:cxn>
                  <a:cxn ang="0">
                    <a:pos x="T6" y="T7"/>
                  </a:cxn>
                  <a:cxn ang="0">
                    <a:pos x="T8" y="T9"/>
                  </a:cxn>
                </a:cxnLst>
                <a:rect l="0" t="0" r="r" b="b"/>
                <a:pathLst>
                  <a:path w="37" h="16">
                    <a:moveTo>
                      <a:pt x="1" y="3"/>
                    </a:moveTo>
                    <a:cubicBezTo>
                      <a:pt x="0" y="5"/>
                      <a:pt x="0" y="11"/>
                      <a:pt x="2" y="12"/>
                    </a:cubicBezTo>
                    <a:cubicBezTo>
                      <a:pt x="4" y="12"/>
                      <a:pt x="14" y="8"/>
                      <a:pt x="34" y="16"/>
                    </a:cubicBezTo>
                    <a:cubicBezTo>
                      <a:pt x="37" y="14"/>
                      <a:pt x="37" y="10"/>
                      <a:pt x="35" y="9"/>
                    </a:cubicBezTo>
                    <a:cubicBezTo>
                      <a:pt x="32" y="5"/>
                      <a:pt x="7" y="0"/>
                      <a:pt x="1" y="3"/>
                    </a:cubicBezTo>
                    <a:close/>
                  </a:path>
                </a:pathLst>
              </a:custGeom>
              <a:solidFill>
                <a:srgbClr val="754D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48" name="Freeform 689"/>
              <p:cNvSpPr>
                <a:spLocks/>
              </p:cNvSpPr>
              <p:nvPr/>
            </p:nvSpPr>
            <p:spPr bwMode="auto">
              <a:xfrm>
                <a:off x="4859339" y="5037138"/>
                <a:ext cx="85725" cy="157163"/>
              </a:xfrm>
              <a:custGeom>
                <a:avLst/>
                <a:gdLst>
                  <a:gd name="T0" fmla="*/ 1 w 41"/>
                  <a:gd name="T1" fmla="*/ 29 h 75"/>
                  <a:gd name="T2" fmla="*/ 38 w 41"/>
                  <a:gd name="T3" fmla="*/ 34 h 75"/>
                  <a:gd name="T4" fmla="*/ 3 w 41"/>
                  <a:gd name="T5" fmla="*/ 57 h 75"/>
                  <a:gd name="T6" fmla="*/ 1 w 41"/>
                  <a:gd name="T7" fmla="*/ 29 h 75"/>
                </a:gdLst>
                <a:ahLst/>
                <a:cxnLst>
                  <a:cxn ang="0">
                    <a:pos x="T0" y="T1"/>
                  </a:cxn>
                  <a:cxn ang="0">
                    <a:pos x="T2" y="T3"/>
                  </a:cxn>
                  <a:cxn ang="0">
                    <a:pos x="T4" y="T5"/>
                  </a:cxn>
                  <a:cxn ang="0">
                    <a:pos x="T6" y="T7"/>
                  </a:cxn>
                </a:cxnLst>
                <a:rect l="0" t="0" r="r" b="b"/>
                <a:pathLst>
                  <a:path w="41" h="75">
                    <a:moveTo>
                      <a:pt x="1" y="29"/>
                    </a:moveTo>
                    <a:cubicBezTo>
                      <a:pt x="3" y="0"/>
                      <a:pt x="41" y="12"/>
                      <a:pt x="38" y="34"/>
                    </a:cubicBezTo>
                    <a:cubicBezTo>
                      <a:pt x="36" y="55"/>
                      <a:pt x="11" y="75"/>
                      <a:pt x="3" y="57"/>
                    </a:cubicBezTo>
                    <a:cubicBezTo>
                      <a:pt x="0" y="37"/>
                      <a:pt x="1" y="29"/>
                      <a:pt x="1" y="29"/>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49" name="Freeform 690"/>
              <p:cNvSpPr>
                <a:spLocks/>
              </p:cNvSpPr>
              <p:nvPr/>
            </p:nvSpPr>
            <p:spPr bwMode="auto">
              <a:xfrm>
                <a:off x="4878389" y="5084763"/>
                <a:ext cx="41275" cy="63500"/>
              </a:xfrm>
              <a:custGeom>
                <a:avLst/>
                <a:gdLst>
                  <a:gd name="T0" fmla="*/ 3 w 20"/>
                  <a:gd name="T1" fmla="*/ 30 h 30"/>
                  <a:gd name="T2" fmla="*/ 5 w 20"/>
                  <a:gd name="T3" fmla="*/ 29 h 30"/>
                  <a:gd name="T4" fmla="*/ 7 w 20"/>
                  <a:gd name="T5" fmla="*/ 28 h 30"/>
                  <a:gd name="T6" fmla="*/ 10 w 20"/>
                  <a:gd name="T7" fmla="*/ 26 h 30"/>
                  <a:gd name="T8" fmla="*/ 11 w 20"/>
                  <a:gd name="T9" fmla="*/ 25 h 30"/>
                  <a:gd name="T10" fmla="*/ 13 w 20"/>
                  <a:gd name="T11" fmla="*/ 23 h 30"/>
                  <a:gd name="T12" fmla="*/ 12 w 20"/>
                  <a:gd name="T13" fmla="*/ 18 h 30"/>
                  <a:gd name="T14" fmla="*/ 8 w 20"/>
                  <a:gd name="T15" fmla="*/ 13 h 30"/>
                  <a:gd name="T16" fmla="*/ 5 w 20"/>
                  <a:gd name="T17" fmla="*/ 13 h 30"/>
                  <a:gd name="T18" fmla="*/ 5 w 20"/>
                  <a:gd name="T19" fmla="*/ 13 h 30"/>
                  <a:gd name="T20" fmla="*/ 5 w 20"/>
                  <a:gd name="T21" fmla="*/ 13 h 30"/>
                  <a:gd name="T22" fmla="*/ 5 w 20"/>
                  <a:gd name="T23" fmla="*/ 13 h 30"/>
                  <a:gd name="T24" fmla="*/ 5 w 20"/>
                  <a:gd name="T25" fmla="*/ 13 h 30"/>
                  <a:gd name="T26" fmla="*/ 5 w 20"/>
                  <a:gd name="T27" fmla="*/ 12 h 30"/>
                  <a:gd name="T28" fmla="*/ 5 w 20"/>
                  <a:gd name="T29" fmla="*/ 10 h 30"/>
                  <a:gd name="T30" fmla="*/ 6 w 20"/>
                  <a:gd name="T31" fmla="*/ 8 h 30"/>
                  <a:gd name="T32" fmla="*/ 7 w 20"/>
                  <a:gd name="T33" fmla="*/ 7 h 30"/>
                  <a:gd name="T34" fmla="*/ 7 w 20"/>
                  <a:gd name="T35" fmla="*/ 6 h 30"/>
                  <a:gd name="T36" fmla="*/ 13 w 20"/>
                  <a:gd name="T37" fmla="*/ 3 h 30"/>
                  <a:gd name="T38" fmla="*/ 18 w 20"/>
                  <a:gd name="T39" fmla="*/ 6 h 30"/>
                  <a:gd name="T40" fmla="*/ 19 w 20"/>
                  <a:gd name="T41" fmla="*/ 7 h 30"/>
                  <a:gd name="T42" fmla="*/ 19 w 20"/>
                  <a:gd name="T43" fmla="*/ 5 h 30"/>
                  <a:gd name="T44" fmla="*/ 14 w 20"/>
                  <a:gd name="T45" fmla="*/ 1 h 30"/>
                  <a:gd name="T46" fmla="*/ 9 w 20"/>
                  <a:gd name="T47" fmla="*/ 1 h 30"/>
                  <a:gd name="T48" fmla="*/ 5 w 20"/>
                  <a:gd name="T49" fmla="*/ 4 h 30"/>
                  <a:gd name="T50" fmla="*/ 4 w 20"/>
                  <a:gd name="T51" fmla="*/ 5 h 30"/>
                  <a:gd name="T52" fmla="*/ 3 w 20"/>
                  <a:gd name="T53" fmla="*/ 6 h 30"/>
                  <a:gd name="T54" fmla="*/ 2 w 20"/>
                  <a:gd name="T55" fmla="*/ 9 h 30"/>
                  <a:gd name="T56" fmla="*/ 1 w 20"/>
                  <a:gd name="T57" fmla="*/ 11 h 30"/>
                  <a:gd name="T58" fmla="*/ 1 w 20"/>
                  <a:gd name="T59" fmla="*/ 12 h 30"/>
                  <a:gd name="T60" fmla="*/ 1 w 20"/>
                  <a:gd name="T61" fmla="*/ 13 h 30"/>
                  <a:gd name="T62" fmla="*/ 1 w 20"/>
                  <a:gd name="T63" fmla="*/ 16 h 30"/>
                  <a:gd name="T64" fmla="*/ 0 w 20"/>
                  <a:gd name="T65" fmla="*/ 18 h 30"/>
                  <a:gd name="T66" fmla="*/ 3 w 20"/>
                  <a:gd name="T67" fmla="*/ 17 h 30"/>
                  <a:gd name="T68" fmla="*/ 4 w 20"/>
                  <a:gd name="T69" fmla="*/ 17 h 30"/>
                  <a:gd name="T70" fmla="*/ 5 w 20"/>
                  <a:gd name="T71" fmla="*/ 16 h 30"/>
                  <a:gd name="T72" fmla="*/ 7 w 20"/>
                  <a:gd name="T73" fmla="*/ 17 h 30"/>
                  <a:gd name="T74" fmla="*/ 10 w 20"/>
                  <a:gd name="T75" fmla="*/ 19 h 30"/>
                  <a:gd name="T76" fmla="*/ 8 w 20"/>
                  <a:gd name="T77" fmla="*/ 25 h 30"/>
                  <a:gd name="T78" fmla="*/ 3 w 20"/>
                  <a:gd name="T7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 h="30">
                    <a:moveTo>
                      <a:pt x="3" y="30"/>
                    </a:moveTo>
                    <a:cubicBezTo>
                      <a:pt x="3" y="30"/>
                      <a:pt x="4" y="30"/>
                      <a:pt x="5" y="29"/>
                    </a:cubicBezTo>
                    <a:cubicBezTo>
                      <a:pt x="6" y="29"/>
                      <a:pt x="6" y="29"/>
                      <a:pt x="7" y="28"/>
                    </a:cubicBezTo>
                    <a:cubicBezTo>
                      <a:pt x="8" y="28"/>
                      <a:pt x="9" y="27"/>
                      <a:pt x="10" y="26"/>
                    </a:cubicBezTo>
                    <a:cubicBezTo>
                      <a:pt x="11" y="26"/>
                      <a:pt x="11" y="25"/>
                      <a:pt x="11" y="25"/>
                    </a:cubicBezTo>
                    <a:cubicBezTo>
                      <a:pt x="12" y="24"/>
                      <a:pt x="12" y="24"/>
                      <a:pt x="13" y="23"/>
                    </a:cubicBezTo>
                    <a:cubicBezTo>
                      <a:pt x="13" y="21"/>
                      <a:pt x="13" y="19"/>
                      <a:pt x="12" y="18"/>
                    </a:cubicBezTo>
                    <a:cubicBezTo>
                      <a:pt x="12" y="16"/>
                      <a:pt x="10" y="14"/>
                      <a:pt x="8" y="13"/>
                    </a:cubicBezTo>
                    <a:cubicBezTo>
                      <a:pt x="7" y="13"/>
                      <a:pt x="6" y="13"/>
                      <a:pt x="5" y="13"/>
                    </a:cubicBezTo>
                    <a:cubicBezTo>
                      <a:pt x="4" y="13"/>
                      <a:pt x="5" y="13"/>
                      <a:pt x="5" y="13"/>
                    </a:cubicBezTo>
                    <a:cubicBezTo>
                      <a:pt x="5" y="13"/>
                      <a:pt x="5" y="13"/>
                      <a:pt x="5" y="13"/>
                    </a:cubicBezTo>
                    <a:cubicBezTo>
                      <a:pt x="5" y="13"/>
                      <a:pt x="5" y="13"/>
                      <a:pt x="5" y="13"/>
                    </a:cubicBezTo>
                    <a:cubicBezTo>
                      <a:pt x="5" y="13"/>
                      <a:pt x="5" y="13"/>
                      <a:pt x="5" y="13"/>
                    </a:cubicBezTo>
                    <a:cubicBezTo>
                      <a:pt x="5" y="12"/>
                      <a:pt x="5" y="12"/>
                      <a:pt x="5" y="12"/>
                    </a:cubicBezTo>
                    <a:cubicBezTo>
                      <a:pt x="5" y="11"/>
                      <a:pt x="5" y="11"/>
                      <a:pt x="5" y="10"/>
                    </a:cubicBezTo>
                    <a:cubicBezTo>
                      <a:pt x="6" y="9"/>
                      <a:pt x="6" y="8"/>
                      <a:pt x="6" y="8"/>
                    </a:cubicBezTo>
                    <a:cubicBezTo>
                      <a:pt x="7" y="7"/>
                      <a:pt x="7" y="7"/>
                      <a:pt x="7" y="7"/>
                    </a:cubicBezTo>
                    <a:cubicBezTo>
                      <a:pt x="7" y="6"/>
                      <a:pt x="7" y="6"/>
                      <a:pt x="7" y="6"/>
                    </a:cubicBezTo>
                    <a:cubicBezTo>
                      <a:pt x="9" y="4"/>
                      <a:pt x="11" y="3"/>
                      <a:pt x="13" y="3"/>
                    </a:cubicBezTo>
                    <a:cubicBezTo>
                      <a:pt x="15" y="4"/>
                      <a:pt x="17" y="5"/>
                      <a:pt x="18" y="6"/>
                    </a:cubicBezTo>
                    <a:cubicBezTo>
                      <a:pt x="19" y="7"/>
                      <a:pt x="19" y="7"/>
                      <a:pt x="19" y="7"/>
                    </a:cubicBezTo>
                    <a:cubicBezTo>
                      <a:pt x="20" y="7"/>
                      <a:pt x="20" y="6"/>
                      <a:pt x="19" y="5"/>
                    </a:cubicBezTo>
                    <a:cubicBezTo>
                      <a:pt x="18" y="4"/>
                      <a:pt x="17" y="2"/>
                      <a:pt x="14" y="1"/>
                    </a:cubicBezTo>
                    <a:cubicBezTo>
                      <a:pt x="13" y="1"/>
                      <a:pt x="11" y="0"/>
                      <a:pt x="9" y="1"/>
                    </a:cubicBezTo>
                    <a:cubicBezTo>
                      <a:pt x="8" y="1"/>
                      <a:pt x="6" y="2"/>
                      <a:pt x="5" y="4"/>
                    </a:cubicBezTo>
                    <a:cubicBezTo>
                      <a:pt x="4" y="5"/>
                      <a:pt x="4" y="5"/>
                      <a:pt x="4" y="5"/>
                    </a:cubicBezTo>
                    <a:cubicBezTo>
                      <a:pt x="4" y="5"/>
                      <a:pt x="4" y="6"/>
                      <a:pt x="3" y="6"/>
                    </a:cubicBezTo>
                    <a:cubicBezTo>
                      <a:pt x="3" y="7"/>
                      <a:pt x="3" y="8"/>
                      <a:pt x="2" y="9"/>
                    </a:cubicBezTo>
                    <a:cubicBezTo>
                      <a:pt x="2" y="10"/>
                      <a:pt x="2" y="10"/>
                      <a:pt x="1" y="11"/>
                    </a:cubicBezTo>
                    <a:cubicBezTo>
                      <a:pt x="1" y="12"/>
                      <a:pt x="1" y="12"/>
                      <a:pt x="1" y="12"/>
                    </a:cubicBezTo>
                    <a:cubicBezTo>
                      <a:pt x="1" y="13"/>
                      <a:pt x="1" y="13"/>
                      <a:pt x="1" y="13"/>
                    </a:cubicBezTo>
                    <a:cubicBezTo>
                      <a:pt x="1" y="14"/>
                      <a:pt x="1" y="15"/>
                      <a:pt x="1" y="16"/>
                    </a:cubicBezTo>
                    <a:cubicBezTo>
                      <a:pt x="0" y="17"/>
                      <a:pt x="0" y="18"/>
                      <a:pt x="0" y="18"/>
                    </a:cubicBezTo>
                    <a:cubicBezTo>
                      <a:pt x="1" y="18"/>
                      <a:pt x="2" y="18"/>
                      <a:pt x="3" y="17"/>
                    </a:cubicBezTo>
                    <a:cubicBezTo>
                      <a:pt x="4" y="17"/>
                      <a:pt x="4" y="17"/>
                      <a:pt x="4" y="17"/>
                    </a:cubicBezTo>
                    <a:cubicBezTo>
                      <a:pt x="5" y="17"/>
                      <a:pt x="5" y="16"/>
                      <a:pt x="5" y="16"/>
                    </a:cubicBezTo>
                    <a:cubicBezTo>
                      <a:pt x="6" y="16"/>
                      <a:pt x="6" y="16"/>
                      <a:pt x="7" y="17"/>
                    </a:cubicBezTo>
                    <a:cubicBezTo>
                      <a:pt x="8" y="17"/>
                      <a:pt x="9" y="18"/>
                      <a:pt x="10" y="19"/>
                    </a:cubicBezTo>
                    <a:cubicBezTo>
                      <a:pt x="11" y="21"/>
                      <a:pt x="10" y="23"/>
                      <a:pt x="8" y="25"/>
                    </a:cubicBezTo>
                    <a:cubicBezTo>
                      <a:pt x="6" y="28"/>
                      <a:pt x="3" y="29"/>
                      <a:pt x="3" y="30"/>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50" name="Freeform 691"/>
              <p:cNvSpPr>
                <a:spLocks/>
              </p:cNvSpPr>
              <p:nvPr/>
            </p:nvSpPr>
            <p:spPr bwMode="auto">
              <a:xfrm>
                <a:off x="4575177" y="4818063"/>
                <a:ext cx="339725" cy="312738"/>
              </a:xfrm>
              <a:custGeom>
                <a:avLst/>
                <a:gdLst>
                  <a:gd name="T0" fmla="*/ 140 w 163"/>
                  <a:gd name="T1" fmla="*/ 19 h 150"/>
                  <a:gd name="T2" fmla="*/ 143 w 163"/>
                  <a:gd name="T3" fmla="*/ 19 h 150"/>
                  <a:gd name="T4" fmla="*/ 163 w 163"/>
                  <a:gd name="T5" fmla="*/ 40 h 150"/>
                  <a:gd name="T6" fmla="*/ 143 w 163"/>
                  <a:gd name="T7" fmla="*/ 60 h 150"/>
                  <a:gd name="T8" fmla="*/ 137 w 163"/>
                  <a:gd name="T9" fmla="*/ 59 h 150"/>
                  <a:gd name="T10" fmla="*/ 137 w 163"/>
                  <a:gd name="T11" fmla="*/ 60 h 150"/>
                  <a:gd name="T12" fmla="*/ 143 w 163"/>
                  <a:gd name="T13" fmla="*/ 119 h 150"/>
                  <a:gd name="T14" fmla="*/ 137 w 163"/>
                  <a:gd name="T15" fmla="*/ 150 h 150"/>
                  <a:gd name="T16" fmla="*/ 128 w 163"/>
                  <a:gd name="T17" fmla="*/ 137 h 150"/>
                  <a:gd name="T18" fmla="*/ 125 w 163"/>
                  <a:gd name="T19" fmla="*/ 102 h 150"/>
                  <a:gd name="T20" fmla="*/ 127 w 163"/>
                  <a:gd name="T21" fmla="*/ 55 h 150"/>
                  <a:gd name="T22" fmla="*/ 77 w 163"/>
                  <a:gd name="T23" fmla="*/ 37 h 150"/>
                  <a:gd name="T24" fmla="*/ 0 w 163"/>
                  <a:gd name="T25" fmla="*/ 29 h 150"/>
                  <a:gd name="T26" fmla="*/ 140 w 163"/>
                  <a:gd name="T27" fmla="*/ 1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 h="150">
                    <a:moveTo>
                      <a:pt x="140" y="19"/>
                    </a:moveTo>
                    <a:cubicBezTo>
                      <a:pt x="141" y="19"/>
                      <a:pt x="142" y="19"/>
                      <a:pt x="143" y="19"/>
                    </a:cubicBezTo>
                    <a:cubicBezTo>
                      <a:pt x="154" y="19"/>
                      <a:pt x="163" y="28"/>
                      <a:pt x="163" y="40"/>
                    </a:cubicBezTo>
                    <a:cubicBezTo>
                      <a:pt x="163" y="51"/>
                      <a:pt x="154" y="60"/>
                      <a:pt x="143" y="60"/>
                    </a:cubicBezTo>
                    <a:cubicBezTo>
                      <a:pt x="141" y="60"/>
                      <a:pt x="139" y="60"/>
                      <a:pt x="137" y="59"/>
                    </a:cubicBezTo>
                    <a:cubicBezTo>
                      <a:pt x="137" y="60"/>
                      <a:pt x="137" y="60"/>
                      <a:pt x="137" y="60"/>
                    </a:cubicBezTo>
                    <a:cubicBezTo>
                      <a:pt x="143" y="78"/>
                      <a:pt x="144" y="115"/>
                      <a:pt x="143" y="119"/>
                    </a:cubicBezTo>
                    <a:cubicBezTo>
                      <a:pt x="141" y="123"/>
                      <a:pt x="138" y="134"/>
                      <a:pt x="137" y="150"/>
                    </a:cubicBezTo>
                    <a:cubicBezTo>
                      <a:pt x="137" y="150"/>
                      <a:pt x="127" y="144"/>
                      <a:pt x="128" y="137"/>
                    </a:cubicBezTo>
                    <a:cubicBezTo>
                      <a:pt x="129" y="130"/>
                      <a:pt x="129" y="115"/>
                      <a:pt x="125" y="102"/>
                    </a:cubicBezTo>
                    <a:cubicBezTo>
                      <a:pt x="122" y="89"/>
                      <a:pt x="127" y="76"/>
                      <a:pt x="127" y="55"/>
                    </a:cubicBezTo>
                    <a:cubicBezTo>
                      <a:pt x="125" y="55"/>
                      <a:pt x="101" y="43"/>
                      <a:pt x="77" y="37"/>
                    </a:cubicBezTo>
                    <a:cubicBezTo>
                      <a:pt x="57" y="47"/>
                      <a:pt x="18" y="43"/>
                      <a:pt x="0" y="29"/>
                    </a:cubicBezTo>
                    <a:cubicBezTo>
                      <a:pt x="69" y="0"/>
                      <a:pt x="122" y="0"/>
                      <a:pt x="140" y="19"/>
                    </a:cubicBezTo>
                    <a:close/>
                  </a:path>
                </a:pathLst>
              </a:custGeom>
              <a:solidFill>
                <a:srgbClr val="754D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51" name="Freeform 692"/>
              <p:cNvSpPr>
                <a:spLocks/>
              </p:cNvSpPr>
              <p:nvPr/>
            </p:nvSpPr>
            <p:spPr bwMode="auto">
              <a:xfrm>
                <a:off x="4583114" y="5005388"/>
                <a:ext cx="77788" cy="34925"/>
              </a:xfrm>
              <a:custGeom>
                <a:avLst/>
                <a:gdLst>
                  <a:gd name="T0" fmla="*/ 0 w 37"/>
                  <a:gd name="T1" fmla="*/ 8 h 16"/>
                  <a:gd name="T2" fmla="*/ 4 w 37"/>
                  <a:gd name="T3" fmla="*/ 16 h 16"/>
                  <a:gd name="T4" fmla="*/ 36 w 37"/>
                  <a:gd name="T5" fmla="*/ 9 h 16"/>
                  <a:gd name="T6" fmla="*/ 34 w 37"/>
                  <a:gd name="T7" fmla="*/ 2 h 16"/>
                  <a:gd name="T8" fmla="*/ 0 w 37"/>
                  <a:gd name="T9" fmla="*/ 8 h 16"/>
                </a:gdLst>
                <a:ahLst/>
                <a:cxnLst>
                  <a:cxn ang="0">
                    <a:pos x="T0" y="T1"/>
                  </a:cxn>
                  <a:cxn ang="0">
                    <a:pos x="T2" y="T3"/>
                  </a:cxn>
                  <a:cxn ang="0">
                    <a:pos x="T4" y="T5"/>
                  </a:cxn>
                  <a:cxn ang="0">
                    <a:pos x="T6" y="T7"/>
                  </a:cxn>
                  <a:cxn ang="0">
                    <a:pos x="T8" y="T9"/>
                  </a:cxn>
                </a:cxnLst>
                <a:rect l="0" t="0" r="r" b="b"/>
                <a:pathLst>
                  <a:path w="37" h="16">
                    <a:moveTo>
                      <a:pt x="0" y="8"/>
                    </a:moveTo>
                    <a:cubicBezTo>
                      <a:pt x="0" y="11"/>
                      <a:pt x="2" y="16"/>
                      <a:pt x="4" y="16"/>
                    </a:cubicBezTo>
                    <a:cubicBezTo>
                      <a:pt x="6" y="15"/>
                      <a:pt x="14" y="9"/>
                      <a:pt x="36" y="9"/>
                    </a:cubicBezTo>
                    <a:cubicBezTo>
                      <a:pt x="37" y="6"/>
                      <a:pt x="36" y="3"/>
                      <a:pt x="34" y="2"/>
                    </a:cubicBezTo>
                    <a:cubicBezTo>
                      <a:pt x="30" y="0"/>
                      <a:pt x="5" y="4"/>
                      <a:pt x="0" y="8"/>
                    </a:cubicBezTo>
                    <a:close/>
                  </a:path>
                </a:pathLst>
              </a:custGeom>
              <a:solidFill>
                <a:srgbClr val="754D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52" name="Oval 693"/>
              <p:cNvSpPr>
                <a:spLocks noChangeArrowheads="1"/>
              </p:cNvSpPr>
              <p:nvPr/>
            </p:nvSpPr>
            <p:spPr bwMode="auto">
              <a:xfrm>
                <a:off x="4740277" y="5049838"/>
                <a:ext cx="34925" cy="53975"/>
              </a:xfrm>
              <a:prstGeom prst="ellipse">
                <a:avLst/>
              </a:prstGeom>
              <a:solidFill>
                <a:srgbClr val="2B18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53" name="Oval 694"/>
              <p:cNvSpPr>
                <a:spLocks noChangeArrowheads="1"/>
              </p:cNvSpPr>
              <p:nvPr/>
            </p:nvSpPr>
            <p:spPr bwMode="auto">
              <a:xfrm>
                <a:off x="4608514" y="5043488"/>
                <a:ext cx="34925" cy="57150"/>
              </a:xfrm>
              <a:prstGeom prst="ellipse">
                <a:avLst/>
              </a:prstGeom>
              <a:solidFill>
                <a:srgbClr val="2B18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54" name="Freeform 695"/>
              <p:cNvSpPr>
                <a:spLocks/>
              </p:cNvSpPr>
              <p:nvPr/>
            </p:nvSpPr>
            <p:spPr bwMode="auto">
              <a:xfrm>
                <a:off x="4621214" y="5192713"/>
                <a:ext cx="147638" cy="103188"/>
              </a:xfrm>
              <a:custGeom>
                <a:avLst/>
                <a:gdLst>
                  <a:gd name="T0" fmla="*/ 71 w 71"/>
                  <a:gd name="T1" fmla="*/ 0 h 50"/>
                  <a:gd name="T2" fmla="*/ 0 w 71"/>
                  <a:gd name="T3" fmla="*/ 0 h 50"/>
                  <a:gd name="T4" fmla="*/ 71 w 71"/>
                  <a:gd name="T5" fmla="*/ 0 h 50"/>
                </a:gdLst>
                <a:ahLst/>
                <a:cxnLst>
                  <a:cxn ang="0">
                    <a:pos x="T0" y="T1"/>
                  </a:cxn>
                  <a:cxn ang="0">
                    <a:pos x="T2" y="T3"/>
                  </a:cxn>
                  <a:cxn ang="0">
                    <a:pos x="T4" y="T5"/>
                  </a:cxn>
                </a:cxnLst>
                <a:rect l="0" t="0" r="r" b="b"/>
                <a:pathLst>
                  <a:path w="71" h="50">
                    <a:moveTo>
                      <a:pt x="71" y="0"/>
                    </a:moveTo>
                    <a:cubicBezTo>
                      <a:pt x="55" y="4"/>
                      <a:pt x="34" y="13"/>
                      <a:pt x="0" y="0"/>
                    </a:cubicBezTo>
                    <a:cubicBezTo>
                      <a:pt x="18" y="46"/>
                      <a:pt x="43" y="50"/>
                      <a:pt x="7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55" name="Freeform 696"/>
              <p:cNvSpPr>
                <a:spLocks/>
              </p:cNvSpPr>
              <p:nvPr/>
            </p:nvSpPr>
            <p:spPr bwMode="auto">
              <a:xfrm>
                <a:off x="4756152" y="5183188"/>
                <a:ext cx="30163" cy="15875"/>
              </a:xfrm>
              <a:custGeom>
                <a:avLst/>
                <a:gdLst>
                  <a:gd name="T0" fmla="*/ 1 w 14"/>
                  <a:gd name="T1" fmla="*/ 1 h 7"/>
                  <a:gd name="T2" fmla="*/ 6 w 14"/>
                  <a:gd name="T3" fmla="*/ 5 h 7"/>
                  <a:gd name="T4" fmla="*/ 11 w 14"/>
                  <a:gd name="T5" fmla="*/ 7 h 7"/>
                  <a:gd name="T6" fmla="*/ 13 w 14"/>
                  <a:gd name="T7" fmla="*/ 6 h 7"/>
                  <a:gd name="T8" fmla="*/ 12 w 14"/>
                  <a:gd name="T9" fmla="*/ 4 h 7"/>
                  <a:gd name="T10" fmla="*/ 8 w 14"/>
                  <a:gd name="T11" fmla="*/ 2 h 7"/>
                  <a:gd name="T12" fmla="*/ 1 w 14"/>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14" h="7">
                    <a:moveTo>
                      <a:pt x="1" y="1"/>
                    </a:moveTo>
                    <a:cubicBezTo>
                      <a:pt x="0" y="2"/>
                      <a:pt x="3" y="4"/>
                      <a:pt x="6" y="5"/>
                    </a:cubicBezTo>
                    <a:cubicBezTo>
                      <a:pt x="8" y="6"/>
                      <a:pt x="10" y="6"/>
                      <a:pt x="11" y="7"/>
                    </a:cubicBezTo>
                    <a:cubicBezTo>
                      <a:pt x="12" y="7"/>
                      <a:pt x="13" y="7"/>
                      <a:pt x="13" y="6"/>
                    </a:cubicBezTo>
                    <a:cubicBezTo>
                      <a:pt x="14" y="6"/>
                      <a:pt x="13" y="5"/>
                      <a:pt x="12" y="4"/>
                    </a:cubicBezTo>
                    <a:cubicBezTo>
                      <a:pt x="11" y="3"/>
                      <a:pt x="10" y="2"/>
                      <a:pt x="8" y="2"/>
                    </a:cubicBezTo>
                    <a:cubicBezTo>
                      <a:pt x="4" y="0"/>
                      <a:pt x="1" y="0"/>
                      <a:pt x="1" y="1"/>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56" name="Freeform 697"/>
              <p:cNvSpPr>
                <a:spLocks/>
              </p:cNvSpPr>
              <p:nvPr/>
            </p:nvSpPr>
            <p:spPr bwMode="auto">
              <a:xfrm>
                <a:off x="4978402" y="6854825"/>
                <a:ext cx="217488" cy="209550"/>
              </a:xfrm>
              <a:custGeom>
                <a:avLst/>
                <a:gdLst>
                  <a:gd name="T0" fmla="*/ 93 w 104"/>
                  <a:gd name="T1" fmla="*/ 54 h 100"/>
                  <a:gd name="T2" fmla="*/ 75 w 104"/>
                  <a:gd name="T3" fmla="*/ 89 h 100"/>
                  <a:gd name="T4" fmla="*/ 27 w 104"/>
                  <a:gd name="T5" fmla="*/ 81 h 100"/>
                  <a:gd name="T6" fmla="*/ 11 w 104"/>
                  <a:gd name="T7" fmla="*/ 59 h 100"/>
                  <a:gd name="T8" fmla="*/ 19 w 104"/>
                  <a:gd name="T9" fmla="*/ 11 h 100"/>
                  <a:gd name="T10" fmla="*/ 67 w 104"/>
                  <a:gd name="T11" fmla="*/ 19 h 100"/>
                  <a:gd name="T12" fmla="*/ 93 w 104"/>
                  <a:gd name="T13" fmla="*/ 54 h 100"/>
                </a:gdLst>
                <a:ahLst/>
                <a:cxnLst>
                  <a:cxn ang="0">
                    <a:pos x="T0" y="T1"/>
                  </a:cxn>
                  <a:cxn ang="0">
                    <a:pos x="T2" y="T3"/>
                  </a:cxn>
                  <a:cxn ang="0">
                    <a:pos x="T4" y="T5"/>
                  </a:cxn>
                  <a:cxn ang="0">
                    <a:pos x="T6" y="T7"/>
                  </a:cxn>
                  <a:cxn ang="0">
                    <a:pos x="T8" y="T9"/>
                  </a:cxn>
                  <a:cxn ang="0">
                    <a:pos x="T10" y="T11"/>
                  </a:cxn>
                  <a:cxn ang="0">
                    <a:pos x="T12" y="T13"/>
                  </a:cxn>
                </a:cxnLst>
                <a:rect l="0" t="0" r="r" b="b"/>
                <a:pathLst>
                  <a:path w="104" h="100">
                    <a:moveTo>
                      <a:pt x="93" y="54"/>
                    </a:moveTo>
                    <a:cubicBezTo>
                      <a:pt x="104" y="69"/>
                      <a:pt x="91" y="77"/>
                      <a:pt x="75" y="89"/>
                    </a:cubicBezTo>
                    <a:cubicBezTo>
                      <a:pt x="60" y="100"/>
                      <a:pt x="38" y="96"/>
                      <a:pt x="27" y="81"/>
                    </a:cubicBezTo>
                    <a:cubicBezTo>
                      <a:pt x="11" y="59"/>
                      <a:pt x="11" y="59"/>
                      <a:pt x="11" y="59"/>
                    </a:cubicBezTo>
                    <a:cubicBezTo>
                      <a:pt x="0" y="44"/>
                      <a:pt x="4" y="22"/>
                      <a:pt x="19" y="11"/>
                    </a:cubicBezTo>
                    <a:cubicBezTo>
                      <a:pt x="34" y="0"/>
                      <a:pt x="56" y="3"/>
                      <a:pt x="67" y="19"/>
                    </a:cubicBezTo>
                    <a:lnTo>
                      <a:pt x="93" y="54"/>
                    </a:lnTo>
                    <a:close/>
                  </a:path>
                </a:pathLst>
              </a:custGeom>
              <a:solidFill>
                <a:srgbClr val="E2B6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57" name="Freeform 698"/>
              <p:cNvSpPr>
                <a:spLocks/>
              </p:cNvSpPr>
              <p:nvPr/>
            </p:nvSpPr>
            <p:spPr bwMode="auto">
              <a:xfrm>
                <a:off x="4618039" y="5992813"/>
                <a:ext cx="320675" cy="758825"/>
              </a:xfrm>
              <a:custGeom>
                <a:avLst/>
                <a:gdLst>
                  <a:gd name="T0" fmla="*/ 52 w 153"/>
                  <a:gd name="T1" fmla="*/ 34 h 363"/>
                  <a:gd name="T2" fmla="*/ 111 w 153"/>
                  <a:gd name="T3" fmla="*/ 31 h 363"/>
                  <a:gd name="T4" fmla="*/ 150 w 153"/>
                  <a:gd name="T5" fmla="*/ 305 h 363"/>
                  <a:gd name="T6" fmla="*/ 113 w 153"/>
                  <a:gd name="T7" fmla="*/ 341 h 363"/>
                  <a:gd name="T8" fmla="*/ 54 w 153"/>
                  <a:gd name="T9" fmla="*/ 337 h 363"/>
                  <a:gd name="T10" fmla="*/ 3 w 153"/>
                  <a:gd name="T11" fmla="*/ 83 h 363"/>
                  <a:gd name="T12" fmla="*/ 52 w 153"/>
                  <a:gd name="T13" fmla="*/ 34 h 363"/>
                </a:gdLst>
                <a:ahLst/>
                <a:cxnLst>
                  <a:cxn ang="0">
                    <a:pos x="T0" y="T1"/>
                  </a:cxn>
                  <a:cxn ang="0">
                    <a:pos x="T2" y="T3"/>
                  </a:cxn>
                  <a:cxn ang="0">
                    <a:pos x="T4" y="T5"/>
                  </a:cxn>
                  <a:cxn ang="0">
                    <a:pos x="T6" y="T7"/>
                  </a:cxn>
                  <a:cxn ang="0">
                    <a:pos x="T8" y="T9"/>
                  </a:cxn>
                  <a:cxn ang="0">
                    <a:pos x="T10" y="T11"/>
                  </a:cxn>
                  <a:cxn ang="0">
                    <a:pos x="T12" y="T13"/>
                  </a:cxn>
                </a:cxnLst>
                <a:rect l="0" t="0" r="r" b="b"/>
                <a:pathLst>
                  <a:path w="153" h="363">
                    <a:moveTo>
                      <a:pt x="52" y="34"/>
                    </a:moveTo>
                    <a:cubicBezTo>
                      <a:pt x="52" y="34"/>
                      <a:pt x="95" y="0"/>
                      <a:pt x="111" y="31"/>
                    </a:cubicBezTo>
                    <a:cubicBezTo>
                      <a:pt x="130" y="66"/>
                      <a:pt x="144" y="275"/>
                      <a:pt x="150" y="305"/>
                    </a:cubicBezTo>
                    <a:cubicBezTo>
                      <a:pt x="153" y="321"/>
                      <a:pt x="144" y="338"/>
                      <a:pt x="113" y="341"/>
                    </a:cubicBezTo>
                    <a:cubicBezTo>
                      <a:pt x="83" y="345"/>
                      <a:pt x="60" y="363"/>
                      <a:pt x="54" y="337"/>
                    </a:cubicBezTo>
                    <a:cubicBezTo>
                      <a:pt x="32" y="249"/>
                      <a:pt x="6" y="112"/>
                      <a:pt x="3" y="83"/>
                    </a:cubicBezTo>
                    <a:cubicBezTo>
                      <a:pt x="0" y="53"/>
                      <a:pt x="12" y="41"/>
                      <a:pt x="52" y="34"/>
                    </a:cubicBezTo>
                  </a:path>
                </a:pathLst>
              </a:cu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58" name="Freeform 699"/>
              <p:cNvSpPr>
                <a:spLocks/>
              </p:cNvSpPr>
              <p:nvPr/>
            </p:nvSpPr>
            <p:spPr bwMode="auto">
              <a:xfrm>
                <a:off x="4689477" y="6508750"/>
                <a:ext cx="479425" cy="530225"/>
              </a:xfrm>
              <a:custGeom>
                <a:avLst/>
                <a:gdLst>
                  <a:gd name="T0" fmla="*/ 191 w 229"/>
                  <a:gd name="T1" fmla="*/ 234 h 254"/>
                  <a:gd name="T2" fmla="*/ 166 w 229"/>
                  <a:gd name="T3" fmla="*/ 250 h 254"/>
                  <a:gd name="T4" fmla="*/ 19 w 229"/>
                  <a:gd name="T5" fmla="*/ 89 h 254"/>
                  <a:gd name="T6" fmla="*/ 32 w 229"/>
                  <a:gd name="T7" fmla="*/ 15 h 254"/>
                  <a:gd name="T8" fmla="*/ 102 w 229"/>
                  <a:gd name="T9" fmla="*/ 38 h 254"/>
                  <a:gd name="T10" fmla="*/ 226 w 229"/>
                  <a:gd name="T11" fmla="*/ 208 h 254"/>
                  <a:gd name="T12" fmla="*/ 191 w 229"/>
                  <a:gd name="T13" fmla="*/ 234 h 254"/>
                </a:gdLst>
                <a:ahLst/>
                <a:cxnLst>
                  <a:cxn ang="0">
                    <a:pos x="T0" y="T1"/>
                  </a:cxn>
                  <a:cxn ang="0">
                    <a:pos x="T2" y="T3"/>
                  </a:cxn>
                  <a:cxn ang="0">
                    <a:pos x="T4" y="T5"/>
                  </a:cxn>
                  <a:cxn ang="0">
                    <a:pos x="T6" y="T7"/>
                  </a:cxn>
                  <a:cxn ang="0">
                    <a:pos x="T8" y="T9"/>
                  </a:cxn>
                  <a:cxn ang="0">
                    <a:pos x="T10" y="T11"/>
                  </a:cxn>
                  <a:cxn ang="0">
                    <a:pos x="T12" y="T13"/>
                  </a:cxn>
                </a:cxnLst>
                <a:rect l="0" t="0" r="r" b="b"/>
                <a:pathLst>
                  <a:path w="229" h="254">
                    <a:moveTo>
                      <a:pt x="191" y="234"/>
                    </a:moveTo>
                    <a:cubicBezTo>
                      <a:pt x="182" y="241"/>
                      <a:pt x="182" y="239"/>
                      <a:pt x="166" y="250"/>
                    </a:cubicBezTo>
                    <a:cubicBezTo>
                      <a:pt x="169" y="254"/>
                      <a:pt x="38" y="133"/>
                      <a:pt x="19" y="89"/>
                    </a:cubicBezTo>
                    <a:cubicBezTo>
                      <a:pt x="0" y="46"/>
                      <a:pt x="18" y="25"/>
                      <a:pt x="32" y="15"/>
                    </a:cubicBezTo>
                    <a:cubicBezTo>
                      <a:pt x="47" y="4"/>
                      <a:pt x="74" y="0"/>
                      <a:pt x="102" y="38"/>
                    </a:cubicBezTo>
                    <a:cubicBezTo>
                      <a:pt x="132" y="77"/>
                      <a:pt x="229" y="212"/>
                      <a:pt x="226" y="208"/>
                    </a:cubicBezTo>
                    <a:cubicBezTo>
                      <a:pt x="211" y="220"/>
                      <a:pt x="200" y="228"/>
                      <a:pt x="191" y="234"/>
                    </a:cubicBezTo>
                  </a:path>
                </a:pathLst>
              </a:cu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59" name="Freeform 700"/>
              <p:cNvSpPr>
                <a:spLocks/>
              </p:cNvSpPr>
              <p:nvPr/>
            </p:nvSpPr>
            <p:spPr bwMode="auto">
              <a:xfrm>
                <a:off x="4900614" y="7002463"/>
                <a:ext cx="307975" cy="173038"/>
              </a:xfrm>
              <a:custGeom>
                <a:avLst/>
                <a:gdLst>
                  <a:gd name="T0" fmla="*/ 144 w 147"/>
                  <a:gd name="T1" fmla="*/ 0 h 83"/>
                  <a:gd name="T2" fmla="*/ 47 w 147"/>
                  <a:gd name="T3" fmla="*/ 8 h 83"/>
                  <a:gd name="T4" fmla="*/ 32 w 147"/>
                  <a:gd name="T5" fmla="*/ 83 h 83"/>
                  <a:gd name="T6" fmla="*/ 147 w 147"/>
                  <a:gd name="T7" fmla="*/ 4 h 83"/>
                  <a:gd name="T8" fmla="*/ 144 w 147"/>
                  <a:gd name="T9" fmla="*/ 0 h 83"/>
                </a:gdLst>
                <a:ahLst/>
                <a:cxnLst>
                  <a:cxn ang="0">
                    <a:pos x="T0" y="T1"/>
                  </a:cxn>
                  <a:cxn ang="0">
                    <a:pos x="T2" y="T3"/>
                  </a:cxn>
                  <a:cxn ang="0">
                    <a:pos x="T4" y="T5"/>
                  </a:cxn>
                  <a:cxn ang="0">
                    <a:pos x="T6" y="T7"/>
                  </a:cxn>
                  <a:cxn ang="0">
                    <a:pos x="T8" y="T9"/>
                  </a:cxn>
                </a:cxnLst>
                <a:rect l="0" t="0" r="r" b="b"/>
                <a:pathLst>
                  <a:path w="147" h="83">
                    <a:moveTo>
                      <a:pt x="144" y="0"/>
                    </a:moveTo>
                    <a:cubicBezTo>
                      <a:pt x="144" y="0"/>
                      <a:pt x="56" y="7"/>
                      <a:pt x="47" y="8"/>
                    </a:cubicBezTo>
                    <a:cubicBezTo>
                      <a:pt x="38" y="9"/>
                      <a:pt x="0" y="43"/>
                      <a:pt x="32" y="83"/>
                    </a:cubicBezTo>
                    <a:cubicBezTo>
                      <a:pt x="147" y="4"/>
                      <a:pt x="147" y="4"/>
                      <a:pt x="147" y="4"/>
                    </a:cubicBezTo>
                    <a:lnTo>
                      <a:pt x="144" y="0"/>
                    </a:lnTo>
                    <a:close/>
                  </a:path>
                </a:pathLst>
              </a:custGeom>
              <a:solidFill>
                <a:srgbClr val="0197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60" name="Freeform 701"/>
              <p:cNvSpPr>
                <a:spLocks/>
              </p:cNvSpPr>
              <p:nvPr/>
            </p:nvSpPr>
            <p:spPr bwMode="auto">
              <a:xfrm>
                <a:off x="4954589" y="7002463"/>
                <a:ext cx="254000" cy="173038"/>
              </a:xfrm>
              <a:custGeom>
                <a:avLst/>
                <a:gdLst>
                  <a:gd name="T0" fmla="*/ 0 w 121"/>
                  <a:gd name="T1" fmla="*/ 74 h 83"/>
                  <a:gd name="T2" fmla="*/ 6 w 121"/>
                  <a:gd name="T3" fmla="*/ 83 h 83"/>
                  <a:gd name="T4" fmla="*/ 121 w 121"/>
                  <a:gd name="T5" fmla="*/ 4 h 83"/>
                  <a:gd name="T6" fmla="*/ 118 w 121"/>
                  <a:gd name="T7" fmla="*/ 0 h 83"/>
                  <a:gd name="T8" fmla="*/ 108 w 121"/>
                  <a:gd name="T9" fmla="*/ 0 h 83"/>
                  <a:gd name="T10" fmla="*/ 0 w 121"/>
                  <a:gd name="T11" fmla="*/ 74 h 83"/>
                </a:gdLst>
                <a:ahLst/>
                <a:cxnLst>
                  <a:cxn ang="0">
                    <a:pos x="T0" y="T1"/>
                  </a:cxn>
                  <a:cxn ang="0">
                    <a:pos x="T2" y="T3"/>
                  </a:cxn>
                  <a:cxn ang="0">
                    <a:pos x="T4" y="T5"/>
                  </a:cxn>
                  <a:cxn ang="0">
                    <a:pos x="T6" y="T7"/>
                  </a:cxn>
                  <a:cxn ang="0">
                    <a:pos x="T8" y="T9"/>
                  </a:cxn>
                  <a:cxn ang="0">
                    <a:pos x="T10" y="T11"/>
                  </a:cxn>
                </a:cxnLst>
                <a:rect l="0" t="0" r="r" b="b"/>
                <a:pathLst>
                  <a:path w="121" h="83">
                    <a:moveTo>
                      <a:pt x="0" y="74"/>
                    </a:moveTo>
                    <a:cubicBezTo>
                      <a:pt x="1" y="76"/>
                      <a:pt x="3" y="79"/>
                      <a:pt x="6" y="83"/>
                    </a:cubicBezTo>
                    <a:cubicBezTo>
                      <a:pt x="121" y="4"/>
                      <a:pt x="121" y="4"/>
                      <a:pt x="121" y="4"/>
                    </a:cubicBezTo>
                    <a:cubicBezTo>
                      <a:pt x="118" y="0"/>
                      <a:pt x="118" y="0"/>
                      <a:pt x="118" y="0"/>
                    </a:cubicBezTo>
                    <a:cubicBezTo>
                      <a:pt x="118" y="0"/>
                      <a:pt x="114" y="0"/>
                      <a:pt x="108" y="0"/>
                    </a:cubicBezTo>
                    <a:lnTo>
                      <a:pt x="0" y="74"/>
                    </a:lnTo>
                    <a:close/>
                  </a:path>
                </a:pathLst>
              </a:custGeom>
              <a:solidFill>
                <a:srgbClr val="0082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61" name="Rectangle 702"/>
              <p:cNvSpPr>
                <a:spLocks noChangeArrowheads="1"/>
              </p:cNvSpPr>
              <p:nvPr/>
            </p:nvSpPr>
            <p:spPr bwMode="auto">
              <a:xfrm>
                <a:off x="4714877" y="6029325"/>
                <a:ext cx="134938" cy="666750"/>
              </a:xfrm>
              <a:prstGeom prst="rect">
                <a:avLst/>
              </a:prstGeom>
              <a:solidFill>
                <a:srgbClr val="DCDB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62" name="Freeform 703"/>
              <p:cNvSpPr>
                <a:spLocks noEditPoints="1"/>
              </p:cNvSpPr>
              <p:nvPr/>
            </p:nvSpPr>
            <p:spPr bwMode="auto">
              <a:xfrm>
                <a:off x="4697414" y="6029325"/>
                <a:ext cx="215900" cy="676275"/>
              </a:xfrm>
              <a:custGeom>
                <a:avLst/>
                <a:gdLst>
                  <a:gd name="T0" fmla="*/ 17 w 103"/>
                  <a:gd name="T1" fmla="*/ 322 h 323"/>
                  <a:gd name="T2" fmla="*/ 17 w 103"/>
                  <a:gd name="T3" fmla="*/ 323 h 323"/>
                  <a:gd name="T4" fmla="*/ 18 w 103"/>
                  <a:gd name="T5" fmla="*/ 323 h 323"/>
                  <a:gd name="T6" fmla="*/ 17 w 103"/>
                  <a:gd name="T7" fmla="*/ 322 h 323"/>
                  <a:gd name="T8" fmla="*/ 53 w 103"/>
                  <a:gd name="T9" fmla="*/ 0 h 323"/>
                  <a:gd name="T10" fmla="*/ 53 w 103"/>
                  <a:gd name="T11" fmla="*/ 0 h 323"/>
                  <a:gd name="T12" fmla="*/ 14 w 103"/>
                  <a:gd name="T13" fmla="*/ 16 h 323"/>
                  <a:gd name="T14" fmla="*/ 8 w 103"/>
                  <a:gd name="T15" fmla="*/ 17 h 323"/>
                  <a:gd name="T16" fmla="*/ 18 w 103"/>
                  <a:gd name="T17" fmla="*/ 20 h 323"/>
                  <a:gd name="T18" fmla="*/ 19 w 103"/>
                  <a:gd name="T19" fmla="*/ 20 h 323"/>
                  <a:gd name="T20" fmla="*/ 38 w 103"/>
                  <a:gd name="T21" fmla="*/ 17 h 323"/>
                  <a:gd name="T22" fmla="*/ 38 w 103"/>
                  <a:gd name="T23" fmla="*/ 17 h 323"/>
                  <a:gd name="T24" fmla="*/ 38 w 103"/>
                  <a:gd name="T25" fmla="*/ 17 h 323"/>
                  <a:gd name="T26" fmla="*/ 38 w 103"/>
                  <a:gd name="T27" fmla="*/ 17 h 323"/>
                  <a:gd name="T28" fmla="*/ 38 w 103"/>
                  <a:gd name="T29" fmla="*/ 17 h 323"/>
                  <a:gd name="T30" fmla="*/ 65 w 103"/>
                  <a:gd name="T31" fmla="*/ 41 h 323"/>
                  <a:gd name="T32" fmla="*/ 65 w 103"/>
                  <a:gd name="T33" fmla="*/ 41 h 323"/>
                  <a:gd name="T34" fmla="*/ 65 w 103"/>
                  <a:gd name="T35" fmla="*/ 41 h 323"/>
                  <a:gd name="T36" fmla="*/ 0 w 103"/>
                  <a:gd name="T37" fmla="*/ 251 h 323"/>
                  <a:gd name="T38" fmla="*/ 7 w 103"/>
                  <a:gd name="T39" fmla="*/ 282 h 323"/>
                  <a:gd name="T40" fmla="*/ 28 w 103"/>
                  <a:gd name="T41" fmla="*/ 244 h 323"/>
                  <a:gd name="T42" fmla="*/ 49 w 103"/>
                  <a:gd name="T43" fmla="*/ 236 h 323"/>
                  <a:gd name="T44" fmla="*/ 57 w 103"/>
                  <a:gd name="T45" fmla="*/ 216 h 323"/>
                  <a:gd name="T46" fmla="*/ 103 w 103"/>
                  <a:gd name="T47" fmla="*/ 208 h 323"/>
                  <a:gd name="T48" fmla="*/ 73 w 103"/>
                  <a:gd name="T49" fmla="*/ 13 h 323"/>
                  <a:gd name="T50" fmla="*/ 73 w 103"/>
                  <a:gd name="T51" fmla="*/ 13 h 323"/>
                  <a:gd name="T52" fmla="*/ 73 w 103"/>
                  <a:gd name="T53" fmla="*/ 13 h 323"/>
                  <a:gd name="T54" fmla="*/ 73 w 103"/>
                  <a:gd name="T55" fmla="*/ 13 h 323"/>
                  <a:gd name="T56" fmla="*/ 73 w 103"/>
                  <a:gd name="T57" fmla="*/ 13 h 323"/>
                  <a:gd name="T58" fmla="*/ 53 w 103"/>
                  <a:gd name="T59" fmla="*/ 0 h 323"/>
                  <a:gd name="T60" fmla="*/ 53 w 103"/>
                  <a:gd name="T61"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3" h="323">
                    <a:moveTo>
                      <a:pt x="17" y="322"/>
                    </a:moveTo>
                    <a:cubicBezTo>
                      <a:pt x="17" y="322"/>
                      <a:pt x="17" y="323"/>
                      <a:pt x="17" y="323"/>
                    </a:cubicBezTo>
                    <a:cubicBezTo>
                      <a:pt x="17" y="323"/>
                      <a:pt x="17" y="323"/>
                      <a:pt x="18" y="323"/>
                    </a:cubicBezTo>
                    <a:cubicBezTo>
                      <a:pt x="17" y="323"/>
                      <a:pt x="17" y="322"/>
                      <a:pt x="17" y="322"/>
                    </a:cubicBezTo>
                    <a:moveTo>
                      <a:pt x="53" y="0"/>
                    </a:moveTo>
                    <a:cubicBezTo>
                      <a:pt x="53" y="0"/>
                      <a:pt x="53" y="0"/>
                      <a:pt x="53" y="0"/>
                    </a:cubicBezTo>
                    <a:cubicBezTo>
                      <a:pt x="34" y="0"/>
                      <a:pt x="14" y="16"/>
                      <a:pt x="14" y="16"/>
                    </a:cubicBezTo>
                    <a:cubicBezTo>
                      <a:pt x="12" y="16"/>
                      <a:pt x="10" y="17"/>
                      <a:pt x="8" y="17"/>
                    </a:cubicBezTo>
                    <a:cubicBezTo>
                      <a:pt x="11" y="18"/>
                      <a:pt x="14" y="19"/>
                      <a:pt x="18" y="20"/>
                    </a:cubicBezTo>
                    <a:cubicBezTo>
                      <a:pt x="18" y="20"/>
                      <a:pt x="19" y="20"/>
                      <a:pt x="19" y="20"/>
                    </a:cubicBezTo>
                    <a:cubicBezTo>
                      <a:pt x="19" y="20"/>
                      <a:pt x="2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51" y="17"/>
                      <a:pt x="65" y="21"/>
                      <a:pt x="65" y="41"/>
                    </a:cubicBezTo>
                    <a:cubicBezTo>
                      <a:pt x="65" y="41"/>
                      <a:pt x="65" y="41"/>
                      <a:pt x="65" y="41"/>
                    </a:cubicBezTo>
                    <a:cubicBezTo>
                      <a:pt x="65" y="41"/>
                      <a:pt x="65" y="41"/>
                      <a:pt x="65" y="41"/>
                    </a:cubicBezTo>
                    <a:cubicBezTo>
                      <a:pt x="66" y="70"/>
                      <a:pt x="25" y="182"/>
                      <a:pt x="0" y="251"/>
                    </a:cubicBezTo>
                    <a:cubicBezTo>
                      <a:pt x="2" y="262"/>
                      <a:pt x="5" y="272"/>
                      <a:pt x="7" y="282"/>
                    </a:cubicBezTo>
                    <a:cubicBezTo>
                      <a:pt x="8" y="262"/>
                      <a:pt x="19" y="250"/>
                      <a:pt x="28" y="244"/>
                    </a:cubicBezTo>
                    <a:cubicBezTo>
                      <a:pt x="34" y="240"/>
                      <a:pt x="41" y="237"/>
                      <a:pt x="49" y="236"/>
                    </a:cubicBezTo>
                    <a:cubicBezTo>
                      <a:pt x="52" y="230"/>
                      <a:pt x="54" y="223"/>
                      <a:pt x="57" y="216"/>
                    </a:cubicBezTo>
                    <a:cubicBezTo>
                      <a:pt x="78" y="214"/>
                      <a:pt x="94" y="210"/>
                      <a:pt x="103" y="208"/>
                    </a:cubicBezTo>
                    <a:cubicBezTo>
                      <a:pt x="96" y="135"/>
                      <a:pt x="85" y="36"/>
                      <a:pt x="73" y="13"/>
                    </a:cubicBezTo>
                    <a:cubicBezTo>
                      <a:pt x="73" y="13"/>
                      <a:pt x="73" y="13"/>
                      <a:pt x="73" y="13"/>
                    </a:cubicBezTo>
                    <a:cubicBezTo>
                      <a:pt x="73" y="13"/>
                      <a:pt x="73" y="13"/>
                      <a:pt x="73" y="13"/>
                    </a:cubicBezTo>
                    <a:cubicBezTo>
                      <a:pt x="73" y="13"/>
                      <a:pt x="73" y="13"/>
                      <a:pt x="73" y="13"/>
                    </a:cubicBezTo>
                    <a:cubicBezTo>
                      <a:pt x="73" y="13"/>
                      <a:pt x="73" y="13"/>
                      <a:pt x="73" y="13"/>
                    </a:cubicBezTo>
                    <a:cubicBezTo>
                      <a:pt x="68" y="3"/>
                      <a:pt x="61" y="0"/>
                      <a:pt x="53" y="0"/>
                    </a:cubicBezTo>
                    <a:cubicBezTo>
                      <a:pt x="53" y="0"/>
                      <a:pt x="53" y="0"/>
                      <a:pt x="53" y="0"/>
                    </a:cubicBezTo>
                  </a:path>
                </a:pathLst>
              </a:custGeom>
              <a:solidFill>
                <a:srgbClr val="BAC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63" name="Freeform 704"/>
              <p:cNvSpPr>
                <a:spLocks/>
              </p:cNvSpPr>
              <p:nvPr/>
            </p:nvSpPr>
            <p:spPr bwMode="auto">
              <a:xfrm>
                <a:off x="4713289" y="6523038"/>
                <a:ext cx="87313" cy="182563"/>
              </a:xfrm>
              <a:custGeom>
                <a:avLst/>
                <a:gdLst>
                  <a:gd name="T0" fmla="*/ 42 w 42"/>
                  <a:gd name="T1" fmla="*/ 0 h 87"/>
                  <a:gd name="T2" fmla="*/ 21 w 42"/>
                  <a:gd name="T3" fmla="*/ 8 h 87"/>
                  <a:gd name="T4" fmla="*/ 0 w 42"/>
                  <a:gd name="T5" fmla="*/ 46 h 87"/>
                  <a:gd name="T6" fmla="*/ 0 w 42"/>
                  <a:gd name="T7" fmla="*/ 46 h 87"/>
                  <a:gd name="T8" fmla="*/ 4 w 42"/>
                  <a:gd name="T9" fmla="*/ 70 h 87"/>
                  <a:gd name="T10" fmla="*/ 4 w 42"/>
                  <a:gd name="T11" fmla="*/ 70 h 87"/>
                  <a:gd name="T12" fmla="*/ 4 w 42"/>
                  <a:gd name="T13" fmla="*/ 71 h 87"/>
                  <a:gd name="T14" fmla="*/ 4 w 42"/>
                  <a:gd name="T15" fmla="*/ 71 h 87"/>
                  <a:gd name="T16" fmla="*/ 4 w 42"/>
                  <a:gd name="T17" fmla="*/ 71 h 87"/>
                  <a:gd name="T18" fmla="*/ 4 w 42"/>
                  <a:gd name="T19" fmla="*/ 71 h 87"/>
                  <a:gd name="T20" fmla="*/ 4 w 42"/>
                  <a:gd name="T21" fmla="*/ 71 h 87"/>
                  <a:gd name="T22" fmla="*/ 4 w 42"/>
                  <a:gd name="T23" fmla="*/ 71 h 87"/>
                  <a:gd name="T24" fmla="*/ 4 w 42"/>
                  <a:gd name="T25" fmla="*/ 71 h 87"/>
                  <a:gd name="T26" fmla="*/ 8 w 42"/>
                  <a:gd name="T27" fmla="*/ 82 h 87"/>
                  <a:gd name="T28" fmla="*/ 8 w 42"/>
                  <a:gd name="T29" fmla="*/ 82 h 87"/>
                  <a:gd name="T30" fmla="*/ 8 w 42"/>
                  <a:gd name="T31" fmla="*/ 82 h 87"/>
                  <a:gd name="T32" fmla="*/ 8 w 42"/>
                  <a:gd name="T33" fmla="*/ 82 h 87"/>
                  <a:gd name="T34" fmla="*/ 8 w 42"/>
                  <a:gd name="T35" fmla="*/ 82 h 87"/>
                  <a:gd name="T36" fmla="*/ 8 w 42"/>
                  <a:gd name="T37" fmla="*/ 82 h 87"/>
                  <a:gd name="T38" fmla="*/ 8 w 42"/>
                  <a:gd name="T39" fmla="*/ 82 h 87"/>
                  <a:gd name="T40" fmla="*/ 9 w 42"/>
                  <a:gd name="T41" fmla="*/ 83 h 87"/>
                  <a:gd name="T42" fmla="*/ 10 w 42"/>
                  <a:gd name="T43" fmla="*/ 86 h 87"/>
                  <a:gd name="T44" fmla="*/ 10 w 42"/>
                  <a:gd name="T45" fmla="*/ 86 h 87"/>
                  <a:gd name="T46" fmla="*/ 11 w 42"/>
                  <a:gd name="T47" fmla="*/ 87 h 87"/>
                  <a:gd name="T48" fmla="*/ 16 w 42"/>
                  <a:gd name="T49" fmla="*/ 76 h 87"/>
                  <a:gd name="T50" fmla="*/ 42 w 42"/>
                  <a:gd name="T5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 h="87">
                    <a:moveTo>
                      <a:pt x="42" y="0"/>
                    </a:moveTo>
                    <a:cubicBezTo>
                      <a:pt x="34" y="1"/>
                      <a:pt x="27" y="4"/>
                      <a:pt x="21" y="8"/>
                    </a:cubicBezTo>
                    <a:cubicBezTo>
                      <a:pt x="12" y="14"/>
                      <a:pt x="1" y="26"/>
                      <a:pt x="0" y="46"/>
                    </a:cubicBezTo>
                    <a:cubicBezTo>
                      <a:pt x="0" y="46"/>
                      <a:pt x="0" y="46"/>
                      <a:pt x="0" y="46"/>
                    </a:cubicBezTo>
                    <a:cubicBezTo>
                      <a:pt x="0" y="53"/>
                      <a:pt x="1" y="61"/>
                      <a:pt x="4" y="70"/>
                    </a:cubicBezTo>
                    <a:cubicBezTo>
                      <a:pt x="4" y="70"/>
                      <a:pt x="4" y="70"/>
                      <a:pt x="4" y="70"/>
                    </a:cubicBezTo>
                    <a:cubicBezTo>
                      <a:pt x="4" y="70"/>
                      <a:pt x="4" y="71"/>
                      <a:pt x="4" y="71"/>
                    </a:cubicBezTo>
                    <a:cubicBezTo>
                      <a:pt x="4" y="71"/>
                      <a:pt x="4" y="71"/>
                      <a:pt x="4" y="71"/>
                    </a:cubicBezTo>
                    <a:cubicBezTo>
                      <a:pt x="4" y="71"/>
                      <a:pt x="4" y="71"/>
                      <a:pt x="4" y="71"/>
                    </a:cubicBezTo>
                    <a:cubicBezTo>
                      <a:pt x="4" y="71"/>
                      <a:pt x="4" y="71"/>
                      <a:pt x="4" y="71"/>
                    </a:cubicBezTo>
                    <a:cubicBezTo>
                      <a:pt x="4" y="71"/>
                      <a:pt x="4" y="71"/>
                      <a:pt x="4" y="71"/>
                    </a:cubicBezTo>
                    <a:cubicBezTo>
                      <a:pt x="4" y="71"/>
                      <a:pt x="4" y="71"/>
                      <a:pt x="4" y="71"/>
                    </a:cubicBezTo>
                    <a:cubicBezTo>
                      <a:pt x="4" y="71"/>
                      <a:pt x="4" y="71"/>
                      <a:pt x="4" y="71"/>
                    </a:cubicBezTo>
                    <a:cubicBezTo>
                      <a:pt x="5" y="75"/>
                      <a:pt x="6" y="78"/>
                      <a:pt x="8" y="82"/>
                    </a:cubicBezTo>
                    <a:cubicBezTo>
                      <a:pt x="8" y="82"/>
                      <a:pt x="8" y="82"/>
                      <a:pt x="8" y="82"/>
                    </a:cubicBezTo>
                    <a:cubicBezTo>
                      <a:pt x="8" y="82"/>
                      <a:pt x="8" y="82"/>
                      <a:pt x="8" y="82"/>
                    </a:cubicBezTo>
                    <a:cubicBezTo>
                      <a:pt x="8" y="82"/>
                      <a:pt x="8" y="82"/>
                      <a:pt x="8" y="82"/>
                    </a:cubicBezTo>
                    <a:cubicBezTo>
                      <a:pt x="8" y="82"/>
                      <a:pt x="8" y="82"/>
                      <a:pt x="8" y="82"/>
                    </a:cubicBezTo>
                    <a:cubicBezTo>
                      <a:pt x="8" y="82"/>
                      <a:pt x="8" y="82"/>
                      <a:pt x="8" y="82"/>
                    </a:cubicBezTo>
                    <a:cubicBezTo>
                      <a:pt x="8" y="82"/>
                      <a:pt x="8" y="82"/>
                      <a:pt x="8" y="82"/>
                    </a:cubicBezTo>
                    <a:cubicBezTo>
                      <a:pt x="8" y="83"/>
                      <a:pt x="8" y="83"/>
                      <a:pt x="9" y="83"/>
                    </a:cubicBezTo>
                    <a:cubicBezTo>
                      <a:pt x="9" y="84"/>
                      <a:pt x="9" y="85"/>
                      <a:pt x="10" y="86"/>
                    </a:cubicBezTo>
                    <a:cubicBezTo>
                      <a:pt x="10" y="86"/>
                      <a:pt x="10" y="86"/>
                      <a:pt x="10" y="86"/>
                    </a:cubicBezTo>
                    <a:cubicBezTo>
                      <a:pt x="10" y="86"/>
                      <a:pt x="10" y="87"/>
                      <a:pt x="11" y="87"/>
                    </a:cubicBezTo>
                    <a:cubicBezTo>
                      <a:pt x="13" y="84"/>
                      <a:pt x="15" y="80"/>
                      <a:pt x="16" y="76"/>
                    </a:cubicBezTo>
                    <a:cubicBezTo>
                      <a:pt x="19" y="65"/>
                      <a:pt x="29" y="36"/>
                      <a:pt x="42" y="0"/>
                    </a:cubicBezTo>
                  </a:path>
                </a:pathLst>
              </a:custGeom>
              <a:solidFill>
                <a:srgbClr val="BAC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64" name="Freeform 705"/>
              <p:cNvSpPr>
                <a:spLocks/>
              </p:cNvSpPr>
              <p:nvPr/>
            </p:nvSpPr>
            <p:spPr bwMode="auto">
              <a:xfrm>
                <a:off x="4445002" y="6042025"/>
                <a:ext cx="393700" cy="681038"/>
              </a:xfrm>
              <a:custGeom>
                <a:avLst/>
                <a:gdLst>
                  <a:gd name="T0" fmla="*/ 140 w 188"/>
                  <a:gd name="T1" fmla="*/ 14 h 326"/>
                  <a:gd name="T2" fmla="*/ 186 w 188"/>
                  <a:gd name="T3" fmla="*/ 35 h 326"/>
                  <a:gd name="T4" fmla="*/ 103 w 188"/>
                  <a:gd name="T5" fmla="*/ 299 h 326"/>
                  <a:gd name="T6" fmla="*/ 54 w 188"/>
                  <a:gd name="T7" fmla="*/ 316 h 326"/>
                  <a:gd name="T8" fmla="*/ 22 w 188"/>
                  <a:gd name="T9" fmla="*/ 313 h 326"/>
                  <a:gd name="T10" fmla="*/ 2 w 188"/>
                  <a:gd name="T11" fmla="*/ 300 h 326"/>
                  <a:gd name="T12" fmla="*/ 66 w 188"/>
                  <a:gd name="T13" fmla="*/ 35 h 326"/>
                  <a:gd name="T14" fmla="*/ 140 w 188"/>
                  <a:gd name="T15" fmla="*/ 14 h 3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326">
                    <a:moveTo>
                      <a:pt x="140" y="14"/>
                    </a:moveTo>
                    <a:cubicBezTo>
                      <a:pt x="140" y="14"/>
                      <a:pt x="185" y="0"/>
                      <a:pt x="186" y="35"/>
                    </a:cubicBezTo>
                    <a:cubicBezTo>
                      <a:pt x="188" y="74"/>
                      <a:pt x="110" y="269"/>
                      <a:pt x="103" y="299"/>
                    </a:cubicBezTo>
                    <a:cubicBezTo>
                      <a:pt x="99" y="315"/>
                      <a:pt x="84" y="326"/>
                      <a:pt x="54" y="316"/>
                    </a:cubicBezTo>
                    <a:cubicBezTo>
                      <a:pt x="43" y="312"/>
                      <a:pt x="32" y="312"/>
                      <a:pt x="22" y="313"/>
                    </a:cubicBezTo>
                    <a:cubicBezTo>
                      <a:pt x="9" y="315"/>
                      <a:pt x="0" y="316"/>
                      <a:pt x="2" y="300"/>
                    </a:cubicBezTo>
                    <a:cubicBezTo>
                      <a:pt x="14" y="209"/>
                      <a:pt x="56" y="63"/>
                      <a:pt x="66" y="35"/>
                    </a:cubicBezTo>
                    <a:cubicBezTo>
                      <a:pt x="76" y="7"/>
                      <a:pt x="101" y="3"/>
                      <a:pt x="140" y="14"/>
                    </a:cubicBezTo>
                  </a:path>
                </a:pathLst>
              </a:cu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65" name="Freeform 706"/>
              <p:cNvSpPr>
                <a:spLocks noEditPoints="1"/>
              </p:cNvSpPr>
              <p:nvPr/>
            </p:nvSpPr>
            <p:spPr bwMode="auto">
              <a:xfrm>
                <a:off x="4583114" y="6059488"/>
                <a:ext cx="80963" cy="55563"/>
              </a:xfrm>
              <a:custGeom>
                <a:avLst/>
                <a:gdLst>
                  <a:gd name="T0" fmla="*/ 39 w 39"/>
                  <a:gd name="T1" fmla="*/ 0 h 27"/>
                  <a:gd name="T2" fmla="*/ 0 w 39"/>
                  <a:gd name="T3" fmla="*/ 27 h 27"/>
                  <a:gd name="T4" fmla="*/ 0 w 39"/>
                  <a:gd name="T5" fmla="*/ 27 h 27"/>
                  <a:gd name="T6" fmla="*/ 0 w 39"/>
                  <a:gd name="T7" fmla="*/ 27 h 27"/>
                  <a:gd name="T8" fmla="*/ 39 w 39"/>
                  <a:gd name="T9" fmla="*/ 0 h 27"/>
                  <a:gd name="T10" fmla="*/ 39 w 39"/>
                  <a:gd name="T11" fmla="*/ 0 h 27"/>
                  <a:gd name="T12" fmla="*/ 39 w 39"/>
                  <a:gd name="T13" fmla="*/ 0 h 27"/>
                  <a:gd name="T14" fmla="*/ 39 w 39"/>
                  <a:gd name="T15" fmla="*/ 0 h 27"/>
                  <a:gd name="T16" fmla="*/ 39 w 39"/>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7">
                    <a:moveTo>
                      <a:pt x="39" y="0"/>
                    </a:moveTo>
                    <a:cubicBezTo>
                      <a:pt x="20" y="0"/>
                      <a:pt x="7" y="8"/>
                      <a:pt x="0" y="27"/>
                    </a:cubicBezTo>
                    <a:cubicBezTo>
                      <a:pt x="0" y="27"/>
                      <a:pt x="0" y="27"/>
                      <a:pt x="0" y="27"/>
                    </a:cubicBezTo>
                    <a:cubicBezTo>
                      <a:pt x="0" y="27"/>
                      <a:pt x="0" y="27"/>
                      <a:pt x="0" y="27"/>
                    </a:cubicBezTo>
                    <a:cubicBezTo>
                      <a:pt x="7" y="8"/>
                      <a:pt x="20" y="0"/>
                      <a:pt x="39" y="0"/>
                    </a:cubicBezTo>
                    <a:moveTo>
                      <a:pt x="39" y="0"/>
                    </a:moveTo>
                    <a:cubicBezTo>
                      <a:pt x="39" y="0"/>
                      <a:pt x="39" y="0"/>
                      <a:pt x="39" y="0"/>
                    </a:cubicBezTo>
                    <a:cubicBezTo>
                      <a:pt x="39" y="0"/>
                      <a:pt x="39" y="0"/>
                      <a:pt x="39" y="0"/>
                    </a:cubicBezTo>
                    <a:cubicBezTo>
                      <a:pt x="39" y="0"/>
                      <a:pt x="39" y="0"/>
                      <a:pt x="39" y="0"/>
                    </a:cubicBezTo>
                  </a:path>
                </a:pathLst>
              </a:custGeom>
              <a:solidFill>
                <a:srgbClr val="E6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66" name="Freeform 707"/>
              <p:cNvSpPr>
                <a:spLocks noEditPoints="1"/>
              </p:cNvSpPr>
              <p:nvPr/>
            </p:nvSpPr>
            <p:spPr bwMode="auto">
              <a:xfrm>
                <a:off x="4735514" y="6065838"/>
                <a:ext cx="41275" cy="6350"/>
              </a:xfrm>
              <a:custGeom>
                <a:avLst/>
                <a:gdLst>
                  <a:gd name="T0" fmla="*/ 20 w 20"/>
                  <a:gd name="T1" fmla="*/ 0 h 3"/>
                  <a:gd name="T2" fmla="*/ 1 w 20"/>
                  <a:gd name="T3" fmla="*/ 3 h 3"/>
                  <a:gd name="T4" fmla="*/ 0 w 20"/>
                  <a:gd name="T5" fmla="*/ 3 h 3"/>
                  <a:gd name="T6" fmla="*/ 1 w 20"/>
                  <a:gd name="T7" fmla="*/ 3 h 3"/>
                  <a:gd name="T8" fmla="*/ 20 w 20"/>
                  <a:gd name="T9" fmla="*/ 0 h 3"/>
                  <a:gd name="T10" fmla="*/ 20 w 20"/>
                  <a:gd name="T11" fmla="*/ 0 h 3"/>
                  <a:gd name="T12" fmla="*/ 20 w 20"/>
                  <a:gd name="T13" fmla="*/ 0 h 3"/>
                  <a:gd name="T14" fmla="*/ 20 w 20"/>
                  <a:gd name="T15" fmla="*/ 0 h 3"/>
                  <a:gd name="T16" fmla="*/ 20 w 20"/>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
                    <a:moveTo>
                      <a:pt x="20" y="0"/>
                    </a:moveTo>
                    <a:cubicBezTo>
                      <a:pt x="10" y="0"/>
                      <a:pt x="1" y="3"/>
                      <a:pt x="1" y="3"/>
                    </a:cubicBezTo>
                    <a:cubicBezTo>
                      <a:pt x="1" y="3"/>
                      <a:pt x="0" y="3"/>
                      <a:pt x="0" y="3"/>
                    </a:cubicBezTo>
                    <a:cubicBezTo>
                      <a:pt x="0" y="3"/>
                      <a:pt x="1" y="3"/>
                      <a:pt x="1" y="3"/>
                    </a:cubicBezTo>
                    <a:cubicBezTo>
                      <a:pt x="1" y="3"/>
                      <a:pt x="10" y="0"/>
                      <a:pt x="20" y="0"/>
                    </a:cubicBezTo>
                    <a:moveTo>
                      <a:pt x="20" y="0"/>
                    </a:moveTo>
                    <a:cubicBezTo>
                      <a:pt x="20" y="0"/>
                      <a:pt x="20" y="0"/>
                      <a:pt x="20" y="0"/>
                    </a:cubicBezTo>
                    <a:cubicBezTo>
                      <a:pt x="20" y="0"/>
                      <a:pt x="20" y="0"/>
                      <a:pt x="20" y="0"/>
                    </a:cubicBezTo>
                    <a:cubicBezTo>
                      <a:pt x="20" y="0"/>
                      <a:pt x="20" y="0"/>
                      <a:pt x="20" y="0"/>
                    </a:cubicBezTo>
                  </a:path>
                </a:pathLst>
              </a:custGeom>
              <a:solidFill>
                <a:srgbClr val="AEB3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67" name="Freeform 708"/>
              <p:cNvSpPr>
                <a:spLocks/>
              </p:cNvSpPr>
              <p:nvPr/>
            </p:nvSpPr>
            <p:spPr bwMode="auto">
              <a:xfrm>
                <a:off x="4489452" y="6059488"/>
                <a:ext cx="344488" cy="441325"/>
              </a:xfrm>
              <a:custGeom>
                <a:avLst/>
                <a:gdLst>
                  <a:gd name="T0" fmla="*/ 84 w 165"/>
                  <a:gd name="T1" fmla="*/ 0 h 211"/>
                  <a:gd name="T2" fmla="*/ 84 w 165"/>
                  <a:gd name="T3" fmla="*/ 0 h 211"/>
                  <a:gd name="T4" fmla="*/ 45 w 165"/>
                  <a:gd name="T5" fmla="*/ 27 h 211"/>
                  <a:gd name="T6" fmla="*/ 45 w 165"/>
                  <a:gd name="T7" fmla="*/ 27 h 211"/>
                  <a:gd name="T8" fmla="*/ 44 w 165"/>
                  <a:gd name="T9" fmla="*/ 29 h 211"/>
                  <a:gd name="T10" fmla="*/ 0 w 165"/>
                  <a:gd name="T11" fmla="*/ 196 h 211"/>
                  <a:gd name="T12" fmla="*/ 105 w 165"/>
                  <a:gd name="T13" fmla="*/ 211 h 211"/>
                  <a:gd name="T14" fmla="*/ 110 w 165"/>
                  <a:gd name="T15" fmla="*/ 210 h 211"/>
                  <a:gd name="T16" fmla="*/ 165 w 165"/>
                  <a:gd name="T17" fmla="*/ 33 h 211"/>
                  <a:gd name="T18" fmla="*/ 165 w 165"/>
                  <a:gd name="T19" fmla="*/ 33 h 211"/>
                  <a:gd name="T20" fmla="*/ 165 w 165"/>
                  <a:gd name="T21" fmla="*/ 31 h 211"/>
                  <a:gd name="T22" fmla="*/ 165 w 165"/>
                  <a:gd name="T23" fmla="*/ 30 h 211"/>
                  <a:gd name="T24" fmla="*/ 165 w 165"/>
                  <a:gd name="T25" fmla="*/ 29 h 211"/>
                  <a:gd name="T26" fmla="*/ 165 w 165"/>
                  <a:gd name="T27" fmla="*/ 27 h 211"/>
                  <a:gd name="T28" fmla="*/ 165 w 165"/>
                  <a:gd name="T29" fmla="*/ 27 h 211"/>
                  <a:gd name="T30" fmla="*/ 165 w 165"/>
                  <a:gd name="T31" fmla="*/ 27 h 211"/>
                  <a:gd name="T32" fmla="*/ 138 w 165"/>
                  <a:gd name="T33" fmla="*/ 3 h 211"/>
                  <a:gd name="T34" fmla="*/ 138 w 165"/>
                  <a:gd name="T35" fmla="*/ 3 h 211"/>
                  <a:gd name="T36" fmla="*/ 138 w 165"/>
                  <a:gd name="T37" fmla="*/ 3 h 211"/>
                  <a:gd name="T38" fmla="*/ 119 w 165"/>
                  <a:gd name="T39" fmla="*/ 6 h 211"/>
                  <a:gd name="T40" fmla="*/ 118 w 165"/>
                  <a:gd name="T41" fmla="*/ 6 h 211"/>
                  <a:gd name="T42" fmla="*/ 84 w 165"/>
                  <a:gd name="T43" fmla="*/ 0 h 211"/>
                  <a:gd name="T44" fmla="*/ 84 w 165"/>
                  <a:gd name="T45"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5" h="211">
                    <a:moveTo>
                      <a:pt x="84" y="0"/>
                    </a:moveTo>
                    <a:cubicBezTo>
                      <a:pt x="84" y="0"/>
                      <a:pt x="84" y="0"/>
                      <a:pt x="84" y="0"/>
                    </a:cubicBezTo>
                    <a:cubicBezTo>
                      <a:pt x="65" y="0"/>
                      <a:pt x="52" y="8"/>
                      <a:pt x="45" y="27"/>
                    </a:cubicBezTo>
                    <a:cubicBezTo>
                      <a:pt x="45" y="27"/>
                      <a:pt x="45" y="27"/>
                      <a:pt x="45" y="27"/>
                    </a:cubicBezTo>
                    <a:cubicBezTo>
                      <a:pt x="45" y="27"/>
                      <a:pt x="45" y="28"/>
                      <a:pt x="44" y="29"/>
                    </a:cubicBezTo>
                    <a:cubicBezTo>
                      <a:pt x="36" y="52"/>
                      <a:pt x="17" y="125"/>
                      <a:pt x="0" y="196"/>
                    </a:cubicBezTo>
                    <a:cubicBezTo>
                      <a:pt x="49" y="208"/>
                      <a:pt x="84" y="211"/>
                      <a:pt x="105" y="211"/>
                    </a:cubicBezTo>
                    <a:cubicBezTo>
                      <a:pt x="107" y="211"/>
                      <a:pt x="108" y="210"/>
                      <a:pt x="110" y="210"/>
                    </a:cubicBezTo>
                    <a:cubicBezTo>
                      <a:pt x="133" y="147"/>
                      <a:pt x="162" y="65"/>
                      <a:pt x="165" y="33"/>
                    </a:cubicBezTo>
                    <a:cubicBezTo>
                      <a:pt x="165" y="33"/>
                      <a:pt x="165" y="33"/>
                      <a:pt x="165" y="33"/>
                    </a:cubicBezTo>
                    <a:cubicBezTo>
                      <a:pt x="165" y="33"/>
                      <a:pt x="165" y="32"/>
                      <a:pt x="165" y="31"/>
                    </a:cubicBezTo>
                    <a:cubicBezTo>
                      <a:pt x="165" y="31"/>
                      <a:pt x="165" y="31"/>
                      <a:pt x="165" y="30"/>
                    </a:cubicBezTo>
                    <a:cubicBezTo>
                      <a:pt x="165" y="30"/>
                      <a:pt x="165" y="29"/>
                      <a:pt x="165" y="29"/>
                    </a:cubicBezTo>
                    <a:cubicBezTo>
                      <a:pt x="165" y="28"/>
                      <a:pt x="165" y="27"/>
                      <a:pt x="165" y="27"/>
                    </a:cubicBezTo>
                    <a:cubicBezTo>
                      <a:pt x="165" y="27"/>
                      <a:pt x="165" y="27"/>
                      <a:pt x="165" y="27"/>
                    </a:cubicBezTo>
                    <a:cubicBezTo>
                      <a:pt x="165" y="27"/>
                      <a:pt x="165" y="27"/>
                      <a:pt x="165" y="27"/>
                    </a:cubicBezTo>
                    <a:cubicBezTo>
                      <a:pt x="165" y="7"/>
                      <a:pt x="151" y="3"/>
                      <a:pt x="138" y="3"/>
                    </a:cubicBezTo>
                    <a:cubicBezTo>
                      <a:pt x="138" y="3"/>
                      <a:pt x="138" y="3"/>
                      <a:pt x="138" y="3"/>
                    </a:cubicBezTo>
                    <a:cubicBezTo>
                      <a:pt x="138" y="3"/>
                      <a:pt x="138" y="3"/>
                      <a:pt x="138" y="3"/>
                    </a:cubicBezTo>
                    <a:cubicBezTo>
                      <a:pt x="128" y="3"/>
                      <a:pt x="119" y="6"/>
                      <a:pt x="119" y="6"/>
                    </a:cubicBezTo>
                    <a:cubicBezTo>
                      <a:pt x="119" y="6"/>
                      <a:pt x="118" y="6"/>
                      <a:pt x="118" y="6"/>
                    </a:cubicBezTo>
                    <a:cubicBezTo>
                      <a:pt x="105" y="2"/>
                      <a:pt x="94" y="0"/>
                      <a:pt x="84" y="0"/>
                    </a:cubicBezTo>
                    <a:cubicBezTo>
                      <a:pt x="84" y="0"/>
                      <a:pt x="84" y="0"/>
                      <a:pt x="84" y="0"/>
                    </a:cubicBezTo>
                  </a:path>
                </a:pathLst>
              </a:custGeom>
              <a:solidFill>
                <a:srgbClr val="C2C8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68" name="Freeform 709"/>
              <p:cNvSpPr>
                <a:spLocks/>
              </p:cNvSpPr>
              <p:nvPr/>
            </p:nvSpPr>
            <p:spPr bwMode="auto">
              <a:xfrm>
                <a:off x="4492627" y="6977063"/>
                <a:ext cx="149225" cy="204788"/>
              </a:xfrm>
              <a:custGeom>
                <a:avLst/>
                <a:gdLst>
                  <a:gd name="T0" fmla="*/ 69 w 71"/>
                  <a:gd name="T1" fmla="*/ 79 h 98"/>
                  <a:gd name="T2" fmla="*/ 34 w 71"/>
                  <a:gd name="T3" fmla="*/ 96 h 98"/>
                  <a:gd name="T4" fmla="*/ 1 w 71"/>
                  <a:gd name="T5" fmla="*/ 60 h 98"/>
                  <a:gd name="T6" fmla="*/ 1 w 71"/>
                  <a:gd name="T7" fmla="*/ 34 h 98"/>
                  <a:gd name="T8" fmla="*/ 37 w 71"/>
                  <a:gd name="T9" fmla="*/ 0 h 98"/>
                  <a:gd name="T10" fmla="*/ 70 w 71"/>
                  <a:gd name="T11" fmla="*/ 35 h 98"/>
                  <a:gd name="T12" fmla="*/ 69 w 71"/>
                  <a:gd name="T13" fmla="*/ 79 h 98"/>
                </a:gdLst>
                <a:ahLst/>
                <a:cxnLst>
                  <a:cxn ang="0">
                    <a:pos x="T0" y="T1"/>
                  </a:cxn>
                  <a:cxn ang="0">
                    <a:pos x="T2" y="T3"/>
                  </a:cxn>
                  <a:cxn ang="0">
                    <a:pos x="T4" y="T5"/>
                  </a:cxn>
                  <a:cxn ang="0">
                    <a:pos x="T6" y="T7"/>
                  </a:cxn>
                  <a:cxn ang="0">
                    <a:pos x="T8" y="T9"/>
                  </a:cxn>
                  <a:cxn ang="0">
                    <a:pos x="T10" y="T11"/>
                  </a:cxn>
                  <a:cxn ang="0">
                    <a:pos x="T12" y="T13"/>
                  </a:cxn>
                </a:cxnLst>
                <a:rect l="0" t="0" r="r" b="b"/>
                <a:pathLst>
                  <a:path w="71" h="98">
                    <a:moveTo>
                      <a:pt x="69" y="79"/>
                    </a:moveTo>
                    <a:cubicBezTo>
                      <a:pt x="69" y="98"/>
                      <a:pt x="53" y="96"/>
                      <a:pt x="34" y="96"/>
                    </a:cubicBezTo>
                    <a:cubicBezTo>
                      <a:pt x="15" y="95"/>
                      <a:pt x="0" y="80"/>
                      <a:pt x="1" y="60"/>
                    </a:cubicBezTo>
                    <a:cubicBezTo>
                      <a:pt x="1" y="34"/>
                      <a:pt x="1" y="34"/>
                      <a:pt x="1" y="34"/>
                    </a:cubicBezTo>
                    <a:cubicBezTo>
                      <a:pt x="2" y="15"/>
                      <a:pt x="18" y="0"/>
                      <a:pt x="37" y="0"/>
                    </a:cubicBezTo>
                    <a:cubicBezTo>
                      <a:pt x="56" y="0"/>
                      <a:pt x="71" y="16"/>
                      <a:pt x="70" y="35"/>
                    </a:cubicBezTo>
                    <a:lnTo>
                      <a:pt x="69" y="79"/>
                    </a:lnTo>
                    <a:close/>
                  </a:path>
                </a:pathLst>
              </a:custGeom>
              <a:solidFill>
                <a:srgbClr val="E2B6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69" name="Freeform 710"/>
              <p:cNvSpPr>
                <a:spLocks/>
              </p:cNvSpPr>
              <p:nvPr/>
            </p:nvSpPr>
            <p:spPr bwMode="auto">
              <a:xfrm>
                <a:off x="4429127" y="6548438"/>
                <a:ext cx="227013" cy="577850"/>
              </a:xfrm>
              <a:custGeom>
                <a:avLst/>
                <a:gdLst>
                  <a:gd name="T0" fmla="*/ 60 w 109"/>
                  <a:gd name="T1" fmla="*/ 271 h 277"/>
                  <a:gd name="T2" fmla="*/ 30 w 109"/>
                  <a:gd name="T3" fmla="*/ 268 h 277"/>
                  <a:gd name="T4" fmla="*/ 11 w 109"/>
                  <a:gd name="T5" fmla="*/ 52 h 277"/>
                  <a:gd name="T6" fmla="*/ 67 w 109"/>
                  <a:gd name="T7" fmla="*/ 0 h 277"/>
                  <a:gd name="T8" fmla="*/ 109 w 109"/>
                  <a:gd name="T9" fmla="*/ 61 h 277"/>
                  <a:gd name="T10" fmla="*/ 104 w 109"/>
                  <a:gd name="T11" fmla="*/ 272 h 277"/>
                  <a:gd name="T12" fmla="*/ 60 w 109"/>
                  <a:gd name="T13" fmla="*/ 271 h 277"/>
                </a:gdLst>
                <a:ahLst/>
                <a:cxnLst>
                  <a:cxn ang="0">
                    <a:pos x="T0" y="T1"/>
                  </a:cxn>
                  <a:cxn ang="0">
                    <a:pos x="T2" y="T3"/>
                  </a:cxn>
                  <a:cxn ang="0">
                    <a:pos x="T4" y="T5"/>
                  </a:cxn>
                  <a:cxn ang="0">
                    <a:pos x="T6" y="T7"/>
                  </a:cxn>
                  <a:cxn ang="0">
                    <a:pos x="T8" y="T9"/>
                  </a:cxn>
                  <a:cxn ang="0">
                    <a:pos x="T10" y="T11"/>
                  </a:cxn>
                  <a:cxn ang="0">
                    <a:pos x="T12" y="T13"/>
                  </a:cxn>
                </a:cxnLst>
                <a:rect l="0" t="0" r="r" b="b"/>
                <a:pathLst>
                  <a:path w="109" h="277">
                    <a:moveTo>
                      <a:pt x="60" y="271"/>
                    </a:moveTo>
                    <a:cubicBezTo>
                      <a:pt x="49" y="271"/>
                      <a:pt x="49" y="270"/>
                      <a:pt x="30" y="268"/>
                    </a:cubicBezTo>
                    <a:cubicBezTo>
                      <a:pt x="30" y="273"/>
                      <a:pt x="0" y="98"/>
                      <a:pt x="11" y="52"/>
                    </a:cubicBezTo>
                    <a:cubicBezTo>
                      <a:pt x="22" y="6"/>
                      <a:pt x="49" y="0"/>
                      <a:pt x="67" y="0"/>
                    </a:cubicBezTo>
                    <a:cubicBezTo>
                      <a:pt x="85" y="1"/>
                      <a:pt x="109" y="14"/>
                      <a:pt x="109" y="61"/>
                    </a:cubicBezTo>
                    <a:cubicBezTo>
                      <a:pt x="108" y="111"/>
                      <a:pt x="103" y="277"/>
                      <a:pt x="104" y="272"/>
                    </a:cubicBezTo>
                    <a:cubicBezTo>
                      <a:pt x="84" y="272"/>
                      <a:pt x="71" y="272"/>
                      <a:pt x="60" y="271"/>
                    </a:cubicBezTo>
                    <a:close/>
                  </a:path>
                </a:pathLst>
              </a:cu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70" name="Freeform 711"/>
              <p:cNvSpPr>
                <a:spLocks/>
              </p:cNvSpPr>
              <p:nvPr/>
            </p:nvSpPr>
            <p:spPr bwMode="auto">
              <a:xfrm>
                <a:off x="4346577" y="7072313"/>
                <a:ext cx="290513" cy="123825"/>
              </a:xfrm>
              <a:custGeom>
                <a:avLst/>
                <a:gdLst>
                  <a:gd name="T0" fmla="*/ 139 w 139"/>
                  <a:gd name="T1" fmla="*/ 53 h 59"/>
                  <a:gd name="T2" fmla="*/ 59 w 139"/>
                  <a:gd name="T3" fmla="*/ 5 h 59"/>
                  <a:gd name="T4" fmla="*/ 1 w 139"/>
                  <a:gd name="T5" fmla="*/ 55 h 59"/>
                  <a:gd name="T6" fmla="*/ 139 w 139"/>
                  <a:gd name="T7" fmla="*/ 59 h 59"/>
                  <a:gd name="T8" fmla="*/ 139 w 139"/>
                  <a:gd name="T9" fmla="*/ 53 h 59"/>
                </a:gdLst>
                <a:ahLst/>
                <a:cxnLst>
                  <a:cxn ang="0">
                    <a:pos x="T0" y="T1"/>
                  </a:cxn>
                  <a:cxn ang="0">
                    <a:pos x="T2" y="T3"/>
                  </a:cxn>
                  <a:cxn ang="0">
                    <a:pos x="T4" y="T5"/>
                  </a:cxn>
                  <a:cxn ang="0">
                    <a:pos x="T6" y="T7"/>
                  </a:cxn>
                  <a:cxn ang="0">
                    <a:pos x="T8" y="T9"/>
                  </a:cxn>
                </a:cxnLst>
                <a:rect l="0" t="0" r="r" b="b"/>
                <a:pathLst>
                  <a:path w="139" h="59">
                    <a:moveTo>
                      <a:pt x="139" y="53"/>
                    </a:moveTo>
                    <a:cubicBezTo>
                      <a:pt x="139" y="53"/>
                      <a:pt x="66" y="10"/>
                      <a:pt x="59" y="5"/>
                    </a:cubicBezTo>
                    <a:cubicBezTo>
                      <a:pt x="51" y="0"/>
                      <a:pt x="0" y="4"/>
                      <a:pt x="1" y="55"/>
                    </a:cubicBezTo>
                    <a:cubicBezTo>
                      <a:pt x="139" y="59"/>
                      <a:pt x="139" y="59"/>
                      <a:pt x="139" y="59"/>
                    </a:cubicBezTo>
                    <a:lnTo>
                      <a:pt x="139" y="53"/>
                    </a:lnTo>
                    <a:close/>
                  </a:path>
                </a:pathLst>
              </a:custGeom>
              <a:solidFill>
                <a:srgbClr val="0197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71" name="Freeform 712"/>
              <p:cNvSpPr>
                <a:spLocks/>
              </p:cNvSpPr>
              <p:nvPr/>
            </p:nvSpPr>
            <p:spPr bwMode="auto">
              <a:xfrm>
                <a:off x="4348164" y="7164388"/>
                <a:ext cx="288925" cy="31750"/>
              </a:xfrm>
              <a:custGeom>
                <a:avLst/>
                <a:gdLst>
                  <a:gd name="T0" fmla="*/ 1 w 138"/>
                  <a:gd name="T1" fmla="*/ 0 h 15"/>
                  <a:gd name="T2" fmla="*/ 0 w 138"/>
                  <a:gd name="T3" fmla="*/ 11 h 15"/>
                  <a:gd name="T4" fmla="*/ 138 w 138"/>
                  <a:gd name="T5" fmla="*/ 15 h 15"/>
                  <a:gd name="T6" fmla="*/ 138 w 138"/>
                  <a:gd name="T7" fmla="*/ 9 h 15"/>
                  <a:gd name="T8" fmla="*/ 130 w 138"/>
                  <a:gd name="T9" fmla="*/ 3 h 15"/>
                  <a:gd name="T10" fmla="*/ 1 w 138"/>
                  <a:gd name="T11" fmla="*/ 0 h 15"/>
                </a:gdLst>
                <a:ahLst/>
                <a:cxnLst>
                  <a:cxn ang="0">
                    <a:pos x="T0" y="T1"/>
                  </a:cxn>
                  <a:cxn ang="0">
                    <a:pos x="T2" y="T3"/>
                  </a:cxn>
                  <a:cxn ang="0">
                    <a:pos x="T4" y="T5"/>
                  </a:cxn>
                  <a:cxn ang="0">
                    <a:pos x="T6" y="T7"/>
                  </a:cxn>
                  <a:cxn ang="0">
                    <a:pos x="T8" y="T9"/>
                  </a:cxn>
                  <a:cxn ang="0">
                    <a:pos x="T10" y="T11"/>
                  </a:cxn>
                </a:cxnLst>
                <a:rect l="0" t="0" r="r" b="b"/>
                <a:pathLst>
                  <a:path w="138" h="15">
                    <a:moveTo>
                      <a:pt x="1" y="0"/>
                    </a:moveTo>
                    <a:cubicBezTo>
                      <a:pt x="1" y="4"/>
                      <a:pt x="0" y="7"/>
                      <a:pt x="0" y="11"/>
                    </a:cubicBezTo>
                    <a:cubicBezTo>
                      <a:pt x="138" y="15"/>
                      <a:pt x="138" y="15"/>
                      <a:pt x="138" y="15"/>
                    </a:cubicBezTo>
                    <a:cubicBezTo>
                      <a:pt x="138" y="9"/>
                      <a:pt x="138" y="9"/>
                      <a:pt x="138" y="9"/>
                    </a:cubicBezTo>
                    <a:cubicBezTo>
                      <a:pt x="138" y="9"/>
                      <a:pt x="135" y="7"/>
                      <a:pt x="130" y="3"/>
                    </a:cubicBezTo>
                    <a:lnTo>
                      <a:pt x="1" y="0"/>
                    </a:lnTo>
                    <a:close/>
                  </a:path>
                </a:pathLst>
              </a:custGeom>
              <a:solidFill>
                <a:srgbClr val="0082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72" name="Freeform 713"/>
              <p:cNvSpPr>
                <a:spLocks/>
              </p:cNvSpPr>
              <p:nvPr/>
            </p:nvSpPr>
            <p:spPr bwMode="auto">
              <a:xfrm>
                <a:off x="4502152" y="5348288"/>
                <a:ext cx="415925" cy="1120775"/>
              </a:xfrm>
              <a:custGeom>
                <a:avLst/>
                <a:gdLst>
                  <a:gd name="T0" fmla="*/ 0 w 199"/>
                  <a:gd name="T1" fmla="*/ 509 h 536"/>
                  <a:gd name="T2" fmla="*/ 197 w 199"/>
                  <a:gd name="T3" fmla="*/ 509 h 536"/>
                  <a:gd name="T4" fmla="*/ 177 w 199"/>
                  <a:gd name="T5" fmla="*/ 44 h 536"/>
                  <a:gd name="T6" fmla="*/ 86 w 199"/>
                  <a:gd name="T7" fmla="*/ 7 h 536"/>
                  <a:gd name="T8" fmla="*/ 27 w 199"/>
                  <a:gd name="T9" fmla="*/ 97 h 536"/>
                  <a:gd name="T10" fmla="*/ 0 w 199"/>
                  <a:gd name="T11" fmla="*/ 509 h 536"/>
                </a:gdLst>
                <a:ahLst/>
                <a:cxnLst>
                  <a:cxn ang="0">
                    <a:pos x="T0" y="T1"/>
                  </a:cxn>
                  <a:cxn ang="0">
                    <a:pos x="T2" y="T3"/>
                  </a:cxn>
                  <a:cxn ang="0">
                    <a:pos x="T4" y="T5"/>
                  </a:cxn>
                  <a:cxn ang="0">
                    <a:pos x="T6" y="T7"/>
                  </a:cxn>
                  <a:cxn ang="0">
                    <a:pos x="T8" y="T9"/>
                  </a:cxn>
                  <a:cxn ang="0">
                    <a:pos x="T10" y="T11"/>
                  </a:cxn>
                </a:cxnLst>
                <a:rect l="0" t="0" r="r" b="b"/>
                <a:pathLst>
                  <a:path w="199" h="536">
                    <a:moveTo>
                      <a:pt x="0" y="509"/>
                    </a:moveTo>
                    <a:cubicBezTo>
                      <a:pt x="87" y="536"/>
                      <a:pt x="197" y="509"/>
                      <a:pt x="197" y="509"/>
                    </a:cubicBezTo>
                    <a:cubicBezTo>
                      <a:pt x="197" y="509"/>
                      <a:pt x="199" y="126"/>
                      <a:pt x="177" y="44"/>
                    </a:cubicBezTo>
                    <a:cubicBezTo>
                      <a:pt x="167" y="4"/>
                      <a:pt x="116" y="0"/>
                      <a:pt x="86" y="7"/>
                    </a:cubicBezTo>
                    <a:cubicBezTo>
                      <a:pt x="63" y="25"/>
                      <a:pt x="39" y="86"/>
                      <a:pt x="27" y="97"/>
                    </a:cubicBezTo>
                    <a:cubicBezTo>
                      <a:pt x="10" y="160"/>
                      <a:pt x="10" y="293"/>
                      <a:pt x="0" y="509"/>
                    </a:cubicBezTo>
                    <a:close/>
                  </a:path>
                </a:pathLst>
              </a:custGeom>
              <a:solidFill>
                <a:srgbClr val="E1E9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73" name="Freeform 714"/>
              <p:cNvSpPr>
                <a:spLocks/>
              </p:cNvSpPr>
              <p:nvPr/>
            </p:nvSpPr>
            <p:spPr bwMode="auto">
              <a:xfrm>
                <a:off x="4570414" y="6134100"/>
                <a:ext cx="182563" cy="201613"/>
              </a:xfrm>
              <a:custGeom>
                <a:avLst/>
                <a:gdLst>
                  <a:gd name="T0" fmla="*/ 87 w 87"/>
                  <a:gd name="T1" fmla="*/ 83 h 96"/>
                  <a:gd name="T2" fmla="*/ 74 w 87"/>
                  <a:gd name="T3" fmla="*/ 96 h 96"/>
                  <a:gd name="T4" fmla="*/ 13 w 87"/>
                  <a:gd name="T5" fmla="*/ 96 h 96"/>
                  <a:gd name="T6" fmla="*/ 0 w 87"/>
                  <a:gd name="T7" fmla="*/ 83 h 96"/>
                  <a:gd name="T8" fmla="*/ 0 w 87"/>
                  <a:gd name="T9" fmla="*/ 13 h 96"/>
                  <a:gd name="T10" fmla="*/ 13 w 87"/>
                  <a:gd name="T11" fmla="*/ 0 h 96"/>
                  <a:gd name="T12" fmla="*/ 74 w 87"/>
                  <a:gd name="T13" fmla="*/ 0 h 96"/>
                  <a:gd name="T14" fmla="*/ 87 w 87"/>
                  <a:gd name="T15" fmla="*/ 13 h 96"/>
                  <a:gd name="T16" fmla="*/ 87 w 87"/>
                  <a:gd name="T17" fmla="*/ 8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96">
                    <a:moveTo>
                      <a:pt x="87" y="83"/>
                    </a:moveTo>
                    <a:cubicBezTo>
                      <a:pt x="87" y="91"/>
                      <a:pt x="81" y="96"/>
                      <a:pt x="74" y="96"/>
                    </a:cubicBezTo>
                    <a:cubicBezTo>
                      <a:pt x="13" y="96"/>
                      <a:pt x="13" y="96"/>
                      <a:pt x="13" y="96"/>
                    </a:cubicBezTo>
                    <a:cubicBezTo>
                      <a:pt x="6" y="96"/>
                      <a:pt x="0" y="91"/>
                      <a:pt x="0" y="83"/>
                    </a:cubicBezTo>
                    <a:cubicBezTo>
                      <a:pt x="0" y="13"/>
                      <a:pt x="0" y="13"/>
                      <a:pt x="0" y="13"/>
                    </a:cubicBezTo>
                    <a:cubicBezTo>
                      <a:pt x="0" y="5"/>
                      <a:pt x="6" y="0"/>
                      <a:pt x="13" y="0"/>
                    </a:cubicBezTo>
                    <a:cubicBezTo>
                      <a:pt x="74" y="0"/>
                      <a:pt x="74" y="0"/>
                      <a:pt x="74" y="0"/>
                    </a:cubicBezTo>
                    <a:cubicBezTo>
                      <a:pt x="81" y="0"/>
                      <a:pt x="87" y="5"/>
                      <a:pt x="87" y="13"/>
                    </a:cubicBezTo>
                    <a:lnTo>
                      <a:pt x="87" y="83"/>
                    </a:lnTo>
                    <a:close/>
                  </a:path>
                </a:pathLst>
              </a:cu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74" name="Freeform 715"/>
              <p:cNvSpPr>
                <a:spLocks/>
              </p:cNvSpPr>
              <p:nvPr/>
            </p:nvSpPr>
            <p:spPr bwMode="auto">
              <a:xfrm>
                <a:off x="4548189" y="6102350"/>
                <a:ext cx="228600" cy="63500"/>
              </a:xfrm>
              <a:custGeom>
                <a:avLst/>
                <a:gdLst>
                  <a:gd name="T0" fmla="*/ 110 w 110"/>
                  <a:gd name="T1" fmla="*/ 24 h 30"/>
                  <a:gd name="T2" fmla="*/ 105 w 110"/>
                  <a:gd name="T3" fmla="*/ 30 h 30"/>
                  <a:gd name="T4" fmla="*/ 5 w 110"/>
                  <a:gd name="T5" fmla="*/ 30 h 30"/>
                  <a:gd name="T6" fmla="*/ 0 w 110"/>
                  <a:gd name="T7" fmla="*/ 24 h 30"/>
                  <a:gd name="T8" fmla="*/ 0 w 110"/>
                  <a:gd name="T9" fmla="*/ 5 h 30"/>
                  <a:gd name="T10" fmla="*/ 5 w 110"/>
                  <a:gd name="T11" fmla="*/ 0 h 30"/>
                  <a:gd name="T12" fmla="*/ 105 w 110"/>
                  <a:gd name="T13" fmla="*/ 0 h 30"/>
                  <a:gd name="T14" fmla="*/ 110 w 110"/>
                  <a:gd name="T15" fmla="*/ 5 h 30"/>
                  <a:gd name="T16" fmla="*/ 110 w 110"/>
                  <a:gd name="T17"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30">
                    <a:moveTo>
                      <a:pt x="110" y="24"/>
                    </a:moveTo>
                    <a:cubicBezTo>
                      <a:pt x="110" y="27"/>
                      <a:pt x="107" y="30"/>
                      <a:pt x="105" y="30"/>
                    </a:cubicBezTo>
                    <a:cubicBezTo>
                      <a:pt x="5" y="30"/>
                      <a:pt x="5" y="30"/>
                      <a:pt x="5" y="30"/>
                    </a:cubicBezTo>
                    <a:cubicBezTo>
                      <a:pt x="2" y="30"/>
                      <a:pt x="0" y="27"/>
                      <a:pt x="0" y="24"/>
                    </a:cubicBezTo>
                    <a:cubicBezTo>
                      <a:pt x="0" y="5"/>
                      <a:pt x="0" y="5"/>
                      <a:pt x="0" y="5"/>
                    </a:cubicBezTo>
                    <a:cubicBezTo>
                      <a:pt x="0" y="2"/>
                      <a:pt x="2" y="0"/>
                      <a:pt x="5" y="0"/>
                    </a:cubicBezTo>
                    <a:cubicBezTo>
                      <a:pt x="105" y="0"/>
                      <a:pt x="105" y="0"/>
                      <a:pt x="105" y="0"/>
                    </a:cubicBezTo>
                    <a:cubicBezTo>
                      <a:pt x="107" y="0"/>
                      <a:pt x="110" y="2"/>
                      <a:pt x="110" y="5"/>
                    </a:cubicBezTo>
                    <a:lnTo>
                      <a:pt x="110" y="24"/>
                    </a:lnTo>
                    <a:close/>
                  </a:path>
                </a:pathLst>
              </a:custGeom>
              <a:solidFill>
                <a:srgbClr val="C2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75" name="Freeform 716"/>
              <p:cNvSpPr>
                <a:spLocks/>
              </p:cNvSpPr>
              <p:nvPr/>
            </p:nvSpPr>
            <p:spPr bwMode="auto">
              <a:xfrm>
                <a:off x="4530727" y="5364163"/>
                <a:ext cx="157163" cy="358775"/>
              </a:xfrm>
              <a:custGeom>
                <a:avLst/>
                <a:gdLst>
                  <a:gd name="T0" fmla="*/ 72 w 75"/>
                  <a:gd name="T1" fmla="*/ 0 h 172"/>
                  <a:gd name="T2" fmla="*/ 13 w 75"/>
                  <a:gd name="T3" fmla="*/ 90 h 172"/>
                  <a:gd name="T4" fmla="*/ 0 w 75"/>
                  <a:gd name="T5" fmla="*/ 172 h 172"/>
                  <a:gd name="T6" fmla="*/ 47 w 75"/>
                  <a:gd name="T7" fmla="*/ 113 h 172"/>
                  <a:gd name="T8" fmla="*/ 44 w 75"/>
                  <a:gd name="T9" fmla="*/ 73 h 172"/>
                  <a:gd name="T10" fmla="*/ 75 w 75"/>
                  <a:gd name="T11" fmla="*/ 94 h 172"/>
                  <a:gd name="T12" fmla="*/ 72 w 75"/>
                  <a:gd name="T13" fmla="*/ 0 h 172"/>
                </a:gdLst>
                <a:ahLst/>
                <a:cxnLst>
                  <a:cxn ang="0">
                    <a:pos x="T0" y="T1"/>
                  </a:cxn>
                  <a:cxn ang="0">
                    <a:pos x="T2" y="T3"/>
                  </a:cxn>
                  <a:cxn ang="0">
                    <a:pos x="T4" y="T5"/>
                  </a:cxn>
                  <a:cxn ang="0">
                    <a:pos x="T6" y="T7"/>
                  </a:cxn>
                  <a:cxn ang="0">
                    <a:pos x="T8" y="T9"/>
                  </a:cxn>
                  <a:cxn ang="0">
                    <a:pos x="T10" y="T11"/>
                  </a:cxn>
                  <a:cxn ang="0">
                    <a:pos x="T12" y="T13"/>
                  </a:cxn>
                </a:cxnLst>
                <a:rect l="0" t="0" r="r" b="b"/>
                <a:pathLst>
                  <a:path w="75" h="172">
                    <a:moveTo>
                      <a:pt x="72" y="0"/>
                    </a:moveTo>
                    <a:cubicBezTo>
                      <a:pt x="49" y="14"/>
                      <a:pt x="37" y="60"/>
                      <a:pt x="13" y="90"/>
                    </a:cubicBezTo>
                    <a:cubicBezTo>
                      <a:pt x="8" y="109"/>
                      <a:pt x="5" y="134"/>
                      <a:pt x="0" y="172"/>
                    </a:cubicBezTo>
                    <a:cubicBezTo>
                      <a:pt x="47" y="113"/>
                      <a:pt x="47" y="113"/>
                      <a:pt x="47" y="113"/>
                    </a:cubicBezTo>
                    <a:cubicBezTo>
                      <a:pt x="44" y="73"/>
                      <a:pt x="44" y="73"/>
                      <a:pt x="44" y="73"/>
                    </a:cubicBezTo>
                    <a:cubicBezTo>
                      <a:pt x="75" y="94"/>
                      <a:pt x="75" y="94"/>
                      <a:pt x="75" y="94"/>
                    </a:cubicBezTo>
                    <a:lnTo>
                      <a:pt x="72" y="0"/>
                    </a:lnTo>
                    <a:close/>
                  </a:path>
                </a:pathLst>
              </a:custGeom>
              <a:solidFill>
                <a:srgbClr val="C2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76" name="Freeform 717"/>
              <p:cNvSpPr>
                <a:spLocks/>
              </p:cNvSpPr>
              <p:nvPr/>
            </p:nvSpPr>
            <p:spPr bwMode="auto">
              <a:xfrm>
                <a:off x="4557714" y="5364163"/>
                <a:ext cx="123825" cy="192088"/>
              </a:xfrm>
              <a:custGeom>
                <a:avLst/>
                <a:gdLst>
                  <a:gd name="T0" fmla="*/ 3 w 59"/>
                  <a:gd name="T1" fmla="*/ 78 h 92"/>
                  <a:gd name="T2" fmla="*/ 0 w 59"/>
                  <a:gd name="T3" fmla="*/ 92 h 92"/>
                  <a:gd name="T4" fmla="*/ 59 w 59"/>
                  <a:gd name="T5" fmla="*/ 0 h 92"/>
                  <a:gd name="T6" fmla="*/ 3 w 59"/>
                  <a:gd name="T7" fmla="*/ 78 h 92"/>
                </a:gdLst>
                <a:ahLst/>
                <a:cxnLst>
                  <a:cxn ang="0">
                    <a:pos x="T0" y="T1"/>
                  </a:cxn>
                  <a:cxn ang="0">
                    <a:pos x="T2" y="T3"/>
                  </a:cxn>
                  <a:cxn ang="0">
                    <a:pos x="T4" y="T5"/>
                  </a:cxn>
                  <a:cxn ang="0">
                    <a:pos x="T6" y="T7"/>
                  </a:cxn>
                </a:cxnLst>
                <a:rect l="0" t="0" r="r" b="b"/>
                <a:pathLst>
                  <a:path w="59" h="92">
                    <a:moveTo>
                      <a:pt x="3" y="78"/>
                    </a:moveTo>
                    <a:cubicBezTo>
                      <a:pt x="1" y="82"/>
                      <a:pt x="1" y="87"/>
                      <a:pt x="0" y="92"/>
                    </a:cubicBezTo>
                    <a:cubicBezTo>
                      <a:pt x="59" y="0"/>
                      <a:pt x="59" y="0"/>
                      <a:pt x="59" y="0"/>
                    </a:cubicBezTo>
                    <a:cubicBezTo>
                      <a:pt x="40" y="12"/>
                      <a:pt x="23" y="35"/>
                      <a:pt x="3" y="78"/>
                    </a:cubicBezTo>
                    <a:close/>
                  </a:path>
                </a:pathLst>
              </a:custGeom>
              <a:solidFill>
                <a:srgbClr val="6C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77" name="Freeform 718"/>
              <p:cNvSpPr>
                <a:spLocks/>
              </p:cNvSpPr>
              <p:nvPr/>
            </p:nvSpPr>
            <p:spPr bwMode="auto">
              <a:xfrm>
                <a:off x="4468814" y="5403850"/>
                <a:ext cx="301625" cy="503238"/>
              </a:xfrm>
              <a:custGeom>
                <a:avLst/>
                <a:gdLst>
                  <a:gd name="T0" fmla="*/ 0 w 145"/>
                  <a:gd name="T1" fmla="*/ 168 h 241"/>
                  <a:gd name="T2" fmla="*/ 33 w 145"/>
                  <a:gd name="T3" fmla="*/ 228 h 241"/>
                  <a:gd name="T4" fmla="*/ 142 w 145"/>
                  <a:gd name="T5" fmla="*/ 34 h 241"/>
                  <a:gd name="T6" fmla="*/ 120 w 145"/>
                  <a:gd name="T7" fmla="*/ 1 h 241"/>
                  <a:gd name="T8" fmla="*/ 25 w 145"/>
                  <a:gd name="T9" fmla="*/ 132 h 241"/>
                  <a:gd name="T10" fmla="*/ 0 w 145"/>
                  <a:gd name="T11" fmla="*/ 168 h 241"/>
                </a:gdLst>
                <a:ahLst/>
                <a:cxnLst>
                  <a:cxn ang="0">
                    <a:pos x="T0" y="T1"/>
                  </a:cxn>
                  <a:cxn ang="0">
                    <a:pos x="T2" y="T3"/>
                  </a:cxn>
                  <a:cxn ang="0">
                    <a:pos x="T4" y="T5"/>
                  </a:cxn>
                  <a:cxn ang="0">
                    <a:pos x="T6" y="T7"/>
                  </a:cxn>
                  <a:cxn ang="0">
                    <a:pos x="T8" y="T9"/>
                  </a:cxn>
                  <a:cxn ang="0">
                    <a:pos x="T10" y="T11"/>
                  </a:cxn>
                </a:cxnLst>
                <a:rect l="0" t="0" r="r" b="b"/>
                <a:pathLst>
                  <a:path w="145" h="241">
                    <a:moveTo>
                      <a:pt x="0" y="168"/>
                    </a:moveTo>
                    <a:cubicBezTo>
                      <a:pt x="21" y="191"/>
                      <a:pt x="20" y="241"/>
                      <a:pt x="33" y="228"/>
                    </a:cubicBezTo>
                    <a:cubicBezTo>
                      <a:pt x="85" y="176"/>
                      <a:pt x="145" y="77"/>
                      <a:pt x="142" y="34"/>
                    </a:cubicBezTo>
                    <a:cubicBezTo>
                      <a:pt x="139" y="6"/>
                      <a:pt x="130" y="1"/>
                      <a:pt x="120" y="1"/>
                    </a:cubicBezTo>
                    <a:cubicBezTo>
                      <a:pt x="79" y="0"/>
                      <a:pt x="66" y="66"/>
                      <a:pt x="25" y="132"/>
                    </a:cubicBezTo>
                    <a:lnTo>
                      <a:pt x="0" y="168"/>
                    </a:lnTo>
                    <a:close/>
                  </a:path>
                </a:pathLst>
              </a:cu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78" name="Freeform 719"/>
              <p:cNvSpPr>
                <a:spLocks/>
              </p:cNvSpPr>
              <p:nvPr/>
            </p:nvSpPr>
            <p:spPr bwMode="auto">
              <a:xfrm>
                <a:off x="4057652" y="5688013"/>
                <a:ext cx="141288" cy="201613"/>
              </a:xfrm>
              <a:custGeom>
                <a:avLst/>
                <a:gdLst>
                  <a:gd name="T0" fmla="*/ 23 w 67"/>
                  <a:gd name="T1" fmla="*/ 9 h 97"/>
                  <a:gd name="T2" fmla="*/ 28 w 67"/>
                  <a:gd name="T3" fmla="*/ 1 h 97"/>
                  <a:gd name="T4" fmla="*/ 41 w 67"/>
                  <a:gd name="T5" fmla="*/ 23 h 97"/>
                  <a:gd name="T6" fmla="*/ 55 w 67"/>
                  <a:gd name="T7" fmla="*/ 58 h 97"/>
                  <a:gd name="T8" fmla="*/ 42 w 67"/>
                  <a:gd name="T9" fmla="*/ 92 h 97"/>
                  <a:gd name="T10" fmla="*/ 20 w 67"/>
                  <a:gd name="T11" fmla="*/ 86 h 97"/>
                  <a:gd name="T12" fmla="*/ 8 w 67"/>
                  <a:gd name="T13" fmla="*/ 53 h 97"/>
                  <a:gd name="T14" fmla="*/ 4 w 67"/>
                  <a:gd name="T15" fmla="*/ 34 h 97"/>
                  <a:gd name="T16" fmla="*/ 12 w 67"/>
                  <a:gd name="T17" fmla="*/ 20 h 97"/>
                  <a:gd name="T18" fmla="*/ 23 w 67"/>
                  <a:gd name="T19" fmla="*/ 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97">
                    <a:moveTo>
                      <a:pt x="23" y="9"/>
                    </a:moveTo>
                    <a:cubicBezTo>
                      <a:pt x="23" y="9"/>
                      <a:pt x="23" y="2"/>
                      <a:pt x="28" y="1"/>
                    </a:cubicBezTo>
                    <a:cubicBezTo>
                      <a:pt x="33" y="0"/>
                      <a:pt x="36" y="6"/>
                      <a:pt x="41" y="23"/>
                    </a:cubicBezTo>
                    <a:cubicBezTo>
                      <a:pt x="44" y="29"/>
                      <a:pt x="52" y="46"/>
                      <a:pt x="55" y="58"/>
                    </a:cubicBezTo>
                    <a:cubicBezTo>
                      <a:pt x="57" y="70"/>
                      <a:pt x="67" y="87"/>
                      <a:pt x="42" y="92"/>
                    </a:cubicBezTo>
                    <a:cubicBezTo>
                      <a:pt x="42" y="92"/>
                      <a:pt x="28" y="97"/>
                      <a:pt x="20" y="86"/>
                    </a:cubicBezTo>
                    <a:cubicBezTo>
                      <a:pt x="15" y="79"/>
                      <a:pt x="12" y="72"/>
                      <a:pt x="8" y="53"/>
                    </a:cubicBezTo>
                    <a:cubicBezTo>
                      <a:pt x="8" y="53"/>
                      <a:pt x="9" y="45"/>
                      <a:pt x="4" y="34"/>
                    </a:cubicBezTo>
                    <a:cubicBezTo>
                      <a:pt x="0" y="22"/>
                      <a:pt x="6" y="16"/>
                      <a:pt x="12" y="20"/>
                    </a:cubicBezTo>
                    <a:cubicBezTo>
                      <a:pt x="12" y="20"/>
                      <a:pt x="10" y="6"/>
                      <a:pt x="23" y="9"/>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79" name="Freeform 720"/>
              <p:cNvSpPr>
                <a:spLocks/>
              </p:cNvSpPr>
              <p:nvPr/>
            </p:nvSpPr>
            <p:spPr bwMode="auto">
              <a:xfrm>
                <a:off x="4103689" y="5703888"/>
                <a:ext cx="19050" cy="53975"/>
              </a:xfrm>
              <a:custGeom>
                <a:avLst/>
                <a:gdLst>
                  <a:gd name="T0" fmla="*/ 9 w 9"/>
                  <a:gd name="T1" fmla="*/ 26 h 26"/>
                  <a:gd name="T2" fmla="*/ 1 w 9"/>
                  <a:gd name="T3" fmla="*/ 0 h 26"/>
                  <a:gd name="T4" fmla="*/ 1 w 9"/>
                  <a:gd name="T5" fmla="*/ 1 h 26"/>
                  <a:gd name="T6" fmla="*/ 0 w 9"/>
                  <a:gd name="T7" fmla="*/ 1 h 26"/>
                  <a:gd name="T8" fmla="*/ 9 w 9"/>
                  <a:gd name="T9" fmla="*/ 26 h 26"/>
                </a:gdLst>
                <a:ahLst/>
                <a:cxnLst>
                  <a:cxn ang="0">
                    <a:pos x="T0" y="T1"/>
                  </a:cxn>
                  <a:cxn ang="0">
                    <a:pos x="T2" y="T3"/>
                  </a:cxn>
                  <a:cxn ang="0">
                    <a:pos x="T4" y="T5"/>
                  </a:cxn>
                  <a:cxn ang="0">
                    <a:pos x="T6" y="T7"/>
                  </a:cxn>
                  <a:cxn ang="0">
                    <a:pos x="T8" y="T9"/>
                  </a:cxn>
                </a:cxnLst>
                <a:rect l="0" t="0" r="r" b="b"/>
                <a:pathLst>
                  <a:path w="9" h="26">
                    <a:moveTo>
                      <a:pt x="9" y="26"/>
                    </a:moveTo>
                    <a:cubicBezTo>
                      <a:pt x="9" y="26"/>
                      <a:pt x="9" y="17"/>
                      <a:pt x="1" y="0"/>
                    </a:cubicBezTo>
                    <a:cubicBezTo>
                      <a:pt x="1" y="1"/>
                      <a:pt x="1" y="1"/>
                      <a:pt x="1" y="1"/>
                    </a:cubicBezTo>
                    <a:cubicBezTo>
                      <a:pt x="0" y="1"/>
                      <a:pt x="0" y="1"/>
                      <a:pt x="0" y="1"/>
                    </a:cubicBezTo>
                    <a:cubicBezTo>
                      <a:pt x="2" y="6"/>
                      <a:pt x="7" y="17"/>
                      <a:pt x="9" y="26"/>
                    </a:cubicBezTo>
                    <a:close/>
                  </a:path>
                </a:pathLst>
              </a:custGeom>
              <a:solidFill>
                <a:srgbClr val="B98F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80" name="Freeform 721"/>
              <p:cNvSpPr>
                <a:spLocks/>
              </p:cNvSpPr>
              <p:nvPr/>
            </p:nvSpPr>
            <p:spPr bwMode="auto">
              <a:xfrm>
                <a:off x="4081464" y="5724525"/>
                <a:ext cx="20638" cy="50800"/>
              </a:xfrm>
              <a:custGeom>
                <a:avLst/>
                <a:gdLst>
                  <a:gd name="T0" fmla="*/ 1 w 10"/>
                  <a:gd name="T1" fmla="*/ 2 h 24"/>
                  <a:gd name="T2" fmla="*/ 0 w 10"/>
                  <a:gd name="T3" fmla="*/ 1 h 24"/>
                  <a:gd name="T4" fmla="*/ 10 w 10"/>
                  <a:gd name="T5" fmla="*/ 24 h 24"/>
                  <a:gd name="T6" fmla="*/ 1 w 10"/>
                  <a:gd name="T7" fmla="*/ 0 h 24"/>
                  <a:gd name="T8" fmla="*/ 1 w 10"/>
                  <a:gd name="T9" fmla="*/ 2 h 24"/>
                </a:gdLst>
                <a:ahLst/>
                <a:cxnLst>
                  <a:cxn ang="0">
                    <a:pos x="T0" y="T1"/>
                  </a:cxn>
                  <a:cxn ang="0">
                    <a:pos x="T2" y="T3"/>
                  </a:cxn>
                  <a:cxn ang="0">
                    <a:pos x="T4" y="T5"/>
                  </a:cxn>
                  <a:cxn ang="0">
                    <a:pos x="T6" y="T7"/>
                  </a:cxn>
                  <a:cxn ang="0">
                    <a:pos x="T8" y="T9"/>
                  </a:cxn>
                </a:cxnLst>
                <a:rect l="0" t="0" r="r" b="b"/>
                <a:pathLst>
                  <a:path w="10" h="24">
                    <a:moveTo>
                      <a:pt x="1" y="2"/>
                    </a:moveTo>
                    <a:cubicBezTo>
                      <a:pt x="1" y="2"/>
                      <a:pt x="0" y="1"/>
                      <a:pt x="0" y="1"/>
                    </a:cubicBezTo>
                    <a:cubicBezTo>
                      <a:pt x="3" y="7"/>
                      <a:pt x="8" y="16"/>
                      <a:pt x="10" y="24"/>
                    </a:cubicBezTo>
                    <a:cubicBezTo>
                      <a:pt x="10" y="24"/>
                      <a:pt x="10" y="16"/>
                      <a:pt x="1" y="0"/>
                    </a:cubicBezTo>
                    <a:cubicBezTo>
                      <a:pt x="1" y="1"/>
                      <a:pt x="1" y="2"/>
                      <a:pt x="1" y="2"/>
                    </a:cubicBezTo>
                    <a:close/>
                  </a:path>
                </a:pathLst>
              </a:custGeom>
              <a:solidFill>
                <a:srgbClr val="B98F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81" name="Freeform 722"/>
              <p:cNvSpPr>
                <a:spLocks/>
              </p:cNvSpPr>
              <p:nvPr/>
            </p:nvSpPr>
            <p:spPr bwMode="auto">
              <a:xfrm>
                <a:off x="4143377" y="5795963"/>
                <a:ext cx="161925" cy="84138"/>
              </a:xfrm>
              <a:custGeom>
                <a:avLst/>
                <a:gdLst>
                  <a:gd name="T0" fmla="*/ 6 w 77"/>
                  <a:gd name="T1" fmla="*/ 39 h 40"/>
                  <a:gd name="T2" fmla="*/ 12 w 77"/>
                  <a:gd name="T3" fmla="*/ 27 h 40"/>
                  <a:gd name="T4" fmla="*/ 10 w 77"/>
                  <a:gd name="T5" fmla="*/ 16 h 40"/>
                  <a:gd name="T6" fmla="*/ 7 w 77"/>
                  <a:gd name="T7" fmla="*/ 3 h 40"/>
                  <a:gd name="T8" fmla="*/ 69 w 77"/>
                  <a:gd name="T9" fmla="*/ 5 h 40"/>
                  <a:gd name="T10" fmla="*/ 72 w 77"/>
                  <a:gd name="T11" fmla="*/ 5 h 40"/>
                  <a:gd name="T12" fmla="*/ 76 w 77"/>
                  <a:gd name="T13" fmla="*/ 25 h 40"/>
                  <a:gd name="T14" fmla="*/ 68 w 77"/>
                  <a:gd name="T15" fmla="*/ 39 h 40"/>
                  <a:gd name="T16" fmla="*/ 6 w 77"/>
                  <a:gd name="T17"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0">
                    <a:moveTo>
                      <a:pt x="6" y="39"/>
                    </a:moveTo>
                    <a:cubicBezTo>
                      <a:pt x="0" y="40"/>
                      <a:pt x="13" y="33"/>
                      <a:pt x="12" y="27"/>
                    </a:cubicBezTo>
                    <a:cubicBezTo>
                      <a:pt x="10" y="16"/>
                      <a:pt x="10" y="16"/>
                      <a:pt x="10" y="16"/>
                    </a:cubicBezTo>
                    <a:cubicBezTo>
                      <a:pt x="9" y="11"/>
                      <a:pt x="2" y="4"/>
                      <a:pt x="7" y="3"/>
                    </a:cubicBezTo>
                    <a:cubicBezTo>
                      <a:pt x="69" y="5"/>
                      <a:pt x="69" y="5"/>
                      <a:pt x="69" y="5"/>
                    </a:cubicBezTo>
                    <a:cubicBezTo>
                      <a:pt x="74" y="4"/>
                      <a:pt x="71" y="0"/>
                      <a:pt x="72" y="5"/>
                    </a:cubicBezTo>
                    <a:cubicBezTo>
                      <a:pt x="76" y="25"/>
                      <a:pt x="76" y="25"/>
                      <a:pt x="76" y="25"/>
                    </a:cubicBezTo>
                    <a:cubicBezTo>
                      <a:pt x="77" y="30"/>
                      <a:pt x="74" y="38"/>
                      <a:pt x="68" y="39"/>
                    </a:cubicBezTo>
                    <a:lnTo>
                      <a:pt x="6" y="39"/>
                    </a:ln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82" name="Freeform 723"/>
              <p:cNvSpPr>
                <a:spLocks/>
              </p:cNvSpPr>
              <p:nvPr/>
            </p:nvSpPr>
            <p:spPr bwMode="auto">
              <a:xfrm>
                <a:off x="4175127" y="5730875"/>
                <a:ext cx="423863" cy="203200"/>
              </a:xfrm>
              <a:custGeom>
                <a:avLst/>
                <a:gdLst>
                  <a:gd name="T0" fmla="*/ 177 w 203"/>
                  <a:gd name="T1" fmla="*/ 48 h 97"/>
                  <a:gd name="T2" fmla="*/ 190 w 203"/>
                  <a:gd name="T3" fmla="*/ 4 h 97"/>
                  <a:gd name="T4" fmla="*/ 129 w 203"/>
                  <a:gd name="T5" fmla="*/ 13 h 97"/>
                  <a:gd name="T6" fmla="*/ 8 w 203"/>
                  <a:gd name="T7" fmla="*/ 30 h 97"/>
                  <a:gd name="T8" fmla="*/ 0 w 203"/>
                  <a:gd name="T9" fmla="*/ 78 h 97"/>
                  <a:gd name="T10" fmla="*/ 151 w 203"/>
                  <a:gd name="T11" fmla="*/ 81 h 97"/>
                  <a:gd name="T12" fmla="*/ 177 w 203"/>
                  <a:gd name="T13" fmla="*/ 48 h 97"/>
                </a:gdLst>
                <a:ahLst/>
                <a:cxnLst>
                  <a:cxn ang="0">
                    <a:pos x="T0" y="T1"/>
                  </a:cxn>
                  <a:cxn ang="0">
                    <a:pos x="T2" y="T3"/>
                  </a:cxn>
                  <a:cxn ang="0">
                    <a:pos x="T4" y="T5"/>
                  </a:cxn>
                  <a:cxn ang="0">
                    <a:pos x="T6" y="T7"/>
                  </a:cxn>
                  <a:cxn ang="0">
                    <a:pos x="T8" y="T9"/>
                  </a:cxn>
                  <a:cxn ang="0">
                    <a:pos x="T10" y="T11"/>
                  </a:cxn>
                  <a:cxn ang="0">
                    <a:pos x="T12" y="T13"/>
                  </a:cxn>
                </a:cxnLst>
                <a:rect l="0" t="0" r="r" b="b"/>
                <a:pathLst>
                  <a:path w="203" h="97">
                    <a:moveTo>
                      <a:pt x="177" y="48"/>
                    </a:moveTo>
                    <a:cubicBezTo>
                      <a:pt x="176" y="41"/>
                      <a:pt x="203" y="10"/>
                      <a:pt x="190" y="4"/>
                    </a:cubicBezTo>
                    <a:cubicBezTo>
                      <a:pt x="184" y="0"/>
                      <a:pt x="160" y="7"/>
                      <a:pt x="129" y="13"/>
                    </a:cubicBezTo>
                    <a:cubicBezTo>
                      <a:pt x="100" y="19"/>
                      <a:pt x="51" y="23"/>
                      <a:pt x="8" y="30"/>
                    </a:cubicBezTo>
                    <a:cubicBezTo>
                      <a:pt x="8" y="30"/>
                      <a:pt x="3" y="71"/>
                      <a:pt x="0" y="78"/>
                    </a:cubicBezTo>
                    <a:cubicBezTo>
                      <a:pt x="0" y="78"/>
                      <a:pt x="103" y="97"/>
                      <a:pt x="151" y="81"/>
                    </a:cubicBezTo>
                    <a:cubicBezTo>
                      <a:pt x="191" y="68"/>
                      <a:pt x="178" y="60"/>
                      <a:pt x="177" y="48"/>
                    </a:cubicBezTo>
                    <a:close/>
                  </a:path>
                </a:pathLst>
              </a:cu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83" name="Freeform 724"/>
              <p:cNvSpPr>
                <a:spLocks/>
              </p:cNvSpPr>
              <p:nvPr/>
            </p:nvSpPr>
            <p:spPr bwMode="auto">
              <a:xfrm>
                <a:off x="3471864" y="5494338"/>
                <a:ext cx="136525" cy="122238"/>
              </a:xfrm>
              <a:custGeom>
                <a:avLst/>
                <a:gdLst>
                  <a:gd name="T0" fmla="*/ 43 w 66"/>
                  <a:gd name="T1" fmla="*/ 42 h 58"/>
                  <a:gd name="T2" fmla="*/ 20 w 66"/>
                  <a:gd name="T3" fmla="*/ 13 h 58"/>
                  <a:gd name="T4" fmla="*/ 20 w 66"/>
                  <a:gd name="T5" fmla="*/ 55 h 58"/>
                  <a:gd name="T6" fmla="*/ 43 w 66"/>
                  <a:gd name="T7" fmla="*/ 42 h 58"/>
                </a:gdLst>
                <a:ahLst/>
                <a:cxnLst>
                  <a:cxn ang="0">
                    <a:pos x="T0" y="T1"/>
                  </a:cxn>
                  <a:cxn ang="0">
                    <a:pos x="T2" y="T3"/>
                  </a:cxn>
                  <a:cxn ang="0">
                    <a:pos x="T4" y="T5"/>
                  </a:cxn>
                  <a:cxn ang="0">
                    <a:pos x="T6" y="T7"/>
                  </a:cxn>
                </a:cxnLst>
                <a:rect l="0" t="0" r="r" b="b"/>
                <a:pathLst>
                  <a:path w="66" h="58">
                    <a:moveTo>
                      <a:pt x="43" y="42"/>
                    </a:moveTo>
                    <a:cubicBezTo>
                      <a:pt x="66" y="24"/>
                      <a:pt x="36" y="0"/>
                      <a:pt x="20" y="13"/>
                    </a:cubicBezTo>
                    <a:cubicBezTo>
                      <a:pt x="4" y="27"/>
                      <a:pt x="0" y="58"/>
                      <a:pt x="20" y="55"/>
                    </a:cubicBezTo>
                    <a:cubicBezTo>
                      <a:pt x="37" y="46"/>
                      <a:pt x="43" y="42"/>
                      <a:pt x="43" y="42"/>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84" name="Freeform 725"/>
              <p:cNvSpPr>
                <a:spLocks/>
              </p:cNvSpPr>
              <p:nvPr/>
            </p:nvSpPr>
            <p:spPr bwMode="auto">
              <a:xfrm>
                <a:off x="3525839" y="5440363"/>
                <a:ext cx="160338" cy="139700"/>
              </a:xfrm>
              <a:custGeom>
                <a:avLst/>
                <a:gdLst>
                  <a:gd name="T0" fmla="*/ 67 w 77"/>
                  <a:gd name="T1" fmla="*/ 0 h 67"/>
                  <a:gd name="T2" fmla="*/ 77 w 77"/>
                  <a:gd name="T3" fmla="*/ 9 h 67"/>
                  <a:gd name="T4" fmla="*/ 8 w 77"/>
                  <a:gd name="T5" fmla="*/ 67 h 67"/>
                  <a:gd name="T6" fmla="*/ 0 w 77"/>
                  <a:gd name="T7" fmla="*/ 55 h 67"/>
                  <a:gd name="T8" fmla="*/ 24 w 77"/>
                  <a:gd name="T9" fmla="*/ 22 h 67"/>
                  <a:gd name="T10" fmla="*/ 52 w 77"/>
                  <a:gd name="T11" fmla="*/ 2 h 67"/>
                  <a:gd name="T12" fmla="*/ 67 w 77"/>
                  <a:gd name="T13" fmla="*/ 0 h 67"/>
                </a:gdLst>
                <a:ahLst/>
                <a:cxnLst>
                  <a:cxn ang="0">
                    <a:pos x="T0" y="T1"/>
                  </a:cxn>
                  <a:cxn ang="0">
                    <a:pos x="T2" y="T3"/>
                  </a:cxn>
                  <a:cxn ang="0">
                    <a:pos x="T4" y="T5"/>
                  </a:cxn>
                  <a:cxn ang="0">
                    <a:pos x="T6" y="T7"/>
                  </a:cxn>
                  <a:cxn ang="0">
                    <a:pos x="T8" y="T9"/>
                  </a:cxn>
                  <a:cxn ang="0">
                    <a:pos x="T10" y="T11"/>
                  </a:cxn>
                  <a:cxn ang="0">
                    <a:pos x="T12" y="T13"/>
                  </a:cxn>
                </a:cxnLst>
                <a:rect l="0" t="0" r="r" b="b"/>
                <a:pathLst>
                  <a:path w="77" h="67">
                    <a:moveTo>
                      <a:pt x="67" y="0"/>
                    </a:moveTo>
                    <a:cubicBezTo>
                      <a:pt x="77" y="9"/>
                      <a:pt x="77" y="9"/>
                      <a:pt x="77" y="9"/>
                    </a:cubicBezTo>
                    <a:cubicBezTo>
                      <a:pt x="46" y="16"/>
                      <a:pt x="8" y="67"/>
                      <a:pt x="8" y="67"/>
                    </a:cubicBezTo>
                    <a:cubicBezTo>
                      <a:pt x="8" y="67"/>
                      <a:pt x="0" y="58"/>
                      <a:pt x="0" y="55"/>
                    </a:cubicBezTo>
                    <a:cubicBezTo>
                      <a:pt x="0" y="53"/>
                      <a:pt x="23" y="25"/>
                      <a:pt x="24" y="22"/>
                    </a:cubicBezTo>
                    <a:cubicBezTo>
                      <a:pt x="28" y="13"/>
                      <a:pt x="37" y="5"/>
                      <a:pt x="52" y="2"/>
                    </a:cubicBezTo>
                    <a:cubicBezTo>
                      <a:pt x="57" y="1"/>
                      <a:pt x="61" y="1"/>
                      <a:pt x="67" y="0"/>
                    </a:cubicBezTo>
                    <a:close/>
                  </a:path>
                </a:pathLst>
              </a:custGeom>
              <a:solidFill>
                <a:srgbClr val="5D4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85" name="Freeform 726"/>
              <p:cNvSpPr>
                <a:spLocks/>
              </p:cNvSpPr>
              <p:nvPr/>
            </p:nvSpPr>
            <p:spPr bwMode="auto">
              <a:xfrm>
                <a:off x="3368677" y="5453063"/>
                <a:ext cx="468313" cy="434975"/>
              </a:xfrm>
              <a:custGeom>
                <a:avLst/>
                <a:gdLst>
                  <a:gd name="T0" fmla="*/ 166 w 224"/>
                  <a:gd name="T1" fmla="*/ 19 h 208"/>
                  <a:gd name="T2" fmla="*/ 100 w 224"/>
                  <a:gd name="T3" fmla="*/ 28 h 208"/>
                  <a:gd name="T4" fmla="*/ 44 w 224"/>
                  <a:gd name="T5" fmla="*/ 75 h 208"/>
                  <a:gd name="T6" fmla="*/ 6 w 224"/>
                  <a:gd name="T7" fmla="*/ 100 h 208"/>
                  <a:gd name="T8" fmla="*/ 12 w 224"/>
                  <a:gd name="T9" fmla="*/ 150 h 208"/>
                  <a:gd name="T10" fmla="*/ 77 w 224"/>
                  <a:gd name="T11" fmla="*/ 208 h 208"/>
                  <a:gd name="T12" fmla="*/ 203 w 224"/>
                  <a:gd name="T13" fmla="*/ 119 h 208"/>
                  <a:gd name="T14" fmla="*/ 166 w 224"/>
                  <a:gd name="T15" fmla="*/ 19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208">
                    <a:moveTo>
                      <a:pt x="166" y="19"/>
                    </a:moveTo>
                    <a:cubicBezTo>
                      <a:pt x="137" y="4"/>
                      <a:pt x="130" y="0"/>
                      <a:pt x="100" y="28"/>
                    </a:cubicBezTo>
                    <a:cubicBezTo>
                      <a:pt x="81" y="45"/>
                      <a:pt x="63" y="61"/>
                      <a:pt x="44" y="75"/>
                    </a:cubicBezTo>
                    <a:cubicBezTo>
                      <a:pt x="32" y="84"/>
                      <a:pt x="17" y="94"/>
                      <a:pt x="6" y="100"/>
                    </a:cubicBezTo>
                    <a:cubicBezTo>
                      <a:pt x="1" y="103"/>
                      <a:pt x="0" y="125"/>
                      <a:pt x="12" y="150"/>
                    </a:cubicBezTo>
                    <a:cubicBezTo>
                      <a:pt x="22" y="172"/>
                      <a:pt x="49" y="193"/>
                      <a:pt x="77" y="208"/>
                    </a:cubicBezTo>
                    <a:cubicBezTo>
                      <a:pt x="125" y="183"/>
                      <a:pt x="182" y="147"/>
                      <a:pt x="203" y="119"/>
                    </a:cubicBezTo>
                    <a:cubicBezTo>
                      <a:pt x="224" y="91"/>
                      <a:pt x="205" y="44"/>
                      <a:pt x="166" y="19"/>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86" name="Freeform 727"/>
              <p:cNvSpPr>
                <a:spLocks/>
              </p:cNvSpPr>
              <p:nvPr/>
            </p:nvSpPr>
            <p:spPr bwMode="auto">
              <a:xfrm>
                <a:off x="3511552" y="5638800"/>
                <a:ext cx="73025" cy="44450"/>
              </a:xfrm>
              <a:custGeom>
                <a:avLst/>
                <a:gdLst>
                  <a:gd name="T0" fmla="*/ 3 w 35"/>
                  <a:gd name="T1" fmla="*/ 21 h 21"/>
                  <a:gd name="T2" fmla="*/ 5 w 35"/>
                  <a:gd name="T3" fmla="*/ 14 h 21"/>
                  <a:gd name="T4" fmla="*/ 7 w 35"/>
                  <a:gd name="T5" fmla="*/ 10 h 21"/>
                  <a:gd name="T6" fmla="*/ 9 w 35"/>
                  <a:gd name="T7" fmla="*/ 11 h 21"/>
                  <a:gd name="T8" fmla="*/ 11 w 35"/>
                  <a:gd name="T9" fmla="*/ 11 h 21"/>
                  <a:gd name="T10" fmla="*/ 13 w 35"/>
                  <a:gd name="T11" fmla="*/ 12 h 21"/>
                  <a:gd name="T12" fmla="*/ 24 w 35"/>
                  <a:gd name="T13" fmla="*/ 12 h 21"/>
                  <a:gd name="T14" fmla="*/ 31 w 35"/>
                  <a:gd name="T15" fmla="*/ 7 h 21"/>
                  <a:gd name="T16" fmla="*/ 33 w 35"/>
                  <a:gd name="T17" fmla="*/ 5 h 21"/>
                  <a:gd name="T18" fmla="*/ 35 w 35"/>
                  <a:gd name="T19" fmla="*/ 3 h 21"/>
                  <a:gd name="T20" fmla="*/ 35 w 35"/>
                  <a:gd name="T21" fmla="*/ 1 h 21"/>
                  <a:gd name="T22" fmla="*/ 33 w 35"/>
                  <a:gd name="T23" fmla="*/ 1 h 21"/>
                  <a:gd name="T24" fmla="*/ 31 w 35"/>
                  <a:gd name="T25" fmla="*/ 2 h 21"/>
                  <a:gd name="T26" fmla="*/ 28 w 35"/>
                  <a:gd name="T27" fmla="*/ 4 h 21"/>
                  <a:gd name="T28" fmla="*/ 22 w 35"/>
                  <a:gd name="T29" fmla="*/ 6 h 21"/>
                  <a:gd name="T30" fmla="*/ 15 w 35"/>
                  <a:gd name="T31" fmla="*/ 5 h 21"/>
                  <a:gd name="T32" fmla="*/ 13 w 35"/>
                  <a:gd name="T33" fmla="*/ 5 h 21"/>
                  <a:gd name="T34" fmla="*/ 10 w 35"/>
                  <a:gd name="T35" fmla="*/ 4 h 21"/>
                  <a:gd name="T36" fmla="*/ 4 w 35"/>
                  <a:gd name="T37" fmla="*/ 5 h 21"/>
                  <a:gd name="T38" fmla="*/ 0 w 35"/>
                  <a:gd name="T39" fmla="*/ 10 h 21"/>
                  <a:gd name="T40" fmla="*/ 0 w 35"/>
                  <a:gd name="T41" fmla="*/ 14 h 21"/>
                  <a:gd name="T42" fmla="*/ 3 w 35"/>
                  <a:gd name="T4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1">
                    <a:moveTo>
                      <a:pt x="3" y="21"/>
                    </a:moveTo>
                    <a:cubicBezTo>
                      <a:pt x="4" y="21"/>
                      <a:pt x="4" y="18"/>
                      <a:pt x="5" y="14"/>
                    </a:cubicBezTo>
                    <a:cubicBezTo>
                      <a:pt x="5" y="12"/>
                      <a:pt x="6" y="10"/>
                      <a:pt x="7" y="10"/>
                    </a:cubicBezTo>
                    <a:cubicBezTo>
                      <a:pt x="7" y="10"/>
                      <a:pt x="8" y="10"/>
                      <a:pt x="9" y="11"/>
                    </a:cubicBezTo>
                    <a:cubicBezTo>
                      <a:pt x="9" y="11"/>
                      <a:pt x="10" y="11"/>
                      <a:pt x="11" y="11"/>
                    </a:cubicBezTo>
                    <a:cubicBezTo>
                      <a:pt x="12" y="11"/>
                      <a:pt x="12" y="12"/>
                      <a:pt x="13" y="12"/>
                    </a:cubicBezTo>
                    <a:cubicBezTo>
                      <a:pt x="17" y="13"/>
                      <a:pt x="21" y="13"/>
                      <a:pt x="24" y="12"/>
                    </a:cubicBezTo>
                    <a:cubicBezTo>
                      <a:pt x="27" y="11"/>
                      <a:pt x="30" y="9"/>
                      <a:pt x="31" y="7"/>
                    </a:cubicBezTo>
                    <a:cubicBezTo>
                      <a:pt x="32" y="7"/>
                      <a:pt x="33" y="6"/>
                      <a:pt x="33" y="5"/>
                    </a:cubicBezTo>
                    <a:cubicBezTo>
                      <a:pt x="34" y="4"/>
                      <a:pt x="34" y="4"/>
                      <a:pt x="35" y="3"/>
                    </a:cubicBezTo>
                    <a:cubicBezTo>
                      <a:pt x="35" y="2"/>
                      <a:pt x="35" y="1"/>
                      <a:pt x="35" y="1"/>
                    </a:cubicBezTo>
                    <a:cubicBezTo>
                      <a:pt x="35" y="0"/>
                      <a:pt x="34" y="1"/>
                      <a:pt x="33" y="1"/>
                    </a:cubicBezTo>
                    <a:cubicBezTo>
                      <a:pt x="32" y="1"/>
                      <a:pt x="31" y="2"/>
                      <a:pt x="31" y="2"/>
                    </a:cubicBezTo>
                    <a:cubicBezTo>
                      <a:pt x="30" y="3"/>
                      <a:pt x="29" y="3"/>
                      <a:pt x="28" y="4"/>
                    </a:cubicBezTo>
                    <a:cubicBezTo>
                      <a:pt x="27" y="5"/>
                      <a:pt x="25" y="5"/>
                      <a:pt x="22" y="6"/>
                    </a:cubicBezTo>
                    <a:cubicBezTo>
                      <a:pt x="20" y="6"/>
                      <a:pt x="18" y="6"/>
                      <a:pt x="15" y="5"/>
                    </a:cubicBezTo>
                    <a:cubicBezTo>
                      <a:pt x="14" y="5"/>
                      <a:pt x="13" y="5"/>
                      <a:pt x="13" y="5"/>
                    </a:cubicBezTo>
                    <a:cubicBezTo>
                      <a:pt x="12" y="4"/>
                      <a:pt x="11" y="4"/>
                      <a:pt x="10" y="4"/>
                    </a:cubicBezTo>
                    <a:cubicBezTo>
                      <a:pt x="8" y="4"/>
                      <a:pt x="6" y="3"/>
                      <a:pt x="4" y="5"/>
                    </a:cubicBezTo>
                    <a:cubicBezTo>
                      <a:pt x="1" y="6"/>
                      <a:pt x="0" y="8"/>
                      <a:pt x="0" y="10"/>
                    </a:cubicBezTo>
                    <a:cubicBezTo>
                      <a:pt x="0" y="12"/>
                      <a:pt x="0" y="13"/>
                      <a:pt x="0" y="14"/>
                    </a:cubicBezTo>
                    <a:cubicBezTo>
                      <a:pt x="0" y="19"/>
                      <a:pt x="2" y="21"/>
                      <a:pt x="3" y="21"/>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87" name="Freeform 728"/>
              <p:cNvSpPr>
                <a:spLocks/>
              </p:cNvSpPr>
              <p:nvPr/>
            </p:nvSpPr>
            <p:spPr bwMode="auto">
              <a:xfrm>
                <a:off x="3652839" y="5638800"/>
                <a:ext cx="46038" cy="73025"/>
              </a:xfrm>
              <a:custGeom>
                <a:avLst/>
                <a:gdLst>
                  <a:gd name="T0" fmla="*/ 8 w 22"/>
                  <a:gd name="T1" fmla="*/ 0 h 35"/>
                  <a:gd name="T2" fmla="*/ 1 w 22"/>
                  <a:gd name="T3" fmla="*/ 5 h 35"/>
                  <a:gd name="T4" fmla="*/ 15 w 22"/>
                  <a:gd name="T5" fmla="*/ 34 h 35"/>
                  <a:gd name="T6" fmla="*/ 21 w 22"/>
                  <a:gd name="T7" fmla="*/ 31 h 35"/>
                  <a:gd name="T8" fmla="*/ 8 w 22"/>
                  <a:gd name="T9" fmla="*/ 0 h 35"/>
                </a:gdLst>
                <a:ahLst/>
                <a:cxnLst>
                  <a:cxn ang="0">
                    <a:pos x="T0" y="T1"/>
                  </a:cxn>
                  <a:cxn ang="0">
                    <a:pos x="T2" y="T3"/>
                  </a:cxn>
                  <a:cxn ang="0">
                    <a:pos x="T4" y="T5"/>
                  </a:cxn>
                  <a:cxn ang="0">
                    <a:pos x="T6" y="T7"/>
                  </a:cxn>
                  <a:cxn ang="0">
                    <a:pos x="T8" y="T9"/>
                  </a:cxn>
                </a:cxnLst>
                <a:rect l="0" t="0" r="r" b="b"/>
                <a:pathLst>
                  <a:path w="22" h="35">
                    <a:moveTo>
                      <a:pt x="8" y="0"/>
                    </a:moveTo>
                    <a:cubicBezTo>
                      <a:pt x="5" y="0"/>
                      <a:pt x="0" y="4"/>
                      <a:pt x="1" y="5"/>
                    </a:cubicBezTo>
                    <a:cubicBezTo>
                      <a:pt x="2" y="7"/>
                      <a:pt x="10" y="14"/>
                      <a:pt x="15" y="34"/>
                    </a:cubicBezTo>
                    <a:cubicBezTo>
                      <a:pt x="18" y="35"/>
                      <a:pt x="20" y="33"/>
                      <a:pt x="21" y="31"/>
                    </a:cubicBezTo>
                    <a:cubicBezTo>
                      <a:pt x="22" y="27"/>
                      <a:pt x="13" y="3"/>
                      <a:pt x="8" y="0"/>
                    </a:cubicBezTo>
                    <a:close/>
                  </a:path>
                </a:pathLst>
              </a:custGeom>
              <a:solidFill>
                <a:srgbClr val="5D4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88" name="Freeform 729"/>
              <p:cNvSpPr>
                <a:spLocks/>
              </p:cNvSpPr>
              <p:nvPr/>
            </p:nvSpPr>
            <p:spPr bwMode="auto">
              <a:xfrm>
                <a:off x="3598864" y="5768975"/>
                <a:ext cx="141288" cy="114300"/>
              </a:xfrm>
              <a:custGeom>
                <a:avLst/>
                <a:gdLst>
                  <a:gd name="T0" fmla="*/ 32 w 68"/>
                  <a:gd name="T1" fmla="*/ 13 h 55"/>
                  <a:gd name="T2" fmla="*/ 49 w 68"/>
                  <a:gd name="T3" fmla="*/ 46 h 55"/>
                  <a:gd name="T4" fmla="*/ 11 w 68"/>
                  <a:gd name="T5" fmla="*/ 29 h 55"/>
                  <a:gd name="T6" fmla="*/ 32 w 68"/>
                  <a:gd name="T7" fmla="*/ 13 h 55"/>
                </a:gdLst>
                <a:ahLst/>
                <a:cxnLst>
                  <a:cxn ang="0">
                    <a:pos x="T0" y="T1"/>
                  </a:cxn>
                  <a:cxn ang="0">
                    <a:pos x="T2" y="T3"/>
                  </a:cxn>
                  <a:cxn ang="0">
                    <a:pos x="T4" y="T5"/>
                  </a:cxn>
                  <a:cxn ang="0">
                    <a:pos x="T6" y="T7"/>
                  </a:cxn>
                </a:cxnLst>
                <a:rect l="0" t="0" r="r" b="b"/>
                <a:pathLst>
                  <a:path w="68" h="55">
                    <a:moveTo>
                      <a:pt x="32" y="13"/>
                    </a:moveTo>
                    <a:cubicBezTo>
                      <a:pt x="58" y="0"/>
                      <a:pt x="68" y="37"/>
                      <a:pt x="49" y="46"/>
                    </a:cubicBezTo>
                    <a:cubicBezTo>
                      <a:pt x="30" y="55"/>
                      <a:pt x="0" y="46"/>
                      <a:pt x="11" y="29"/>
                    </a:cubicBezTo>
                    <a:cubicBezTo>
                      <a:pt x="26" y="17"/>
                      <a:pt x="32" y="13"/>
                      <a:pt x="32" y="13"/>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89" name="Freeform 730"/>
              <p:cNvSpPr>
                <a:spLocks/>
              </p:cNvSpPr>
              <p:nvPr/>
            </p:nvSpPr>
            <p:spPr bwMode="auto">
              <a:xfrm>
                <a:off x="3638552" y="5816600"/>
                <a:ext cx="61913" cy="33338"/>
              </a:xfrm>
              <a:custGeom>
                <a:avLst/>
                <a:gdLst>
                  <a:gd name="T0" fmla="*/ 0 w 30"/>
                  <a:gd name="T1" fmla="*/ 12 h 16"/>
                  <a:gd name="T2" fmla="*/ 2 w 30"/>
                  <a:gd name="T3" fmla="*/ 13 h 16"/>
                  <a:gd name="T4" fmla="*/ 4 w 30"/>
                  <a:gd name="T5" fmla="*/ 15 h 16"/>
                  <a:gd name="T6" fmla="*/ 7 w 30"/>
                  <a:gd name="T7" fmla="*/ 16 h 16"/>
                  <a:gd name="T8" fmla="*/ 9 w 30"/>
                  <a:gd name="T9" fmla="*/ 16 h 16"/>
                  <a:gd name="T10" fmla="*/ 11 w 30"/>
                  <a:gd name="T11" fmla="*/ 16 h 16"/>
                  <a:gd name="T12" fmla="*/ 15 w 30"/>
                  <a:gd name="T13" fmla="*/ 13 h 16"/>
                  <a:gd name="T14" fmla="*/ 16 w 30"/>
                  <a:gd name="T15" fmla="*/ 8 h 16"/>
                  <a:gd name="T16" fmla="*/ 15 w 30"/>
                  <a:gd name="T17" fmla="*/ 5 h 16"/>
                  <a:gd name="T18" fmla="*/ 15 w 30"/>
                  <a:gd name="T19" fmla="*/ 4 h 16"/>
                  <a:gd name="T20" fmla="*/ 15 w 30"/>
                  <a:gd name="T21" fmla="*/ 4 h 16"/>
                  <a:gd name="T22" fmla="*/ 15 w 30"/>
                  <a:gd name="T23" fmla="*/ 4 h 16"/>
                  <a:gd name="T24" fmla="*/ 15 w 30"/>
                  <a:gd name="T25" fmla="*/ 4 h 16"/>
                  <a:gd name="T26" fmla="*/ 16 w 30"/>
                  <a:gd name="T27" fmla="*/ 4 h 16"/>
                  <a:gd name="T28" fmla="*/ 18 w 30"/>
                  <a:gd name="T29" fmla="*/ 3 h 16"/>
                  <a:gd name="T30" fmla="*/ 20 w 30"/>
                  <a:gd name="T31" fmla="*/ 3 h 16"/>
                  <a:gd name="T32" fmla="*/ 21 w 30"/>
                  <a:gd name="T33" fmla="*/ 3 h 16"/>
                  <a:gd name="T34" fmla="*/ 22 w 30"/>
                  <a:gd name="T35" fmla="*/ 3 h 16"/>
                  <a:gd name="T36" fmla="*/ 28 w 30"/>
                  <a:gd name="T37" fmla="*/ 6 h 16"/>
                  <a:gd name="T38" fmla="*/ 28 w 30"/>
                  <a:gd name="T39" fmla="*/ 11 h 16"/>
                  <a:gd name="T40" fmla="*/ 28 w 30"/>
                  <a:gd name="T41" fmla="*/ 14 h 16"/>
                  <a:gd name="T42" fmla="*/ 29 w 30"/>
                  <a:gd name="T43" fmla="*/ 12 h 16"/>
                  <a:gd name="T44" fmla="*/ 30 w 30"/>
                  <a:gd name="T45" fmla="*/ 6 h 16"/>
                  <a:gd name="T46" fmla="*/ 27 w 30"/>
                  <a:gd name="T47" fmla="*/ 2 h 16"/>
                  <a:gd name="T48" fmla="*/ 23 w 30"/>
                  <a:gd name="T49" fmla="*/ 0 h 16"/>
                  <a:gd name="T50" fmla="*/ 21 w 30"/>
                  <a:gd name="T51" fmla="*/ 0 h 16"/>
                  <a:gd name="T52" fmla="*/ 20 w 30"/>
                  <a:gd name="T53" fmla="*/ 0 h 16"/>
                  <a:gd name="T54" fmla="*/ 17 w 30"/>
                  <a:gd name="T55" fmla="*/ 0 h 16"/>
                  <a:gd name="T56" fmla="*/ 15 w 30"/>
                  <a:gd name="T57" fmla="*/ 1 h 16"/>
                  <a:gd name="T58" fmla="*/ 14 w 30"/>
                  <a:gd name="T59" fmla="*/ 1 h 16"/>
                  <a:gd name="T60" fmla="*/ 13 w 30"/>
                  <a:gd name="T61" fmla="*/ 1 h 16"/>
                  <a:gd name="T62" fmla="*/ 10 w 30"/>
                  <a:gd name="T63" fmla="*/ 3 h 16"/>
                  <a:gd name="T64" fmla="*/ 8 w 30"/>
                  <a:gd name="T65" fmla="*/ 3 h 16"/>
                  <a:gd name="T66" fmla="*/ 10 w 30"/>
                  <a:gd name="T67" fmla="*/ 5 h 16"/>
                  <a:gd name="T68" fmla="*/ 12 w 30"/>
                  <a:gd name="T69" fmla="*/ 6 h 16"/>
                  <a:gd name="T70" fmla="*/ 12 w 30"/>
                  <a:gd name="T71" fmla="*/ 7 h 16"/>
                  <a:gd name="T72" fmla="*/ 13 w 30"/>
                  <a:gd name="T73" fmla="*/ 8 h 16"/>
                  <a:gd name="T74" fmla="*/ 13 w 30"/>
                  <a:gd name="T75" fmla="*/ 12 h 16"/>
                  <a:gd name="T76" fmla="*/ 7 w 30"/>
                  <a:gd name="T77" fmla="*/ 14 h 16"/>
                  <a:gd name="T78" fmla="*/ 0 w 30"/>
                  <a:gd name="T79"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 h="16">
                    <a:moveTo>
                      <a:pt x="0" y="12"/>
                    </a:moveTo>
                    <a:cubicBezTo>
                      <a:pt x="0" y="12"/>
                      <a:pt x="1" y="13"/>
                      <a:pt x="2" y="13"/>
                    </a:cubicBezTo>
                    <a:cubicBezTo>
                      <a:pt x="2" y="14"/>
                      <a:pt x="3" y="14"/>
                      <a:pt x="4" y="15"/>
                    </a:cubicBezTo>
                    <a:cubicBezTo>
                      <a:pt x="4" y="15"/>
                      <a:pt x="5" y="16"/>
                      <a:pt x="7" y="16"/>
                    </a:cubicBezTo>
                    <a:cubicBezTo>
                      <a:pt x="7" y="16"/>
                      <a:pt x="8" y="16"/>
                      <a:pt x="9" y="16"/>
                    </a:cubicBezTo>
                    <a:cubicBezTo>
                      <a:pt x="9" y="16"/>
                      <a:pt x="10" y="16"/>
                      <a:pt x="11" y="16"/>
                    </a:cubicBezTo>
                    <a:cubicBezTo>
                      <a:pt x="13" y="16"/>
                      <a:pt x="14" y="15"/>
                      <a:pt x="15" y="13"/>
                    </a:cubicBezTo>
                    <a:cubicBezTo>
                      <a:pt x="16" y="12"/>
                      <a:pt x="17" y="10"/>
                      <a:pt x="16" y="8"/>
                    </a:cubicBezTo>
                    <a:cubicBezTo>
                      <a:pt x="16" y="6"/>
                      <a:pt x="16" y="6"/>
                      <a:pt x="15" y="5"/>
                    </a:cubicBezTo>
                    <a:cubicBezTo>
                      <a:pt x="15" y="4"/>
                      <a:pt x="15" y="4"/>
                      <a:pt x="15" y="4"/>
                    </a:cubicBezTo>
                    <a:cubicBezTo>
                      <a:pt x="15" y="4"/>
                      <a:pt x="15" y="4"/>
                      <a:pt x="15" y="4"/>
                    </a:cubicBezTo>
                    <a:cubicBezTo>
                      <a:pt x="15" y="4"/>
                      <a:pt x="15" y="4"/>
                      <a:pt x="15" y="4"/>
                    </a:cubicBezTo>
                    <a:cubicBezTo>
                      <a:pt x="15" y="4"/>
                      <a:pt x="15" y="4"/>
                      <a:pt x="15" y="4"/>
                    </a:cubicBezTo>
                    <a:cubicBezTo>
                      <a:pt x="16" y="4"/>
                      <a:pt x="16" y="4"/>
                      <a:pt x="16" y="4"/>
                    </a:cubicBezTo>
                    <a:cubicBezTo>
                      <a:pt x="16" y="4"/>
                      <a:pt x="17" y="3"/>
                      <a:pt x="18" y="3"/>
                    </a:cubicBezTo>
                    <a:cubicBezTo>
                      <a:pt x="19" y="3"/>
                      <a:pt x="19" y="3"/>
                      <a:pt x="20" y="3"/>
                    </a:cubicBezTo>
                    <a:cubicBezTo>
                      <a:pt x="21" y="3"/>
                      <a:pt x="21" y="3"/>
                      <a:pt x="21" y="3"/>
                    </a:cubicBezTo>
                    <a:cubicBezTo>
                      <a:pt x="22" y="3"/>
                      <a:pt x="22" y="3"/>
                      <a:pt x="22" y="3"/>
                    </a:cubicBezTo>
                    <a:cubicBezTo>
                      <a:pt x="25" y="3"/>
                      <a:pt x="27" y="5"/>
                      <a:pt x="28" y="6"/>
                    </a:cubicBezTo>
                    <a:cubicBezTo>
                      <a:pt x="28" y="8"/>
                      <a:pt x="28" y="10"/>
                      <a:pt x="28" y="11"/>
                    </a:cubicBezTo>
                    <a:cubicBezTo>
                      <a:pt x="28" y="13"/>
                      <a:pt x="27" y="13"/>
                      <a:pt x="28" y="14"/>
                    </a:cubicBezTo>
                    <a:cubicBezTo>
                      <a:pt x="28" y="14"/>
                      <a:pt x="28" y="13"/>
                      <a:pt x="29" y="12"/>
                    </a:cubicBezTo>
                    <a:cubicBezTo>
                      <a:pt x="30" y="11"/>
                      <a:pt x="30" y="9"/>
                      <a:pt x="30" y="6"/>
                    </a:cubicBezTo>
                    <a:cubicBezTo>
                      <a:pt x="30" y="4"/>
                      <a:pt x="29" y="3"/>
                      <a:pt x="27" y="2"/>
                    </a:cubicBezTo>
                    <a:cubicBezTo>
                      <a:pt x="26" y="1"/>
                      <a:pt x="24" y="0"/>
                      <a:pt x="23" y="0"/>
                    </a:cubicBezTo>
                    <a:cubicBezTo>
                      <a:pt x="21" y="0"/>
                      <a:pt x="21" y="0"/>
                      <a:pt x="21" y="0"/>
                    </a:cubicBezTo>
                    <a:cubicBezTo>
                      <a:pt x="21" y="0"/>
                      <a:pt x="20" y="0"/>
                      <a:pt x="20" y="0"/>
                    </a:cubicBezTo>
                    <a:cubicBezTo>
                      <a:pt x="19" y="0"/>
                      <a:pt x="18" y="0"/>
                      <a:pt x="17" y="0"/>
                    </a:cubicBezTo>
                    <a:cubicBezTo>
                      <a:pt x="16" y="0"/>
                      <a:pt x="15" y="1"/>
                      <a:pt x="15" y="1"/>
                    </a:cubicBezTo>
                    <a:cubicBezTo>
                      <a:pt x="14" y="1"/>
                      <a:pt x="14" y="1"/>
                      <a:pt x="14" y="1"/>
                    </a:cubicBezTo>
                    <a:cubicBezTo>
                      <a:pt x="13" y="1"/>
                      <a:pt x="13" y="1"/>
                      <a:pt x="13" y="1"/>
                    </a:cubicBezTo>
                    <a:cubicBezTo>
                      <a:pt x="12" y="2"/>
                      <a:pt x="11" y="2"/>
                      <a:pt x="10" y="3"/>
                    </a:cubicBezTo>
                    <a:cubicBezTo>
                      <a:pt x="10" y="3"/>
                      <a:pt x="9" y="3"/>
                      <a:pt x="8" y="3"/>
                    </a:cubicBezTo>
                    <a:cubicBezTo>
                      <a:pt x="9" y="4"/>
                      <a:pt x="10" y="5"/>
                      <a:pt x="10" y="5"/>
                    </a:cubicBezTo>
                    <a:cubicBezTo>
                      <a:pt x="12" y="6"/>
                      <a:pt x="12" y="6"/>
                      <a:pt x="12" y="6"/>
                    </a:cubicBezTo>
                    <a:cubicBezTo>
                      <a:pt x="12" y="6"/>
                      <a:pt x="12" y="7"/>
                      <a:pt x="12" y="7"/>
                    </a:cubicBezTo>
                    <a:cubicBezTo>
                      <a:pt x="13" y="7"/>
                      <a:pt x="13" y="8"/>
                      <a:pt x="13" y="8"/>
                    </a:cubicBezTo>
                    <a:cubicBezTo>
                      <a:pt x="13" y="9"/>
                      <a:pt x="13" y="11"/>
                      <a:pt x="13" y="12"/>
                    </a:cubicBezTo>
                    <a:cubicBezTo>
                      <a:pt x="12" y="13"/>
                      <a:pt x="9" y="14"/>
                      <a:pt x="7" y="14"/>
                    </a:cubicBezTo>
                    <a:cubicBezTo>
                      <a:pt x="3" y="13"/>
                      <a:pt x="1" y="11"/>
                      <a:pt x="0" y="12"/>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90" name="Freeform 731"/>
              <p:cNvSpPr>
                <a:spLocks/>
              </p:cNvSpPr>
              <p:nvPr/>
            </p:nvSpPr>
            <p:spPr bwMode="auto">
              <a:xfrm>
                <a:off x="3568702" y="5526088"/>
                <a:ext cx="61913" cy="63500"/>
              </a:xfrm>
              <a:custGeom>
                <a:avLst/>
                <a:gdLst>
                  <a:gd name="T0" fmla="*/ 6 w 29"/>
                  <a:gd name="T1" fmla="*/ 0 h 30"/>
                  <a:gd name="T2" fmla="*/ 1 w 29"/>
                  <a:gd name="T3" fmla="*/ 7 h 30"/>
                  <a:gd name="T4" fmla="*/ 24 w 29"/>
                  <a:gd name="T5" fmla="*/ 30 h 30"/>
                  <a:gd name="T6" fmla="*/ 29 w 29"/>
                  <a:gd name="T7" fmla="*/ 25 h 30"/>
                  <a:gd name="T8" fmla="*/ 6 w 29"/>
                  <a:gd name="T9" fmla="*/ 0 h 30"/>
                </a:gdLst>
                <a:ahLst/>
                <a:cxnLst>
                  <a:cxn ang="0">
                    <a:pos x="T0" y="T1"/>
                  </a:cxn>
                  <a:cxn ang="0">
                    <a:pos x="T2" y="T3"/>
                  </a:cxn>
                  <a:cxn ang="0">
                    <a:pos x="T4" y="T5"/>
                  </a:cxn>
                  <a:cxn ang="0">
                    <a:pos x="T6" y="T7"/>
                  </a:cxn>
                  <a:cxn ang="0">
                    <a:pos x="T8" y="T9"/>
                  </a:cxn>
                </a:cxnLst>
                <a:rect l="0" t="0" r="r" b="b"/>
                <a:pathLst>
                  <a:path w="29" h="30">
                    <a:moveTo>
                      <a:pt x="6" y="0"/>
                    </a:moveTo>
                    <a:cubicBezTo>
                      <a:pt x="3" y="1"/>
                      <a:pt x="0" y="6"/>
                      <a:pt x="1" y="7"/>
                    </a:cubicBezTo>
                    <a:cubicBezTo>
                      <a:pt x="3" y="8"/>
                      <a:pt x="13" y="12"/>
                      <a:pt x="24" y="30"/>
                    </a:cubicBezTo>
                    <a:cubicBezTo>
                      <a:pt x="27" y="30"/>
                      <a:pt x="29" y="27"/>
                      <a:pt x="29" y="25"/>
                    </a:cubicBezTo>
                    <a:cubicBezTo>
                      <a:pt x="29" y="20"/>
                      <a:pt x="12" y="1"/>
                      <a:pt x="6" y="0"/>
                    </a:cubicBezTo>
                    <a:close/>
                  </a:path>
                </a:pathLst>
              </a:custGeom>
              <a:solidFill>
                <a:srgbClr val="5D4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91" name="Freeform 732"/>
              <p:cNvSpPr>
                <a:spLocks/>
              </p:cNvSpPr>
              <p:nvPr/>
            </p:nvSpPr>
            <p:spPr bwMode="auto">
              <a:xfrm>
                <a:off x="3600452" y="5676900"/>
                <a:ext cx="57150" cy="44450"/>
              </a:xfrm>
              <a:custGeom>
                <a:avLst/>
                <a:gdLst>
                  <a:gd name="T0" fmla="*/ 9 w 27"/>
                  <a:gd name="T1" fmla="*/ 3 h 21"/>
                  <a:gd name="T2" fmla="*/ 3 w 27"/>
                  <a:gd name="T3" fmla="*/ 18 h 21"/>
                  <a:gd name="T4" fmla="*/ 18 w 27"/>
                  <a:gd name="T5" fmla="*/ 18 h 21"/>
                  <a:gd name="T6" fmla="*/ 25 w 27"/>
                  <a:gd name="T7" fmla="*/ 3 h 21"/>
                  <a:gd name="T8" fmla="*/ 9 w 27"/>
                  <a:gd name="T9" fmla="*/ 3 h 21"/>
                </a:gdLst>
                <a:ahLst/>
                <a:cxnLst>
                  <a:cxn ang="0">
                    <a:pos x="T0" y="T1"/>
                  </a:cxn>
                  <a:cxn ang="0">
                    <a:pos x="T2" y="T3"/>
                  </a:cxn>
                  <a:cxn ang="0">
                    <a:pos x="T4" y="T5"/>
                  </a:cxn>
                  <a:cxn ang="0">
                    <a:pos x="T6" y="T7"/>
                  </a:cxn>
                  <a:cxn ang="0">
                    <a:pos x="T8" y="T9"/>
                  </a:cxn>
                </a:cxnLst>
                <a:rect l="0" t="0" r="r" b="b"/>
                <a:pathLst>
                  <a:path w="27" h="21">
                    <a:moveTo>
                      <a:pt x="9" y="3"/>
                    </a:moveTo>
                    <a:cubicBezTo>
                      <a:pt x="3" y="7"/>
                      <a:pt x="0" y="14"/>
                      <a:pt x="3" y="18"/>
                    </a:cubicBezTo>
                    <a:cubicBezTo>
                      <a:pt x="5" y="21"/>
                      <a:pt x="12" y="21"/>
                      <a:pt x="18" y="18"/>
                    </a:cubicBezTo>
                    <a:cubicBezTo>
                      <a:pt x="24" y="14"/>
                      <a:pt x="27" y="7"/>
                      <a:pt x="25" y="3"/>
                    </a:cubicBezTo>
                    <a:cubicBezTo>
                      <a:pt x="22" y="0"/>
                      <a:pt x="15" y="0"/>
                      <a:pt x="9" y="3"/>
                    </a:cubicBezTo>
                    <a:close/>
                  </a:path>
                </a:pathLst>
              </a:custGeom>
              <a:solidFill>
                <a:srgbClr val="2B18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92" name="Freeform 733"/>
              <p:cNvSpPr>
                <a:spLocks/>
              </p:cNvSpPr>
              <p:nvPr/>
            </p:nvSpPr>
            <p:spPr bwMode="auto">
              <a:xfrm>
                <a:off x="3535364" y="5564188"/>
                <a:ext cx="55563" cy="46038"/>
              </a:xfrm>
              <a:custGeom>
                <a:avLst/>
                <a:gdLst>
                  <a:gd name="T0" fmla="*/ 9 w 26"/>
                  <a:gd name="T1" fmla="*/ 4 h 22"/>
                  <a:gd name="T2" fmla="*/ 2 w 26"/>
                  <a:gd name="T3" fmla="*/ 18 h 22"/>
                  <a:gd name="T4" fmla="*/ 18 w 26"/>
                  <a:gd name="T5" fmla="*/ 18 h 22"/>
                  <a:gd name="T6" fmla="*/ 24 w 26"/>
                  <a:gd name="T7" fmla="*/ 4 h 22"/>
                  <a:gd name="T8" fmla="*/ 9 w 26"/>
                  <a:gd name="T9" fmla="*/ 4 h 22"/>
                </a:gdLst>
                <a:ahLst/>
                <a:cxnLst>
                  <a:cxn ang="0">
                    <a:pos x="T0" y="T1"/>
                  </a:cxn>
                  <a:cxn ang="0">
                    <a:pos x="T2" y="T3"/>
                  </a:cxn>
                  <a:cxn ang="0">
                    <a:pos x="T4" y="T5"/>
                  </a:cxn>
                  <a:cxn ang="0">
                    <a:pos x="T6" y="T7"/>
                  </a:cxn>
                  <a:cxn ang="0">
                    <a:pos x="T8" y="T9"/>
                  </a:cxn>
                </a:cxnLst>
                <a:rect l="0" t="0" r="r" b="b"/>
                <a:pathLst>
                  <a:path w="26" h="22">
                    <a:moveTo>
                      <a:pt x="9" y="4"/>
                    </a:moveTo>
                    <a:cubicBezTo>
                      <a:pt x="3" y="8"/>
                      <a:pt x="0" y="14"/>
                      <a:pt x="2" y="18"/>
                    </a:cubicBezTo>
                    <a:cubicBezTo>
                      <a:pt x="5" y="22"/>
                      <a:pt x="12" y="22"/>
                      <a:pt x="18" y="18"/>
                    </a:cubicBezTo>
                    <a:cubicBezTo>
                      <a:pt x="24" y="14"/>
                      <a:pt x="26" y="8"/>
                      <a:pt x="24" y="4"/>
                    </a:cubicBezTo>
                    <a:cubicBezTo>
                      <a:pt x="21" y="0"/>
                      <a:pt x="15" y="0"/>
                      <a:pt x="9" y="4"/>
                    </a:cubicBezTo>
                    <a:close/>
                  </a:path>
                </a:pathLst>
              </a:custGeom>
              <a:solidFill>
                <a:srgbClr val="2B18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93" name="Freeform 734"/>
              <p:cNvSpPr>
                <a:spLocks/>
              </p:cNvSpPr>
              <p:nvPr/>
            </p:nvSpPr>
            <p:spPr bwMode="auto">
              <a:xfrm>
                <a:off x="3455989" y="5688013"/>
                <a:ext cx="90488" cy="88900"/>
              </a:xfrm>
              <a:custGeom>
                <a:avLst/>
                <a:gdLst>
                  <a:gd name="T0" fmla="*/ 5 w 43"/>
                  <a:gd name="T1" fmla="*/ 0 h 43"/>
                  <a:gd name="T2" fmla="*/ 43 w 43"/>
                  <a:gd name="T3" fmla="*/ 40 h 43"/>
                  <a:gd name="T4" fmla="*/ 5 w 43"/>
                  <a:gd name="T5" fmla="*/ 0 h 43"/>
                </a:gdLst>
                <a:ahLst/>
                <a:cxnLst>
                  <a:cxn ang="0">
                    <a:pos x="T0" y="T1"/>
                  </a:cxn>
                  <a:cxn ang="0">
                    <a:pos x="T2" y="T3"/>
                  </a:cxn>
                  <a:cxn ang="0">
                    <a:pos x="T4" y="T5"/>
                  </a:cxn>
                </a:cxnLst>
                <a:rect l="0" t="0" r="r" b="b"/>
                <a:pathLst>
                  <a:path w="43" h="43">
                    <a:moveTo>
                      <a:pt x="5" y="0"/>
                    </a:moveTo>
                    <a:cubicBezTo>
                      <a:pt x="17" y="15"/>
                      <a:pt x="27" y="31"/>
                      <a:pt x="43" y="40"/>
                    </a:cubicBezTo>
                    <a:cubicBezTo>
                      <a:pt x="20" y="43"/>
                      <a:pt x="0" y="25"/>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94" name="Freeform 735"/>
              <p:cNvSpPr>
                <a:spLocks/>
              </p:cNvSpPr>
              <p:nvPr/>
            </p:nvSpPr>
            <p:spPr bwMode="auto">
              <a:xfrm>
                <a:off x="3413127" y="5672138"/>
                <a:ext cx="142875" cy="134938"/>
              </a:xfrm>
              <a:custGeom>
                <a:avLst/>
                <a:gdLst>
                  <a:gd name="T0" fmla="*/ 26 w 69"/>
                  <a:gd name="T1" fmla="*/ 7 h 64"/>
                  <a:gd name="T2" fmla="*/ 64 w 69"/>
                  <a:gd name="T3" fmla="*/ 47 h 64"/>
                  <a:gd name="T4" fmla="*/ 69 w 69"/>
                  <a:gd name="T5" fmla="*/ 49 h 64"/>
                  <a:gd name="T6" fmla="*/ 65 w 69"/>
                  <a:gd name="T7" fmla="*/ 51 h 64"/>
                  <a:gd name="T8" fmla="*/ 20 w 69"/>
                  <a:gd name="T9" fmla="*/ 0 h 64"/>
                  <a:gd name="T10" fmla="*/ 26 w 69"/>
                  <a:gd name="T11" fmla="*/ 7 h 64"/>
                </a:gdLst>
                <a:ahLst/>
                <a:cxnLst>
                  <a:cxn ang="0">
                    <a:pos x="T0" y="T1"/>
                  </a:cxn>
                  <a:cxn ang="0">
                    <a:pos x="T2" y="T3"/>
                  </a:cxn>
                  <a:cxn ang="0">
                    <a:pos x="T4" y="T5"/>
                  </a:cxn>
                  <a:cxn ang="0">
                    <a:pos x="T6" y="T7"/>
                  </a:cxn>
                  <a:cxn ang="0">
                    <a:pos x="T8" y="T9"/>
                  </a:cxn>
                  <a:cxn ang="0">
                    <a:pos x="T10" y="T11"/>
                  </a:cxn>
                </a:cxnLst>
                <a:rect l="0" t="0" r="r" b="b"/>
                <a:pathLst>
                  <a:path w="69" h="64">
                    <a:moveTo>
                      <a:pt x="26" y="7"/>
                    </a:moveTo>
                    <a:cubicBezTo>
                      <a:pt x="23" y="27"/>
                      <a:pt x="45" y="46"/>
                      <a:pt x="64" y="47"/>
                    </a:cubicBezTo>
                    <a:cubicBezTo>
                      <a:pt x="66" y="48"/>
                      <a:pt x="67" y="48"/>
                      <a:pt x="69" y="49"/>
                    </a:cubicBezTo>
                    <a:cubicBezTo>
                      <a:pt x="65" y="51"/>
                      <a:pt x="65" y="51"/>
                      <a:pt x="65" y="51"/>
                    </a:cubicBezTo>
                    <a:cubicBezTo>
                      <a:pt x="31" y="64"/>
                      <a:pt x="0" y="19"/>
                      <a:pt x="20" y="0"/>
                    </a:cubicBezTo>
                    <a:cubicBezTo>
                      <a:pt x="22" y="3"/>
                      <a:pt x="24" y="5"/>
                      <a:pt x="26" y="7"/>
                    </a:cubicBezTo>
                    <a:close/>
                  </a:path>
                </a:pathLst>
              </a:custGeom>
              <a:solidFill>
                <a:srgbClr val="C1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95" name="Freeform 736"/>
              <p:cNvSpPr>
                <a:spLocks/>
              </p:cNvSpPr>
              <p:nvPr/>
            </p:nvSpPr>
            <p:spPr bwMode="auto">
              <a:xfrm>
                <a:off x="3625852" y="5321300"/>
                <a:ext cx="317500" cy="493713"/>
              </a:xfrm>
              <a:custGeom>
                <a:avLst/>
                <a:gdLst>
                  <a:gd name="T0" fmla="*/ 53 w 152"/>
                  <a:gd name="T1" fmla="*/ 4 h 236"/>
                  <a:gd name="T2" fmla="*/ 68 w 152"/>
                  <a:gd name="T3" fmla="*/ 23 h 236"/>
                  <a:gd name="T4" fmla="*/ 65 w 152"/>
                  <a:gd name="T5" fmla="*/ 49 h 236"/>
                  <a:gd name="T6" fmla="*/ 118 w 152"/>
                  <a:gd name="T7" fmla="*/ 170 h 236"/>
                  <a:gd name="T8" fmla="*/ 119 w 152"/>
                  <a:gd name="T9" fmla="*/ 171 h 236"/>
                  <a:gd name="T10" fmla="*/ 112 w 152"/>
                  <a:gd name="T11" fmla="*/ 199 h 236"/>
                  <a:gd name="T12" fmla="*/ 97 w 152"/>
                  <a:gd name="T13" fmla="*/ 201 h 236"/>
                  <a:gd name="T14" fmla="*/ 28 w 152"/>
                  <a:gd name="T15" fmla="*/ 226 h 236"/>
                  <a:gd name="T16" fmla="*/ 7 w 152"/>
                  <a:gd name="T17" fmla="*/ 236 h 236"/>
                  <a:gd name="T18" fmla="*/ 13 w 152"/>
                  <a:gd name="T19" fmla="*/ 221 h 236"/>
                  <a:gd name="T20" fmla="*/ 41 w 152"/>
                  <a:gd name="T21" fmla="*/ 200 h 236"/>
                  <a:gd name="T22" fmla="*/ 80 w 152"/>
                  <a:gd name="T23" fmla="*/ 177 h 236"/>
                  <a:gd name="T24" fmla="*/ 72 w 152"/>
                  <a:gd name="T25" fmla="*/ 137 h 236"/>
                  <a:gd name="T26" fmla="*/ 9 w 152"/>
                  <a:gd name="T27" fmla="*/ 51 h 236"/>
                  <a:gd name="T28" fmla="*/ 14 w 152"/>
                  <a:gd name="T29" fmla="*/ 35 h 236"/>
                  <a:gd name="T30" fmla="*/ 53 w 152"/>
                  <a:gd name="T3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2" h="236">
                    <a:moveTo>
                      <a:pt x="53" y="4"/>
                    </a:moveTo>
                    <a:cubicBezTo>
                      <a:pt x="53" y="4"/>
                      <a:pt x="65" y="7"/>
                      <a:pt x="68" y="23"/>
                    </a:cubicBezTo>
                    <a:cubicBezTo>
                      <a:pt x="69" y="30"/>
                      <a:pt x="68" y="38"/>
                      <a:pt x="65" y="49"/>
                    </a:cubicBezTo>
                    <a:cubicBezTo>
                      <a:pt x="84" y="63"/>
                      <a:pt x="152" y="121"/>
                      <a:pt x="118" y="170"/>
                    </a:cubicBezTo>
                    <a:cubicBezTo>
                      <a:pt x="119" y="170"/>
                      <a:pt x="119" y="171"/>
                      <a:pt x="119" y="171"/>
                    </a:cubicBezTo>
                    <a:cubicBezTo>
                      <a:pt x="125" y="180"/>
                      <a:pt x="122" y="192"/>
                      <a:pt x="112" y="199"/>
                    </a:cubicBezTo>
                    <a:cubicBezTo>
                      <a:pt x="107" y="202"/>
                      <a:pt x="102" y="203"/>
                      <a:pt x="97" y="201"/>
                    </a:cubicBezTo>
                    <a:cubicBezTo>
                      <a:pt x="86" y="210"/>
                      <a:pt x="59" y="229"/>
                      <a:pt x="28" y="226"/>
                    </a:cubicBezTo>
                    <a:cubicBezTo>
                      <a:pt x="22" y="228"/>
                      <a:pt x="15" y="231"/>
                      <a:pt x="7" y="236"/>
                    </a:cubicBezTo>
                    <a:cubicBezTo>
                      <a:pt x="7" y="236"/>
                      <a:pt x="6" y="225"/>
                      <a:pt x="13" y="221"/>
                    </a:cubicBezTo>
                    <a:cubicBezTo>
                      <a:pt x="19" y="218"/>
                      <a:pt x="31" y="210"/>
                      <a:pt x="41" y="200"/>
                    </a:cubicBezTo>
                    <a:cubicBezTo>
                      <a:pt x="50" y="191"/>
                      <a:pt x="62" y="188"/>
                      <a:pt x="80" y="177"/>
                    </a:cubicBezTo>
                    <a:cubicBezTo>
                      <a:pt x="79" y="175"/>
                      <a:pt x="77" y="157"/>
                      <a:pt x="72" y="137"/>
                    </a:cubicBezTo>
                    <a:cubicBezTo>
                      <a:pt x="51" y="127"/>
                      <a:pt x="0" y="97"/>
                      <a:pt x="9" y="51"/>
                    </a:cubicBezTo>
                    <a:cubicBezTo>
                      <a:pt x="10" y="46"/>
                      <a:pt x="11" y="41"/>
                      <a:pt x="14" y="35"/>
                    </a:cubicBezTo>
                    <a:cubicBezTo>
                      <a:pt x="28" y="0"/>
                      <a:pt x="53" y="4"/>
                      <a:pt x="53" y="4"/>
                    </a:cubicBezTo>
                    <a:close/>
                  </a:path>
                </a:pathLst>
              </a:custGeom>
              <a:solidFill>
                <a:srgbClr val="5D4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296" name="กลุ่ม 563"/>
            <p:cNvGrpSpPr/>
            <p:nvPr/>
          </p:nvGrpSpPr>
          <p:grpSpPr>
            <a:xfrm>
              <a:off x="8417622" y="4724400"/>
              <a:ext cx="1057023" cy="3185777"/>
              <a:chOff x="2530476" y="9991726"/>
              <a:chExt cx="798513" cy="2406650"/>
            </a:xfrm>
          </p:grpSpPr>
          <p:sp>
            <p:nvSpPr>
              <p:cNvPr id="297" name="Freeform 930"/>
              <p:cNvSpPr>
                <a:spLocks/>
              </p:cNvSpPr>
              <p:nvPr/>
            </p:nvSpPr>
            <p:spPr bwMode="auto">
              <a:xfrm>
                <a:off x="2887664" y="11453813"/>
                <a:ext cx="201613" cy="898525"/>
              </a:xfrm>
              <a:custGeom>
                <a:avLst/>
                <a:gdLst>
                  <a:gd name="T0" fmla="*/ 17 w 96"/>
                  <a:gd name="T1" fmla="*/ 19 h 430"/>
                  <a:gd name="T2" fmla="*/ 21 w 96"/>
                  <a:gd name="T3" fmla="*/ 146 h 430"/>
                  <a:gd name="T4" fmla="*/ 28 w 96"/>
                  <a:gd name="T5" fmla="*/ 417 h 430"/>
                  <a:gd name="T6" fmla="*/ 69 w 96"/>
                  <a:gd name="T7" fmla="*/ 430 h 430"/>
                  <a:gd name="T8" fmla="*/ 46 w 96"/>
                  <a:gd name="T9" fmla="*/ 395 h 430"/>
                  <a:gd name="T10" fmla="*/ 46 w 96"/>
                  <a:gd name="T11" fmla="*/ 352 h 430"/>
                  <a:gd name="T12" fmla="*/ 52 w 96"/>
                  <a:gd name="T13" fmla="*/ 309 h 430"/>
                  <a:gd name="T14" fmla="*/ 76 w 96"/>
                  <a:gd name="T15" fmla="*/ 150 h 430"/>
                  <a:gd name="T16" fmla="*/ 96 w 96"/>
                  <a:gd name="T17" fmla="*/ 27 h 430"/>
                  <a:gd name="T18" fmla="*/ 17 w 96"/>
                  <a:gd name="T19" fmla="*/ 19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430">
                    <a:moveTo>
                      <a:pt x="17" y="19"/>
                    </a:moveTo>
                    <a:cubicBezTo>
                      <a:pt x="12" y="50"/>
                      <a:pt x="12" y="75"/>
                      <a:pt x="21" y="146"/>
                    </a:cubicBezTo>
                    <a:cubicBezTo>
                      <a:pt x="0" y="240"/>
                      <a:pt x="15" y="327"/>
                      <a:pt x="28" y="417"/>
                    </a:cubicBezTo>
                    <a:cubicBezTo>
                      <a:pt x="29" y="427"/>
                      <a:pt x="69" y="430"/>
                      <a:pt x="69" y="430"/>
                    </a:cubicBezTo>
                    <a:cubicBezTo>
                      <a:pt x="69" y="430"/>
                      <a:pt x="56" y="422"/>
                      <a:pt x="46" y="395"/>
                    </a:cubicBezTo>
                    <a:cubicBezTo>
                      <a:pt x="40" y="374"/>
                      <a:pt x="47" y="364"/>
                      <a:pt x="46" y="352"/>
                    </a:cubicBezTo>
                    <a:cubicBezTo>
                      <a:pt x="49" y="339"/>
                      <a:pt x="48" y="324"/>
                      <a:pt x="52" y="309"/>
                    </a:cubicBezTo>
                    <a:cubicBezTo>
                      <a:pt x="68" y="251"/>
                      <a:pt x="80" y="197"/>
                      <a:pt x="76" y="150"/>
                    </a:cubicBezTo>
                    <a:cubicBezTo>
                      <a:pt x="71" y="100"/>
                      <a:pt x="96" y="59"/>
                      <a:pt x="96" y="27"/>
                    </a:cubicBezTo>
                    <a:cubicBezTo>
                      <a:pt x="96" y="0"/>
                      <a:pt x="17" y="19"/>
                      <a:pt x="17" y="19"/>
                    </a:cubicBezTo>
                    <a:close/>
                  </a:path>
                </a:pathLst>
              </a:custGeom>
              <a:solidFill>
                <a:srgbClr val="E2A8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98" name="Freeform 931"/>
              <p:cNvSpPr>
                <a:spLocks/>
              </p:cNvSpPr>
              <p:nvPr/>
            </p:nvSpPr>
            <p:spPr bwMode="auto">
              <a:xfrm>
                <a:off x="2914651" y="12312651"/>
                <a:ext cx="138113" cy="85725"/>
              </a:xfrm>
              <a:custGeom>
                <a:avLst/>
                <a:gdLst>
                  <a:gd name="T0" fmla="*/ 6 w 66"/>
                  <a:gd name="T1" fmla="*/ 5 h 41"/>
                  <a:gd name="T2" fmla="*/ 30 w 66"/>
                  <a:gd name="T3" fmla="*/ 12 h 41"/>
                  <a:gd name="T4" fmla="*/ 42 w 66"/>
                  <a:gd name="T5" fmla="*/ 3 h 41"/>
                  <a:gd name="T6" fmla="*/ 66 w 66"/>
                  <a:gd name="T7" fmla="*/ 24 h 41"/>
                  <a:gd name="T8" fmla="*/ 15 w 66"/>
                  <a:gd name="T9" fmla="*/ 25 h 41"/>
                  <a:gd name="T10" fmla="*/ 2 w 66"/>
                  <a:gd name="T11" fmla="*/ 24 h 41"/>
                  <a:gd name="T12" fmla="*/ 6 w 66"/>
                  <a:gd name="T13" fmla="*/ 5 h 41"/>
                </a:gdLst>
                <a:ahLst/>
                <a:cxnLst>
                  <a:cxn ang="0">
                    <a:pos x="T0" y="T1"/>
                  </a:cxn>
                  <a:cxn ang="0">
                    <a:pos x="T2" y="T3"/>
                  </a:cxn>
                  <a:cxn ang="0">
                    <a:pos x="T4" y="T5"/>
                  </a:cxn>
                  <a:cxn ang="0">
                    <a:pos x="T6" y="T7"/>
                  </a:cxn>
                  <a:cxn ang="0">
                    <a:pos x="T8" y="T9"/>
                  </a:cxn>
                  <a:cxn ang="0">
                    <a:pos x="T10" y="T11"/>
                  </a:cxn>
                  <a:cxn ang="0">
                    <a:pos x="T12" y="T13"/>
                  </a:cxn>
                </a:cxnLst>
                <a:rect l="0" t="0" r="r" b="b"/>
                <a:pathLst>
                  <a:path w="66" h="41">
                    <a:moveTo>
                      <a:pt x="6" y="5"/>
                    </a:moveTo>
                    <a:cubicBezTo>
                      <a:pt x="6" y="5"/>
                      <a:pt x="0" y="0"/>
                      <a:pt x="30" y="12"/>
                    </a:cubicBezTo>
                    <a:cubicBezTo>
                      <a:pt x="59" y="23"/>
                      <a:pt x="41" y="3"/>
                      <a:pt x="42" y="3"/>
                    </a:cubicBezTo>
                    <a:cubicBezTo>
                      <a:pt x="55" y="21"/>
                      <a:pt x="66" y="22"/>
                      <a:pt x="66" y="24"/>
                    </a:cubicBezTo>
                    <a:cubicBezTo>
                      <a:pt x="64" y="41"/>
                      <a:pt x="17" y="25"/>
                      <a:pt x="15" y="25"/>
                    </a:cubicBezTo>
                    <a:cubicBezTo>
                      <a:pt x="8" y="25"/>
                      <a:pt x="2" y="23"/>
                      <a:pt x="2" y="24"/>
                    </a:cubicBezTo>
                    <a:cubicBezTo>
                      <a:pt x="1" y="25"/>
                      <a:pt x="6" y="5"/>
                      <a:pt x="6" y="5"/>
                    </a:cubicBezTo>
                    <a:close/>
                  </a:path>
                </a:pathLst>
              </a:custGeom>
              <a:solidFill>
                <a:srgbClr val="444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99" name="Freeform 932"/>
              <p:cNvSpPr>
                <a:spLocks/>
              </p:cNvSpPr>
              <p:nvPr/>
            </p:nvSpPr>
            <p:spPr bwMode="auto">
              <a:xfrm>
                <a:off x="2967039" y="12363451"/>
                <a:ext cx="85725" cy="26988"/>
              </a:xfrm>
              <a:custGeom>
                <a:avLst/>
                <a:gdLst>
                  <a:gd name="T0" fmla="*/ 41 w 41"/>
                  <a:gd name="T1" fmla="*/ 0 h 13"/>
                  <a:gd name="T2" fmla="*/ 0 w 41"/>
                  <a:gd name="T3" fmla="*/ 4 h 13"/>
                  <a:gd name="T4" fmla="*/ 0 w 41"/>
                  <a:gd name="T5" fmla="*/ 2 h 13"/>
                  <a:gd name="T6" fmla="*/ 41 w 41"/>
                  <a:gd name="T7" fmla="*/ 0 h 13"/>
                </a:gdLst>
                <a:ahLst/>
                <a:cxnLst>
                  <a:cxn ang="0">
                    <a:pos x="T0" y="T1"/>
                  </a:cxn>
                  <a:cxn ang="0">
                    <a:pos x="T2" y="T3"/>
                  </a:cxn>
                  <a:cxn ang="0">
                    <a:pos x="T4" y="T5"/>
                  </a:cxn>
                  <a:cxn ang="0">
                    <a:pos x="T6" y="T7"/>
                  </a:cxn>
                </a:cxnLst>
                <a:rect l="0" t="0" r="r" b="b"/>
                <a:pathLst>
                  <a:path w="41" h="13">
                    <a:moveTo>
                      <a:pt x="41" y="0"/>
                    </a:moveTo>
                    <a:cubicBezTo>
                      <a:pt x="40" y="13"/>
                      <a:pt x="14" y="7"/>
                      <a:pt x="0" y="4"/>
                    </a:cubicBezTo>
                    <a:cubicBezTo>
                      <a:pt x="0" y="2"/>
                      <a:pt x="0" y="2"/>
                      <a:pt x="0" y="2"/>
                    </a:cubicBezTo>
                    <a:cubicBezTo>
                      <a:pt x="17" y="7"/>
                      <a:pt x="32" y="12"/>
                      <a:pt x="41" y="0"/>
                    </a:cubicBezTo>
                    <a:close/>
                  </a:path>
                </a:pathLst>
              </a:custGeom>
              <a:solidFill>
                <a:srgbClr val="595A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00" name="Freeform 933"/>
              <p:cNvSpPr>
                <a:spLocks/>
              </p:cNvSpPr>
              <p:nvPr/>
            </p:nvSpPr>
            <p:spPr bwMode="auto">
              <a:xfrm>
                <a:off x="2798764" y="11458576"/>
                <a:ext cx="193675" cy="925513"/>
              </a:xfrm>
              <a:custGeom>
                <a:avLst/>
                <a:gdLst>
                  <a:gd name="T0" fmla="*/ 79 w 93"/>
                  <a:gd name="T1" fmla="*/ 19 h 443"/>
                  <a:gd name="T2" fmla="*/ 75 w 93"/>
                  <a:gd name="T3" fmla="*/ 146 h 443"/>
                  <a:gd name="T4" fmla="*/ 82 w 93"/>
                  <a:gd name="T5" fmla="*/ 348 h 443"/>
                  <a:gd name="T6" fmla="*/ 82 w 93"/>
                  <a:gd name="T7" fmla="*/ 353 h 443"/>
                  <a:gd name="T8" fmla="*/ 82 w 93"/>
                  <a:gd name="T9" fmla="*/ 368 h 443"/>
                  <a:gd name="T10" fmla="*/ 85 w 93"/>
                  <a:gd name="T11" fmla="*/ 433 h 443"/>
                  <a:gd name="T12" fmla="*/ 57 w 93"/>
                  <a:gd name="T13" fmla="*/ 435 h 443"/>
                  <a:gd name="T14" fmla="*/ 54 w 93"/>
                  <a:gd name="T15" fmla="*/ 395 h 443"/>
                  <a:gd name="T16" fmla="*/ 54 w 93"/>
                  <a:gd name="T17" fmla="*/ 352 h 443"/>
                  <a:gd name="T18" fmla="*/ 44 w 93"/>
                  <a:gd name="T19" fmla="*/ 309 h 443"/>
                  <a:gd name="T20" fmla="*/ 20 w 93"/>
                  <a:gd name="T21" fmla="*/ 150 h 443"/>
                  <a:gd name="T22" fmla="*/ 0 w 93"/>
                  <a:gd name="T23" fmla="*/ 27 h 443"/>
                  <a:gd name="T24" fmla="*/ 79 w 93"/>
                  <a:gd name="T25" fmla="*/ 19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443">
                    <a:moveTo>
                      <a:pt x="79" y="19"/>
                    </a:moveTo>
                    <a:cubicBezTo>
                      <a:pt x="84" y="50"/>
                      <a:pt x="84" y="75"/>
                      <a:pt x="75" y="146"/>
                    </a:cubicBezTo>
                    <a:cubicBezTo>
                      <a:pt x="93" y="225"/>
                      <a:pt x="84" y="289"/>
                      <a:pt x="82" y="348"/>
                    </a:cubicBezTo>
                    <a:cubicBezTo>
                      <a:pt x="83" y="348"/>
                      <a:pt x="83" y="349"/>
                      <a:pt x="82" y="353"/>
                    </a:cubicBezTo>
                    <a:cubicBezTo>
                      <a:pt x="82" y="358"/>
                      <a:pt x="82" y="363"/>
                      <a:pt x="82" y="368"/>
                    </a:cubicBezTo>
                    <a:cubicBezTo>
                      <a:pt x="84" y="390"/>
                      <a:pt x="87" y="421"/>
                      <a:pt x="85" y="433"/>
                    </a:cubicBezTo>
                    <a:cubicBezTo>
                      <a:pt x="84" y="443"/>
                      <a:pt x="57" y="435"/>
                      <a:pt x="57" y="435"/>
                    </a:cubicBezTo>
                    <a:cubicBezTo>
                      <a:pt x="57" y="435"/>
                      <a:pt x="44" y="432"/>
                      <a:pt x="54" y="395"/>
                    </a:cubicBezTo>
                    <a:cubicBezTo>
                      <a:pt x="60" y="374"/>
                      <a:pt x="53" y="364"/>
                      <a:pt x="54" y="352"/>
                    </a:cubicBezTo>
                    <a:cubicBezTo>
                      <a:pt x="51" y="339"/>
                      <a:pt x="48" y="324"/>
                      <a:pt x="44" y="309"/>
                    </a:cubicBezTo>
                    <a:cubicBezTo>
                      <a:pt x="28" y="251"/>
                      <a:pt x="16" y="197"/>
                      <a:pt x="20" y="150"/>
                    </a:cubicBezTo>
                    <a:cubicBezTo>
                      <a:pt x="25" y="100"/>
                      <a:pt x="0" y="59"/>
                      <a:pt x="0" y="27"/>
                    </a:cubicBezTo>
                    <a:cubicBezTo>
                      <a:pt x="0" y="0"/>
                      <a:pt x="79" y="19"/>
                      <a:pt x="79" y="19"/>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01" name="Freeform 934"/>
              <p:cNvSpPr>
                <a:spLocks/>
              </p:cNvSpPr>
              <p:nvPr/>
            </p:nvSpPr>
            <p:spPr bwMode="auto">
              <a:xfrm>
                <a:off x="2740026" y="11269663"/>
                <a:ext cx="404813" cy="469900"/>
              </a:xfrm>
              <a:custGeom>
                <a:avLst/>
                <a:gdLst>
                  <a:gd name="T0" fmla="*/ 24 w 194"/>
                  <a:gd name="T1" fmla="*/ 0 h 225"/>
                  <a:gd name="T2" fmla="*/ 6 w 194"/>
                  <a:gd name="T3" fmla="*/ 48 h 225"/>
                  <a:gd name="T4" fmla="*/ 48 w 194"/>
                  <a:gd name="T5" fmla="*/ 223 h 225"/>
                  <a:gd name="T6" fmla="*/ 97 w 194"/>
                  <a:gd name="T7" fmla="*/ 222 h 225"/>
                  <a:gd name="T8" fmla="*/ 145 w 194"/>
                  <a:gd name="T9" fmla="*/ 223 h 225"/>
                  <a:gd name="T10" fmla="*/ 188 w 194"/>
                  <a:gd name="T11" fmla="*/ 48 h 225"/>
                  <a:gd name="T12" fmla="*/ 173 w 194"/>
                  <a:gd name="T13" fmla="*/ 5 h 225"/>
                  <a:gd name="T14" fmla="*/ 106 w 194"/>
                  <a:gd name="T15" fmla="*/ 13 h 225"/>
                  <a:gd name="T16" fmla="*/ 24 w 194"/>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225">
                    <a:moveTo>
                      <a:pt x="24" y="0"/>
                    </a:moveTo>
                    <a:cubicBezTo>
                      <a:pt x="17" y="10"/>
                      <a:pt x="10" y="23"/>
                      <a:pt x="6" y="48"/>
                    </a:cubicBezTo>
                    <a:cubicBezTo>
                      <a:pt x="0" y="90"/>
                      <a:pt x="42" y="225"/>
                      <a:pt x="48" y="223"/>
                    </a:cubicBezTo>
                    <a:cubicBezTo>
                      <a:pt x="52" y="222"/>
                      <a:pt x="77" y="222"/>
                      <a:pt x="97" y="222"/>
                    </a:cubicBezTo>
                    <a:cubicBezTo>
                      <a:pt x="117" y="222"/>
                      <a:pt x="142" y="222"/>
                      <a:pt x="145" y="223"/>
                    </a:cubicBezTo>
                    <a:cubicBezTo>
                      <a:pt x="151" y="225"/>
                      <a:pt x="194" y="90"/>
                      <a:pt x="188" y="48"/>
                    </a:cubicBezTo>
                    <a:cubicBezTo>
                      <a:pt x="184" y="26"/>
                      <a:pt x="179" y="14"/>
                      <a:pt x="173" y="5"/>
                    </a:cubicBezTo>
                    <a:cubicBezTo>
                      <a:pt x="151" y="10"/>
                      <a:pt x="129" y="13"/>
                      <a:pt x="106" y="13"/>
                    </a:cubicBezTo>
                    <a:cubicBezTo>
                      <a:pt x="77" y="13"/>
                      <a:pt x="50" y="9"/>
                      <a:pt x="24" y="0"/>
                    </a:cubicBezTo>
                    <a:close/>
                  </a:path>
                </a:pathLst>
              </a:custGeom>
              <a:solidFill>
                <a:srgbClr val="76A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02" name="Freeform 935"/>
              <p:cNvSpPr>
                <a:spLocks/>
              </p:cNvSpPr>
              <p:nvPr/>
            </p:nvSpPr>
            <p:spPr bwMode="auto">
              <a:xfrm>
                <a:off x="2892426" y="12331701"/>
                <a:ext cx="88900" cy="55563"/>
              </a:xfrm>
              <a:custGeom>
                <a:avLst/>
                <a:gdLst>
                  <a:gd name="T0" fmla="*/ 41 w 43"/>
                  <a:gd name="T1" fmla="*/ 2 h 27"/>
                  <a:gd name="T2" fmla="*/ 6 w 43"/>
                  <a:gd name="T3" fmla="*/ 0 h 27"/>
                  <a:gd name="T4" fmla="*/ 6 w 43"/>
                  <a:gd name="T5" fmla="*/ 21 h 27"/>
                  <a:gd name="T6" fmla="*/ 8 w 43"/>
                  <a:gd name="T7" fmla="*/ 21 h 27"/>
                  <a:gd name="T8" fmla="*/ 40 w 43"/>
                  <a:gd name="T9" fmla="*/ 22 h 27"/>
                  <a:gd name="T10" fmla="*/ 41 w 43"/>
                  <a:gd name="T11" fmla="*/ 22 h 27"/>
                  <a:gd name="T12" fmla="*/ 41 w 43"/>
                  <a:gd name="T13" fmla="*/ 2 h 27"/>
                </a:gdLst>
                <a:ahLst/>
                <a:cxnLst>
                  <a:cxn ang="0">
                    <a:pos x="T0" y="T1"/>
                  </a:cxn>
                  <a:cxn ang="0">
                    <a:pos x="T2" y="T3"/>
                  </a:cxn>
                  <a:cxn ang="0">
                    <a:pos x="T4" y="T5"/>
                  </a:cxn>
                  <a:cxn ang="0">
                    <a:pos x="T6" y="T7"/>
                  </a:cxn>
                  <a:cxn ang="0">
                    <a:pos x="T8" y="T9"/>
                  </a:cxn>
                  <a:cxn ang="0">
                    <a:pos x="T10" y="T11"/>
                  </a:cxn>
                  <a:cxn ang="0">
                    <a:pos x="T12" y="T13"/>
                  </a:cxn>
                </a:cxnLst>
                <a:rect l="0" t="0" r="r" b="b"/>
                <a:pathLst>
                  <a:path w="43" h="27">
                    <a:moveTo>
                      <a:pt x="41" y="2"/>
                    </a:moveTo>
                    <a:cubicBezTo>
                      <a:pt x="34" y="7"/>
                      <a:pt x="12" y="10"/>
                      <a:pt x="6" y="0"/>
                    </a:cubicBezTo>
                    <a:cubicBezTo>
                      <a:pt x="6" y="0"/>
                      <a:pt x="0" y="17"/>
                      <a:pt x="6" y="21"/>
                    </a:cubicBezTo>
                    <a:cubicBezTo>
                      <a:pt x="6" y="21"/>
                      <a:pt x="8" y="21"/>
                      <a:pt x="8" y="21"/>
                    </a:cubicBezTo>
                    <a:cubicBezTo>
                      <a:pt x="17" y="25"/>
                      <a:pt x="36" y="27"/>
                      <a:pt x="40" y="22"/>
                    </a:cubicBezTo>
                    <a:cubicBezTo>
                      <a:pt x="40" y="22"/>
                      <a:pt x="41" y="22"/>
                      <a:pt x="41" y="22"/>
                    </a:cubicBezTo>
                    <a:cubicBezTo>
                      <a:pt x="43" y="17"/>
                      <a:pt x="41" y="2"/>
                      <a:pt x="41" y="2"/>
                    </a:cubicBezTo>
                    <a:close/>
                  </a:path>
                </a:pathLst>
              </a:custGeom>
              <a:solidFill>
                <a:srgbClr val="333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03" name="Freeform 936"/>
              <p:cNvSpPr>
                <a:spLocks/>
              </p:cNvSpPr>
              <p:nvPr/>
            </p:nvSpPr>
            <p:spPr bwMode="auto">
              <a:xfrm>
                <a:off x="2905126" y="12371388"/>
                <a:ext cx="73025" cy="15875"/>
              </a:xfrm>
              <a:custGeom>
                <a:avLst/>
                <a:gdLst>
                  <a:gd name="T0" fmla="*/ 0 w 35"/>
                  <a:gd name="T1" fmla="*/ 2 h 8"/>
                  <a:gd name="T2" fmla="*/ 1 w 35"/>
                  <a:gd name="T3" fmla="*/ 4 h 8"/>
                  <a:gd name="T4" fmla="*/ 34 w 35"/>
                  <a:gd name="T5" fmla="*/ 4 h 8"/>
                  <a:gd name="T6" fmla="*/ 35 w 35"/>
                  <a:gd name="T7" fmla="*/ 3 h 8"/>
                  <a:gd name="T8" fmla="*/ 17 w 35"/>
                  <a:gd name="T9" fmla="*/ 1 h 8"/>
                  <a:gd name="T10" fmla="*/ 0 w 35"/>
                  <a:gd name="T11" fmla="*/ 2 h 8"/>
                </a:gdLst>
                <a:ahLst/>
                <a:cxnLst>
                  <a:cxn ang="0">
                    <a:pos x="T0" y="T1"/>
                  </a:cxn>
                  <a:cxn ang="0">
                    <a:pos x="T2" y="T3"/>
                  </a:cxn>
                  <a:cxn ang="0">
                    <a:pos x="T4" y="T5"/>
                  </a:cxn>
                  <a:cxn ang="0">
                    <a:pos x="T6" y="T7"/>
                  </a:cxn>
                  <a:cxn ang="0">
                    <a:pos x="T8" y="T9"/>
                  </a:cxn>
                  <a:cxn ang="0">
                    <a:pos x="T10" y="T11"/>
                  </a:cxn>
                </a:cxnLst>
                <a:rect l="0" t="0" r="r" b="b"/>
                <a:pathLst>
                  <a:path w="35" h="8">
                    <a:moveTo>
                      <a:pt x="0" y="2"/>
                    </a:moveTo>
                    <a:cubicBezTo>
                      <a:pt x="0" y="3"/>
                      <a:pt x="0" y="3"/>
                      <a:pt x="1" y="4"/>
                    </a:cubicBezTo>
                    <a:cubicBezTo>
                      <a:pt x="10" y="7"/>
                      <a:pt x="30" y="8"/>
                      <a:pt x="34" y="4"/>
                    </a:cubicBezTo>
                    <a:cubicBezTo>
                      <a:pt x="35" y="4"/>
                      <a:pt x="34" y="3"/>
                      <a:pt x="35" y="3"/>
                    </a:cubicBezTo>
                    <a:cubicBezTo>
                      <a:pt x="31" y="2"/>
                      <a:pt x="25" y="0"/>
                      <a:pt x="17" y="1"/>
                    </a:cubicBezTo>
                    <a:cubicBezTo>
                      <a:pt x="8" y="1"/>
                      <a:pt x="3" y="2"/>
                      <a:pt x="0" y="2"/>
                    </a:cubicBezTo>
                    <a:close/>
                  </a:path>
                </a:pathLst>
              </a:custGeom>
              <a:solidFill>
                <a:srgbClr val="595A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04" name="Freeform 937"/>
              <p:cNvSpPr>
                <a:spLocks/>
              </p:cNvSpPr>
              <p:nvPr/>
            </p:nvSpPr>
            <p:spPr bwMode="auto">
              <a:xfrm>
                <a:off x="2530476" y="11307763"/>
                <a:ext cx="125413" cy="212725"/>
              </a:xfrm>
              <a:custGeom>
                <a:avLst/>
                <a:gdLst>
                  <a:gd name="T0" fmla="*/ 36 w 60"/>
                  <a:gd name="T1" fmla="*/ 0 h 102"/>
                  <a:gd name="T2" fmla="*/ 10 w 60"/>
                  <a:gd name="T3" fmla="*/ 83 h 102"/>
                  <a:gd name="T4" fmla="*/ 23 w 60"/>
                  <a:gd name="T5" fmla="*/ 97 h 102"/>
                  <a:gd name="T6" fmla="*/ 29 w 60"/>
                  <a:gd name="T7" fmla="*/ 97 h 102"/>
                  <a:gd name="T8" fmla="*/ 31 w 60"/>
                  <a:gd name="T9" fmla="*/ 92 h 102"/>
                  <a:gd name="T10" fmla="*/ 37 w 60"/>
                  <a:gd name="T11" fmla="*/ 91 h 102"/>
                  <a:gd name="T12" fmla="*/ 37 w 60"/>
                  <a:gd name="T13" fmla="*/ 82 h 102"/>
                  <a:gd name="T14" fmla="*/ 39 w 60"/>
                  <a:gd name="T15" fmla="*/ 51 h 102"/>
                  <a:gd name="T16" fmla="*/ 46 w 60"/>
                  <a:gd name="T17" fmla="*/ 59 h 102"/>
                  <a:gd name="T18" fmla="*/ 54 w 60"/>
                  <a:gd name="T19" fmla="*/ 70 h 102"/>
                  <a:gd name="T20" fmla="*/ 55 w 60"/>
                  <a:gd name="T21" fmla="*/ 46 h 102"/>
                  <a:gd name="T22" fmla="*/ 58 w 60"/>
                  <a:gd name="T23" fmla="*/ 9 h 102"/>
                  <a:gd name="T24" fmla="*/ 36 w 60"/>
                  <a:gd name="T2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2">
                    <a:moveTo>
                      <a:pt x="36" y="0"/>
                    </a:moveTo>
                    <a:cubicBezTo>
                      <a:pt x="36" y="0"/>
                      <a:pt x="0" y="36"/>
                      <a:pt x="10" y="83"/>
                    </a:cubicBezTo>
                    <a:cubicBezTo>
                      <a:pt x="10" y="83"/>
                      <a:pt x="14" y="102"/>
                      <a:pt x="23" y="97"/>
                    </a:cubicBezTo>
                    <a:cubicBezTo>
                      <a:pt x="23" y="97"/>
                      <a:pt x="26" y="99"/>
                      <a:pt x="29" y="97"/>
                    </a:cubicBezTo>
                    <a:cubicBezTo>
                      <a:pt x="33" y="95"/>
                      <a:pt x="31" y="92"/>
                      <a:pt x="31" y="92"/>
                    </a:cubicBezTo>
                    <a:cubicBezTo>
                      <a:pt x="31" y="92"/>
                      <a:pt x="33" y="94"/>
                      <a:pt x="37" y="91"/>
                    </a:cubicBezTo>
                    <a:cubicBezTo>
                      <a:pt x="40" y="89"/>
                      <a:pt x="38" y="85"/>
                      <a:pt x="37" y="82"/>
                    </a:cubicBezTo>
                    <a:cubicBezTo>
                      <a:pt x="37" y="79"/>
                      <a:pt x="29" y="53"/>
                      <a:pt x="39" y="51"/>
                    </a:cubicBezTo>
                    <a:cubicBezTo>
                      <a:pt x="45" y="49"/>
                      <a:pt x="46" y="57"/>
                      <a:pt x="46" y="59"/>
                    </a:cubicBezTo>
                    <a:cubicBezTo>
                      <a:pt x="46" y="60"/>
                      <a:pt x="48" y="70"/>
                      <a:pt x="54" y="70"/>
                    </a:cubicBezTo>
                    <a:cubicBezTo>
                      <a:pt x="60" y="69"/>
                      <a:pt x="58" y="54"/>
                      <a:pt x="55" y="46"/>
                    </a:cubicBezTo>
                    <a:cubicBezTo>
                      <a:pt x="52" y="37"/>
                      <a:pt x="52" y="23"/>
                      <a:pt x="58" y="9"/>
                    </a:cubicBezTo>
                    <a:lnTo>
                      <a:pt x="36" y="0"/>
                    </a:ln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05" name="Freeform 938"/>
              <p:cNvSpPr>
                <a:spLocks/>
              </p:cNvSpPr>
              <p:nvPr/>
            </p:nvSpPr>
            <p:spPr bwMode="auto">
              <a:xfrm>
                <a:off x="2593976" y="11282363"/>
                <a:ext cx="74613" cy="58738"/>
              </a:xfrm>
              <a:custGeom>
                <a:avLst/>
                <a:gdLst>
                  <a:gd name="T0" fmla="*/ 5 w 36"/>
                  <a:gd name="T1" fmla="*/ 0 h 28"/>
                  <a:gd name="T2" fmla="*/ 0 w 36"/>
                  <a:gd name="T3" fmla="*/ 15 h 28"/>
                  <a:gd name="T4" fmla="*/ 9 w 36"/>
                  <a:gd name="T5" fmla="*/ 19 h 28"/>
                  <a:gd name="T6" fmla="*/ 31 w 36"/>
                  <a:gd name="T7" fmla="*/ 27 h 28"/>
                  <a:gd name="T8" fmla="*/ 36 w 36"/>
                  <a:gd name="T9" fmla="*/ 10 h 28"/>
                  <a:gd name="T10" fmla="*/ 5 w 36"/>
                  <a:gd name="T11" fmla="*/ 0 h 28"/>
                </a:gdLst>
                <a:ahLst/>
                <a:cxnLst>
                  <a:cxn ang="0">
                    <a:pos x="T0" y="T1"/>
                  </a:cxn>
                  <a:cxn ang="0">
                    <a:pos x="T2" y="T3"/>
                  </a:cxn>
                  <a:cxn ang="0">
                    <a:pos x="T4" y="T5"/>
                  </a:cxn>
                  <a:cxn ang="0">
                    <a:pos x="T6" y="T7"/>
                  </a:cxn>
                  <a:cxn ang="0">
                    <a:pos x="T8" y="T9"/>
                  </a:cxn>
                  <a:cxn ang="0">
                    <a:pos x="T10" y="T11"/>
                  </a:cxn>
                </a:cxnLst>
                <a:rect l="0" t="0" r="r" b="b"/>
                <a:pathLst>
                  <a:path w="36" h="28">
                    <a:moveTo>
                      <a:pt x="5" y="0"/>
                    </a:moveTo>
                    <a:cubicBezTo>
                      <a:pt x="0" y="15"/>
                      <a:pt x="0" y="15"/>
                      <a:pt x="0" y="15"/>
                    </a:cubicBezTo>
                    <a:cubicBezTo>
                      <a:pt x="0" y="15"/>
                      <a:pt x="0" y="17"/>
                      <a:pt x="9" y="19"/>
                    </a:cubicBezTo>
                    <a:cubicBezTo>
                      <a:pt x="18" y="22"/>
                      <a:pt x="29" y="28"/>
                      <a:pt x="31" y="27"/>
                    </a:cubicBezTo>
                    <a:cubicBezTo>
                      <a:pt x="33" y="25"/>
                      <a:pt x="36" y="10"/>
                      <a:pt x="36" y="10"/>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06" name="Freeform 939"/>
              <p:cNvSpPr>
                <a:spLocks/>
              </p:cNvSpPr>
              <p:nvPr/>
            </p:nvSpPr>
            <p:spPr bwMode="auto">
              <a:xfrm>
                <a:off x="2570164" y="11418888"/>
                <a:ext cx="30163" cy="87313"/>
              </a:xfrm>
              <a:custGeom>
                <a:avLst/>
                <a:gdLst>
                  <a:gd name="T0" fmla="*/ 11 w 14"/>
                  <a:gd name="T1" fmla="*/ 36 h 42"/>
                  <a:gd name="T2" fmla="*/ 6 w 14"/>
                  <a:gd name="T3" fmla="*/ 23 h 42"/>
                  <a:gd name="T4" fmla="*/ 6 w 14"/>
                  <a:gd name="T5" fmla="*/ 0 h 42"/>
                  <a:gd name="T6" fmla="*/ 5 w 14"/>
                  <a:gd name="T7" fmla="*/ 0 h 42"/>
                  <a:gd name="T8" fmla="*/ 12 w 14"/>
                  <a:gd name="T9" fmla="*/ 42 h 42"/>
                  <a:gd name="T10" fmla="*/ 12 w 14"/>
                  <a:gd name="T11" fmla="*/ 39 h 42"/>
                  <a:gd name="T12" fmla="*/ 14 w 14"/>
                  <a:gd name="T13" fmla="*/ 39 h 42"/>
                  <a:gd name="T14" fmla="*/ 11 w 14"/>
                  <a:gd name="T15" fmla="*/ 36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42">
                    <a:moveTo>
                      <a:pt x="11" y="36"/>
                    </a:moveTo>
                    <a:cubicBezTo>
                      <a:pt x="8" y="32"/>
                      <a:pt x="7" y="27"/>
                      <a:pt x="6" y="23"/>
                    </a:cubicBezTo>
                    <a:cubicBezTo>
                      <a:pt x="5" y="15"/>
                      <a:pt x="5" y="8"/>
                      <a:pt x="6" y="0"/>
                    </a:cubicBezTo>
                    <a:cubicBezTo>
                      <a:pt x="6" y="0"/>
                      <a:pt x="5" y="0"/>
                      <a:pt x="5" y="0"/>
                    </a:cubicBezTo>
                    <a:cubicBezTo>
                      <a:pt x="0" y="13"/>
                      <a:pt x="2" y="32"/>
                      <a:pt x="12" y="42"/>
                    </a:cubicBezTo>
                    <a:cubicBezTo>
                      <a:pt x="13" y="40"/>
                      <a:pt x="12" y="39"/>
                      <a:pt x="12" y="39"/>
                    </a:cubicBezTo>
                    <a:cubicBezTo>
                      <a:pt x="12" y="39"/>
                      <a:pt x="13" y="39"/>
                      <a:pt x="14" y="39"/>
                    </a:cubicBezTo>
                    <a:cubicBezTo>
                      <a:pt x="13" y="38"/>
                      <a:pt x="12" y="37"/>
                      <a:pt x="11" y="36"/>
                    </a:cubicBezTo>
                    <a:close/>
                  </a:path>
                </a:pathLst>
              </a:custGeom>
              <a:solidFill>
                <a:srgbClr val="E4A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07" name="Freeform 940"/>
              <p:cNvSpPr>
                <a:spLocks/>
              </p:cNvSpPr>
              <p:nvPr/>
            </p:nvSpPr>
            <p:spPr bwMode="auto">
              <a:xfrm>
                <a:off x="2554289" y="11420476"/>
                <a:ext cx="26988" cy="92075"/>
              </a:xfrm>
              <a:custGeom>
                <a:avLst/>
                <a:gdLst>
                  <a:gd name="T0" fmla="*/ 10 w 13"/>
                  <a:gd name="T1" fmla="*/ 39 h 44"/>
                  <a:gd name="T2" fmla="*/ 6 w 13"/>
                  <a:gd name="T3" fmla="*/ 25 h 44"/>
                  <a:gd name="T4" fmla="*/ 4 w 13"/>
                  <a:gd name="T5" fmla="*/ 0 h 44"/>
                  <a:gd name="T6" fmla="*/ 3 w 13"/>
                  <a:gd name="T7" fmla="*/ 0 h 44"/>
                  <a:gd name="T8" fmla="*/ 3 w 13"/>
                  <a:gd name="T9" fmla="*/ 26 h 44"/>
                  <a:gd name="T10" fmla="*/ 10 w 13"/>
                  <a:gd name="T11" fmla="*/ 44 h 44"/>
                  <a:gd name="T12" fmla="*/ 12 w 13"/>
                  <a:gd name="T13" fmla="*/ 43 h 44"/>
                  <a:gd name="T14" fmla="*/ 13 w 13"/>
                  <a:gd name="T15" fmla="*/ 44 h 44"/>
                  <a:gd name="T16" fmla="*/ 10 w 13"/>
                  <a:gd name="T17" fmla="*/ 3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4">
                    <a:moveTo>
                      <a:pt x="10" y="39"/>
                    </a:moveTo>
                    <a:cubicBezTo>
                      <a:pt x="8" y="34"/>
                      <a:pt x="7" y="30"/>
                      <a:pt x="6" y="25"/>
                    </a:cubicBezTo>
                    <a:cubicBezTo>
                      <a:pt x="4" y="17"/>
                      <a:pt x="3" y="8"/>
                      <a:pt x="4" y="0"/>
                    </a:cubicBezTo>
                    <a:cubicBezTo>
                      <a:pt x="4" y="0"/>
                      <a:pt x="3" y="0"/>
                      <a:pt x="3" y="0"/>
                    </a:cubicBezTo>
                    <a:cubicBezTo>
                      <a:pt x="0" y="8"/>
                      <a:pt x="2" y="18"/>
                      <a:pt x="3" y="26"/>
                    </a:cubicBezTo>
                    <a:cubicBezTo>
                      <a:pt x="4" y="32"/>
                      <a:pt x="6" y="39"/>
                      <a:pt x="10" y="44"/>
                    </a:cubicBezTo>
                    <a:cubicBezTo>
                      <a:pt x="10" y="44"/>
                      <a:pt x="11" y="44"/>
                      <a:pt x="12" y="43"/>
                    </a:cubicBezTo>
                    <a:cubicBezTo>
                      <a:pt x="12" y="43"/>
                      <a:pt x="12" y="44"/>
                      <a:pt x="13" y="44"/>
                    </a:cubicBezTo>
                    <a:cubicBezTo>
                      <a:pt x="12" y="42"/>
                      <a:pt x="11" y="40"/>
                      <a:pt x="10" y="39"/>
                    </a:cubicBezTo>
                    <a:close/>
                  </a:path>
                </a:pathLst>
              </a:custGeom>
              <a:solidFill>
                <a:srgbClr val="E4A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08" name="Freeform 941"/>
              <p:cNvSpPr>
                <a:spLocks/>
              </p:cNvSpPr>
              <p:nvPr/>
            </p:nvSpPr>
            <p:spPr bwMode="auto">
              <a:xfrm>
                <a:off x="2593976" y="10642601"/>
                <a:ext cx="204788" cy="673100"/>
              </a:xfrm>
              <a:custGeom>
                <a:avLst/>
                <a:gdLst>
                  <a:gd name="T0" fmla="*/ 0 w 98"/>
                  <a:gd name="T1" fmla="*/ 308 h 322"/>
                  <a:gd name="T2" fmla="*/ 39 w 98"/>
                  <a:gd name="T3" fmla="*/ 322 h 322"/>
                  <a:gd name="T4" fmla="*/ 98 w 98"/>
                  <a:gd name="T5" fmla="*/ 58 h 322"/>
                  <a:gd name="T6" fmla="*/ 80 w 98"/>
                  <a:gd name="T7" fmla="*/ 1 h 322"/>
                  <a:gd name="T8" fmla="*/ 56 w 98"/>
                  <a:gd name="T9" fmla="*/ 55 h 322"/>
                  <a:gd name="T10" fmla="*/ 0 w 98"/>
                  <a:gd name="T11" fmla="*/ 308 h 322"/>
                </a:gdLst>
                <a:ahLst/>
                <a:cxnLst>
                  <a:cxn ang="0">
                    <a:pos x="T0" y="T1"/>
                  </a:cxn>
                  <a:cxn ang="0">
                    <a:pos x="T2" y="T3"/>
                  </a:cxn>
                  <a:cxn ang="0">
                    <a:pos x="T4" y="T5"/>
                  </a:cxn>
                  <a:cxn ang="0">
                    <a:pos x="T6" y="T7"/>
                  </a:cxn>
                  <a:cxn ang="0">
                    <a:pos x="T8" y="T9"/>
                  </a:cxn>
                  <a:cxn ang="0">
                    <a:pos x="T10" y="T11"/>
                  </a:cxn>
                </a:cxnLst>
                <a:rect l="0" t="0" r="r" b="b"/>
                <a:pathLst>
                  <a:path w="98" h="322">
                    <a:moveTo>
                      <a:pt x="0" y="308"/>
                    </a:moveTo>
                    <a:cubicBezTo>
                      <a:pt x="0" y="308"/>
                      <a:pt x="19" y="319"/>
                      <a:pt x="39" y="322"/>
                    </a:cubicBezTo>
                    <a:cubicBezTo>
                      <a:pt x="39" y="322"/>
                      <a:pt x="89" y="146"/>
                      <a:pt x="98" y="58"/>
                    </a:cubicBezTo>
                    <a:cubicBezTo>
                      <a:pt x="98" y="58"/>
                      <a:pt x="92" y="1"/>
                      <a:pt x="80" y="1"/>
                    </a:cubicBezTo>
                    <a:cubicBezTo>
                      <a:pt x="75" y="0"/>
                      <a:pt x="65" y="22"/>
                      <a:pt x="56" y="55"/>
                    </a:cubicBezTo>
                    <a:cubicBezTo>
                      <a:pt x="37" y="126"/>
                      <a:pt x="15" y="247"/>
                      <a:pt x="0" y="308"/>
                    </a:cubicBezTo>
                    <a:close/>
                  </a:path>
                </a:pathLst>
              </a:custGeom>
              <a:solidFill>
                <a:srgbClr val="AC45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09" name="Freeform 942"/>
              <p:cNvSpPr>
                <a:spLocks/>
              </p:cNvSpPr>
              <p:nvPr/>
            </p:nvSpPr>
            <p:spPr bwMode="auto">
              <a:xfrm>
                <a:off x="3203576" y="11307763"/>
                <a:ext cx="125413" cy="212725"/>
              </a:xfrm>
              <a:custGeom>
                <a:avLst/>
                <a:gdLst>
                  <a:gd name="T0" fmla="*/ 24 w 60"/>
                  <a:gd name="T1" fmla="*/ 0 h 102"/>
                  <a:gd name="T2" fmla="*/ 50 w 60"/>
                  <a:gd name="T3" fmla="*/ 83 h 102"/>
                  <a:gd name="T4" fmla="*/ 37 w 60"/>
                  <a:gd name="T5" fmla="*/ 97 h 102"/>
                  <a:gd name="T6" fmla="*/ 31 w 60"/>
                  <a:gd name="T7" fmla="*/ 97 h 102"/>
                  <a:gd name="T8" fmla="*/ 29 w 60"/>
                  <a:gd name="T9" fmla="*/ 92 h 102"/>
                  <a:gd name="T10" fmla="*/ 23 w 60"/>
                  <a:gd name="T11" fmla="*/ 91 h 102"/>
                  <a:gd name="T12" fmla="*/ 23 w 60"/>
                  <a:gd name="T13" fmla="*/ 82 h 102"/>
                  <a:gd name="T14" fmla="*/ 21 w 60"/>
                  <a:gd name="T15" fmla="*/ 51 h 102"/>
                  <a:gd name="T16" fmla="*/ 14 w 60"/>
                  <a:gd name="T17" fmla="*/ 59 h 102"/>
                  <a:gd name="T18" fmla="*/ 6 w 60"/>
                  <a:gd name="T19" fmla="*/ 70 h 102"/>
                  <a:gd name="T20" fmla="*/ 5 w 60"/>
                  <a:gd name="T21" fmla="*/ 46 h 102"/>
                  <a:gd name="T22" fmla="*/ 2 w 60"/>
                  <a:gd name="T23" fmla="*/ 9 h 102"/>
                  <a:gd name="T24" fmla="*/ 24 w 60"/>
                  <a:gd name="T2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2">
                    <a:moveTo>
                      <a:pt x="24" y="0"/>
                    </a:moveTo>
                    <a:cubicBezTo>
                      <a:pt x="24" y="0"/>
                      <a:pt x="60" y="36"/>
                      <a:pt x="50" y="83"/>
                    </a:cubicBezTo>
                    <a:cubicBezTo>
                      <a:pt x="50" y="83"/>
                      <a:pt x="46" y="102"/>
                      <a:pt x="37" y="97"/>
                    </a:cubicBezTo>
                    <a:cubicBezTo>
                      <a:pt x="37" y="97"/>
                      <a:pt x="34" y="99"/>
                      <a:pt x="31" y="97"/>
                    </a:cubicBezTo>
                    <a:cubicBezTo>
                      <a:pt x="27" y="95"/>
                      <a:pt x="29" y="92"/>
                      <a:pt x="29" y="92"/>
                    </a:cubicBezTo>
                    <a:cubicBezTo>
                      <a:pt x="29" y="92"/>
                      <a:pt x="27" y="94"/>
                      <a:pt x="23" y="91"/>
                    </a:cubicBezTo>
                    <a:cubicBezTo>
                      <a:pt x="20" y="89"/>
                      <a:pt x="22" y="85"/>
                      <a:pt x="23" y="82"/>
                    </a:cubicBezTo>
                    <a:cubicBezTo>
                      <a:pt x="23" y="79"/>
                      <a:pt x="31" y="53"/>
                      <a:pt x="21" y="51"/>
                    </a:cubicBezTo>
                    <a:cubicBezTo>
                      <a:pt x="15" y="49"/>
                      <a:pt x="14" y="57"/>
                      <a:pt x="14" y="59"/>
                    </a:cubicBezTo>
                    <a:cubicBezTo>
                      <a:pt x="14" y="60"/>
                      <a:pt x="12" y="70"/>
                      <a:pt x="6" y="70"/>
                    </a:cubicBezTo>
                    <a:cubicBezTo>
                      <a:pt x="0" y="69"/>
                      <a:pt x="2" y="54"/>
                      <a:pt x="5" y="46"/>
                    </a:cubicBezTo>
                    <a:cubicBezTo>
                      <a:pt x="8" y="37"/>
                      <a:pt x="8" y="23"/>
                      <a:pt x="2" y="9"/>
                    </a:cubicBezTo>
                    <a:lnTo>
                      <a:pt x="24" y="0"/>
                    </a:ln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10" name="Freeform 943"/>
              <p:cNvSpPr>
                <a:spLocks/>
              </p:cNvSpPr>
              <p:nvPr/>
            </p:nvSpPr>
            <p:spPr bwMode="auto">
              <a:xfrm>
                <a:off x="3190876" y="11282363"/>
                <a:ext cx="76200" cy="58738"/>
              </a:xfrm>
              <a:custGeom>
                <a:avLst/>
                <a:gdLst>
                  <a:gd name="T0" fmla="*/ 31 w 36"/>
                  <a:gd name="T1" fmla="*/ 0 h 28"/>
                  <a:gd name="T2" fmla="*/ 36 w 36"/>
                  <a:gd name="T3" fmla="*/ 15 h 28"/>
                  <a:gd name="T4" fmla="*/ 27 w 36"/>
                  <a:gd name="T5" fmla="*/ 19 h 28"/>
                  <a:gd name="T6" fmla="*/ 5 w 36"/>
                  <a:gd name="T7" fmla="*/ 27 h 28"/>
                  <a:gd name="T8" fmla="*/ 0 w 36"/>
                  <a:gd name="T9" fmla="*/ 10 h 28"/>
                  <a:gd name="T10" fmla="*/ 31 w 36"/>
                  <a:gd name="T11" fmla="*/ 0 h 28"/>
                </a:gdLst>
                <a:ahLst/>
                <a:cxnLst>
                  <a:cxn ang="0">
                    <a:pos x="T0" y="T1"/>
                  </a:cxn>
                  <a:cxn ang="0">
                    <a:pos x="T2" y="T3"/>
                  </a:cxn>
                  <a:cxn ang="0">
                    <a:pos x="T4" y="T5"/>
                  </a:cxn>
                  <a:cxn ang="0">
                    <a:pos x="T6" y="T7"/>
                  </a:cxn>
                  <a:cxn ang="0">
                    <a:pos x="T8" y="T9"/>
                  </a:cxn>
                  <a:cxn ang="0">
                    <a:pos x="T10" y="T11"/>
                  </a:cxn>
                </a:cxnLst>
                <a:rect l="0" t="0" r="r" b="b"/>
                <a:pathLst>
                  <a:path w="36" h="28">
                    <a:moveTo>
                      <a:pt x="31" y="0"/>
                    </a:moveTo>
                    <a:cubicBezTo>
                      <a:pt x="36" y="15"/>
                      <a:pt x="36" y="15"/>
                      <a:pt x="36" y="15"/>
                    </a:cubicBezTo>
                    <a:cubicBezTo>
                      <a:pt x="36" y="15"/>
                      <a:pt x="36" y="17"/>
                      <a:pt x="27" y="19"/>
                    </a:cubicBezTo>
                    <a:cubicBezTo>
                      <a:pt x="18" y="22"/>
                      <a:pt x="7" y="28"/>
                      <a:pt x="5" y="27"/>
                    </a:cubicBezTo>
                    <a:cubicBezTo>
                      <a:pt x="3" y="25"/>
                      <a:pt x="0" y="10"/>
                      <a:pt x="0" y="10"/>
                    </a:cubicBezTo>
                    <a:lnTo>
                      <a:pt x="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11" name="Freeform 944"/>
              <p:cNvSpPr>
                <a:spLocks/>
              </p:cNvSpPr>
              <p:nvPr/>
            </p:nvSpPr>
            <p:spPr bwMode="auto">
              <a:xfrm>
                <a:off x="3260726" y="11418888"/>
                <a:ext cx="28575" cy="87313"/>
              </a:xfrm>
              <a:custGeom>
                <a:avLst/>
                <a:gdLst>
                  <a:gd name="T0" fmla="*/ 9 w 14"/>
                  <a:gd name="T1" fmla="*/ 0 h 42"/>
                  <a:gd name="T2" fmla="*/ 8 w 14"/>
                  <a:gd name="T3" fmla="*/ 0 h 42"/>
                  <a:gd name="T4" fmla="*/ 8 w 14"/>
                  <a:gd name="T5" fmla="*/ 23 h 42"/>
                  <a:gd name="T6" fmla="*/ 3 w 14"/>
                  <a:gd name="T7" fmla="*/ 36 h 42"/>
                  <a:gd name="T8" fmla="*/ 0 w 14"/>
                  <a:gd name="T9" fmla="*/ 39 h 42"/>
                  <a:gd name="T10" fmla="*/ 2 w 14"/>
                  <a:gd name="T11" fmla="*/ 39 h 42"/>
                  <a:gd name="T12" fmla="*/ 2 w 14"/>
                  <a:gd name="T13" fmla="*/ 42 h 42"/>
                  <a:gd name="T14" fmla="*/ 9 w 14"/>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42">
                    <a:moveTo>
                      <a:pt x="9" y="0"/>
                    </a:moveTo>
                    <a:cubicBezTo>
                      <a:pt x="9" y="0"/>
                      <a:pt x="8" y="0"/>
                      <a:pt x="8" y="0"/>
                    </a:cubicBezTo>
                    <a:cubicBezTo>
                      <a:pt x="9" y="8"/>
                      <a:pt x="9" y="15"/>
                      <a:pt x="8" y="23"/>
                    </a:cubicBezTo>
                    <a:cubicBezTo>
                      <a:pt x="7" y="27"/>
                      <a:pt x="6" y="32"/>
                      <a:pt x="3" y="36"/>
                    </a:cubicBezTo>
                    <a:cubicBezTo>
                      <a:pt x="2" y="37"/>
                      <a:pt x="1" y="38"/>
                      <a:pt x="0" y="39"/>
                    </a:cubicBezTo>
                    <a:cubicBezTo>
                      <a:pt x="1" y="39"/>
                      <a:pt x="2" y="39"/>
                      <a:pt x="2" y="39"/>
                    </a:cubicBezTo>
                    <a:cubicBezTo>
                      <a:pt x="2" y="39"/>
                      <a:pt x="1" y="40"/>
                      <a:pt x="2" y="42"/>
                    </a:cubicBezTo>
                    <a:cubicBezTo>
                      <a:pt x="12" y="32"/>
                      <a:pt x="14" y="13"/>
                      <a:pt x="9" y="0"/>
                    </a:cubicBezTo>
                    <a:close/>
                  </a:path>
                </a:pathLst>
              </a:custGeom>
              <a:solidFill>
                <a:srgbClr val="E4A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12" name="Freeform 945"/>
              <p:cNvSpPr>
                <a:spLocks/>
              </p:cNvSpPr>
              <p:nvPr/>
            </p:nvSpPr>
            <p:spPr bwMode="auto">
              <a:xfrm>
                <a:off x="3278189" y="11420476"/>
                <a:ext cx="28575" cy="92075"/>
              </a:xfrm>
              <a:custGeom>
                <a:avLst/>
                <a:gdLst>
                  <a:gd name="T0" fmla="*/ 9 w 13"/>
                  <a:gd name="T1" fmla="*/ 0 h 44"/>
                  <a:gd name="T2" fmla="*/ 7 w 13"/>
                  <a:gd name="T3" fmla="*/ 25 h 44"/>
                  <a:gd name="T4" fmla="*/ 3 w 13"/>
                  <a:gd name="T5" fmla="*/ 39 h 44"/>
                  <a:gd name="T6" fmla="*/ 0 w 13"/>
                  <a:gd name="T7" fmla="*/ 44 h 44"/>
                  <a:gd name="T8" fmla="*/ 1 w 13"/>
                  <a:gd name="T9" fmla="*/ 43 h 44"/>
                  <a:gd name="T10" fmla="*/ 3 w 13"/>
                  <a:gd name="T11" fmla="*/ 44 h 44"/>
                  <a:gd name="T12" fmla="*/ 10 w 13"/>
                  <a:gd name="T13" fmla="*/ 26 h 44"/>
                  <a:gd name="T14" fmla="*/ 10 w 13"/>
                  <a:gd name="T15" fmla="*/ 0 h 44"/>
                  <a:gd name="T16" fmla="*/ 9 w 13"/>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4">
                    <a:moveTo>
                      <a:pt x="9" y="0"/>
                    </a:moveTo>
                    <a:cubicBezTo>
                      <a:pt x="10" y="8"/>
                      <a:pt x="9" y="17"/>
                      <a:pt x="7" y="25"/>
                    </a:cubicBezTo>
                    <a:cubicBezTo>
                      <a:pt x="6" y="30"/>
                      <a:pt x="5" y="34"/>
                      <a:pt x="3" y="39"/>
                    </a:cubicBezTo>
                    <a:cubicBezTo>
                      <a:pt x="2" y="40"/>
                      <a:pt x="1" y="42"/>
                      <a:pt x="0" y="44"/>
                    </a:cubicBezTo>
                    <a:cubicBezTo>
                      <a:pt x="1" y="44"/>
                      <a:pt x="1" y="43"/>
                      <a:pt x="1" y="43"/>
                    </a:cubicBezTo>
                    <a:cubicBezTo>
                      <a:pt x="2" y="44"/>
                      <a:pt x="3" y="44"/>
                      <a:pt x="3" y="44"/>
                    </a:cubicBezTo>
                    <a:cubicBezTo>
                      <a:pt x="7" y="39"/>
                      <a:pt x="9" y="32"/>
                      <a:pt x="10" y="26"/>
                    </a:cubicBezTo>
                    <a:cubicBezTo>
                      <a:pt x="11" y="18"/>
                      <a:pt x="13" y="8"/>
                      <a:pt x="10" y="0"/>
                    </a:cubicBezTo>
                    <a:cubicBezTo>
                      <a:pt x="10" y="0"/>
                      <a:pt x="9" y="0"/>
                      <a:pt x="9" y="0"/>
                    </a:cubicBezTo>
                    <a:close/>
                  </a:path>
                </a:pathLst>
              </a:custGeom>
              <a:solidFill>
                <a:srgbClr val="E4A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13" name="Freeform 946"/>
              <p:cNvSpPr>
                <a:spLocks/>
              </p:cNvSpPr>
              <p:nvPr/>
            </p:nvSpPr>
            <p:spPr bwMode="auto">
              <a:xfrm>
                <a:off x="3062289" y="10642601"/>
                <a:ext cx="204788" cy="673100"/>
              </a:xfrm>
              <a:custGeom>
                <a:avLst/>
                <a:gdLst>
                  <a:gd name="T0" fmla="*/ 98 w 98"/>
                  <a:gd name="T1" fmla="*/ 308 h 322"/>
                  <a:gd name="T2" fmla="*/ 59 w 98"/>
                  <a:gd name="T3" fmla="*/ 322 h 322"/>
                  <a:gd name="T4" fmla="*/ 0 w 98"/>
                  <a:gd name="T5" fmla="*/ 58 h 322"/>
                  <a:gd name="T6" fmla="*/ 18 w 98"/>
                  <a:gd name="T7" fmla="*/ 1 h 322"/>
                  <a:gd name="T8" fmla="*/ 42 w 98"/>
                  <a:gd name="T9" fmla="*/ 55 h 322"/>
                  <a:gd name="T10" fmla="*/ 98 w 98"/>
                  <a:gd name="T11" fmla="*/ 308 h 322"/>
                </a:gdLst>
                <a:ahLst/>
                <a:cxnLst>
                  <a:cxn ang="0">
                    <a:pos x="T0" y="T1"/>
                  </a:cxn>
                  <a:cxn ang="0">
                    <a:pos x="T2" y="T3"/>
                  </a:cxn>
                  <a:cxn ang="0">
                    <a:pos x="T4" y="T5"/>
                  </a:cxn>
                  <a:cxn ang="0">
                    <a:pos x="T6" y="T7"/>
                  </a:cxn>
                  <a:cxn ang="0">
                    <a:pos x="T8" y="T9"/>
                  </a:cxn>
                  <a:cxn ang="0">
                    <a:pos x="T10" y="T11"/>
                  </a:cxn>
                </a:cxnLst>
                <a:rect l="0" t="0" r="r" b="b"/>
                <a:pathLst>
                  <a:path w="98" h="322">
                    <a:moveTo>
                      <a:pt x="98" y="308"/>
                    </a:moveTo>
                    <a:cubicBezTo>
                      <a:pt x="98" y="308"/>
                      <a:pt x="79" y="319"/>
                      <a:pt x="59" y="322"/>
                    </a:cubicBezTo>
                    <a:cubicBezTo>
                      <a:pt x="59" y="322"/>
                      <a:pt x="9" y="146"/>
                      <a:pt x="0" y="58"/>
                    </a:cubicBezTo>
                    <a:cubicBezTo>
                      <a:pt x="0" y="58"/>
                      <a:pt x="6" y="1"/>
                      <a:pt x="18" y="1"/>
                    </a:cubicBezTo>
                    <a:cubicBezTo>
                      <a:pt x="23" y="0"/>
                      <a:pt x="33" y="22"/>
                      <a:pt x="42" y="55"/>
                    </a:cubicBezTo>
                    <a:cubicBezTo>
                      <a:pt x="61" y="126"/>
                      <a:pt x="83" y="247"/>
                      <a:pt x="98" y="308"/>
                    </a:cubicBezTo>
                    <a:close/>
                  </a:path>
                </a:pathLst>
              </a:custGeom>
              <a:solidFill>
                <a:srgbClr val="AC45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14" name="Freeform 947"/>
              <p:cNvSpPr>
                <a:spLocks/>
              </p:cNvSpPr>
              <p:nvPr/>
            </p:nvSpPr>
            <p:spPr bwMode="auto">
              <a:xfrm>
                <a:off x="2752726" y="10571163"/>
                <a:ext cx="358775" cy="511175"/>
              </a:xfrm>
              <a:custGeom>
                <a:avLst/>
                <a:gdLst>
                  <a:gd name="T0" fmla="*/ 23 w 172"/>
                  <a:gd name="T1" fmla="*/ 26 h 244"/>
                  <a:gd name="T2" fmla="*/ 153 w 172"/>
                  <a:gd name="T3" fmla="*/ 31 h 244"/>
                  <a:gd name="T4" fmla="*/ 86 w 172"/>
                  <a:gd name="T5" fmla="*/ 242 h 244"/>
                  <a:gd name="T6" fmla="*/ 23 w 172"/>
                  <a:gd name="T7" fmla="*/ 26 h 244"/>
                </a:gdLst>
                <a:ahLst/>
                <a:cxnLst>
                  <a:cxn ang="0">
                    <a:pos x="T0" y="T1"/>
                  </a:cxn>
                  <a:cxn ang="0">
                    <a:pos x="T2" y="T3"/>
                  </a:cxn>
                  <a:cxn ang="0">
                    <a:pos x="T4" y="T5"/>
                  </a:cxn>
                  <a:cxn ang="0">
                    <a:pos x="T6" y="T7"/>
                  </a:cxn>
                </a:cxnLst>
                <a:rect l="0" t="0" r="r" b="b"/>
                <a:pathLst>
                  <a:path w="172" h="244">
                    <a:moveTo>
                      <a:pt x="23" y="26"/>
                    </a:moveTo>
                    <a:cubicBezTo>
                      <a:pt x="23" y="26"/>
                      <a:pt x="86" y="0"/>
                      <a:pt x="153" y="31"/>
                    </a:cubicBezTo>
                    <a:cubicBezTo>
                      <a:pt x="153" y="31"/>
                      <a:pt x="172" y="240"/>
                      <a:pt x="86" y="242"/>
                    </a:cubicBezTo>
                    <a:cubicBezTo>
                      <a:pt x="0" y="244"/>
                      <a:pt x="25" y="63"/>
                      <a:pt x="23" y="26"/>
                    </a:cubicBezTo>
                    <a:close/>
                  </a:path>
                </a:pathLst>
              </a:custGeom>
              <a:solidFill>
                <a:srgbClr val="DAE8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15" name="Freeform 948"/>
              <p:cNvSpPr>
                <a:spLocks/>
              </p:cNvSpPr>
              <p:nvPr/>
            </p:nvSpPr>
            <p:spPr bwMode="auto">
              <a:xfrm>
                <a:off x="2840039" y="10517188"/>
                <a:ext cx="177800" cy="307975"/>
              </a:xfrm>
              <a:custGeom>
                <a:avLst/>
                <a:gdLst>
                  <a:gd name="T0" fmla="*/ 70 w 85"/>
                  <a:gd name="T1" fmla="*/ 41 h 147"/>
                  <a:gd name="T2" fmla="*/ 58 w 85"/>
                  <a:gd name="T3" fmla="*/ 39 h 147"/>
                  <a:gd name="T4" fmla="*/ 57 w 85"/>
                  <a:gd name="T5" fmla="*/ 2 h 147"/>
                  <a:gd name="T6" fmla="*/ 31 w 85"/>
                  <a:gd name="T7" fmla="*/ 0 h 147"/>
                  <a:gd name="T8" fmla="*/ 29 w 85"/>
                  <a:gd name="T9" fmla="*/ 39 h 147"/>
                  <a:gd name="T10" fmla="*/ 16 w 85"/>
                  <a:gd name="T11" fmla="*/ 42 h 147"/>
                  <a:gd name="T12" fmla="*/ 0 w 85"/>
                  <a:gd name="T13" fmla="*/ 70 h 147"/>
                  <a:gd name="T14" fmla="*/ 44 w 85"/>
                  <a:gd name="T15" fmla="*/ 147 h 147"/>
                  <a:gd name="T16" fmla="*/ 85 w 85"/>
                  <a:gd name="T17" fmla="*/ 64 h 147"/>
                  <a:gd name="T18" fmla="*/ 70 w 85"/>
                  <a:gd name="T19" fmla="*/ 4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47">
                    <a:moveTo>
                      <a:pt x="70" y="41"/>
                    </a:moveTo>
                    <a:cubicBezTo>
                      <a:pt x="66" y="40"/>
                      <a:pt x="63" y="40"/>
                      <a:pt x="58" y="39"/>
                    </a:cubicBezTo>
                    <a:cubicBezTo>
                      <a:pt x="58" y="23"/>
                      <a:pt x="57" y="7"/>
                      <a:pt x="57" y="2"/>
                    </a:cubicBezTo>
                    <a:cubicBezTo>
                      <a:pt x="31" y="0"/>
                      <a:pt x="31" y="0"/>
                      <a:pt x="31" y="0"/>
                    </a:cubicBezTo>
                    <a:cubicBezTo>
                      <a:pt x="32" y="6"/>
                      <a:pt x="30" y="23"/>
                      <a:pt x="29" y="39"/>
                    </a:cubicBezTo>
                    <a:cubicBezTo>
                      <a:pt x="24" y="40"/>
                      <a:pt x="20" y="41"/>
                      <a:pt x="16" y="42"/>
                    </a:cubicBezTo>
                    <a:cubicBezTo>
                      <a:pt x="13" y="45"/>
                      <a:pt x="0" y="62"/>
                      <a:pt x="0" y="70"/>
                    </a:cubicBezTo>
                    <a:cubicBezTo>
                      <a:pt x="0" y="82"/>
                      <a:pt x="44" y="147"/>
                      <a:pt x="44" y="147"/>
                    </a:cubicBezTo>
                    <a:cubicBezTo>
                      <a:pt x="44" y="147"/>
                      <a:pt x="84" y="68"/>
                      <a:pt x="85" y="64"/>
                    </a:cubicBezTo>
                    <a:cubicBezTo>
                      <a:pt x="85" y="60"/>
                      <a:pt x="73" y="48"/>
                      <a:pt x="70" y="41"/>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16" name="Freeform 949"/>
              <p:cNvSpPr>
                <a:spLocks/>
              </p:cNvSpPr>
              <p:nvPr/>
            </p:nvSpPr>
            <p:spPr bwMode="auto">
              <a:xfrm>
                <a:off x="2840039" y="10623551"/>
                <a:ext cx="177800" cy="201613"/>
              </a:xfrm>
              <a:custGeom>
                <a:avLst/>
                <a:gdLst>
                  <a:gd name="T0" fmla="*/ 48 w 85"/>
                  <a:gd name="T1" fmla="*/ 9 h 96"/>
                  <a:gd name="T2" fmla="*/ 9 w 85"/>
                  <a:gd name="T3" fmla="*/ 0 h 96"/>
                  <a:gd name="T4" fmla="*/ 0 w 85"/>
                  <a:gd name="T5" fmla="*/ 19 h 96"/>
                  <a:gd name="T6" fmla="*/ 44 w 85"/>
                  <a:gd name="T7" fmla="*/ 96 h 96"/>
                  <a:gd name="T8" fmla="*/ 85 w 85"/>
                  <a:gd name="T9" fmla="*/ 13 h 96"/>
                  <a:gd name="T10" fmla="*/ 79 w 85"/>
                  <a:gd name="T11" fmla="*/ 4 h 96"/>
                  <a:gd name="T12" fmla="*/ 48 w 85"/>
                  <a:gd name="T13" fmla="*/ 9 h 96"/>
                </a:gdLst>
                <a:ahLst/>
                <a:cxnLst>
                  <a:cxn ang="0">
                    <a:pos x="T0" y="T1"/>
                  </a:cxn>
                  <a:cxn ang="0">
                    <a:pos x="T2" y="T3"/>
                  </a:cxn>
                  <a:cxn ang="0">
                    <a:pos x="T4" y="T5"/>
                  </a:cxn>
                  <a:cxn ang="0">
                    <a:pos x="T6" y="T7"/>
                  </a:cxn>
                  <a:cxn ang="0">
                    <a:pos x="T8" y="T9"/>
                  </a:cxn>
                  <a:cxn ang="0">
                    <a:pos x="T10" y="T11"/>
                  </a:cxn>
                  <a:cxn ang="0">
                    <a:pos x="T12" y="T13"/>
                  </a:cxn>
                </a:cxnLst>
                <a:rect l="0" t="0" r="r" b="b"/>
                <a:pathLst>
                  <a:path w="85" h="96">
                    <a:moveTo>
                      <a:pt x="48" y="9"/>
                    </a:moveTo>
                    <a:cubicBezTo>
                      <a:pt x="34" y="9"/>
                      <a:pt x="20" y="6"/>
                      <a:pt x="9" y="0"/>
                    </a:cubicBezTo>
                    <a:cubicBezTo>
                      <a:pt x="4" y="6"/>
                      <a:pt x="0" y="14"/>
                      <a:pt x="0" y="19"/>
                    </a:cubicBezTo>
                    <a:cubicBezTo>
                      <a:pt x="0" y="31"/>
                      <a:pt x="44" y="96"/>
                      <a:pt x="44" y="96"/>
                    </a:cubicBezTo>
                    <a:cubicBezTo>
                      <a:pt x="44" y="96"/>
                      <a:pt x="84" y="17"/>
                      <a:pt x="85" y="13"/>
                    </a:cubicBezTo>
                    <a:cubicBezTo>
                      <a:pt x="85" y="12"/>
                      <a:pt x="83" y="8"/>
                      <a:pt x="79" y="4"/>
                    </a:cubicBezTo>
                    <a:cubicBezTo>
                      <a:pt x="70" y="7"/>
                      <a:pt x="59" y="9"/>
                      <a:pt x="4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17" name="Freeform 950"/>
              <p:cNvSpPr>
                <a:spLocks/>
              </p:cNvSpPr>
              <p:nvPr/>
            </p:nvSpPr>
            <p:spPr bwMode="auto">
              <a:xfrm>
                <a:off x="2901951" y="10515601"/>
                <a:ext cx="58738" cy="55563"/>
              </a:xfrm>
              <a:custGeom>
                <a:avLst/>
                <a:gdLst>
                  <a:gd name="T0" fmla="*/ 28 w 28"/>
                  <a:gd name="T1" fmla="*/ 24 h 27"/>
                  <a:gd name="T2" fmla="*/ 27 w 28"/>
                  <a:gd name="T3" fmla="*/ 2 h 27"/>
                  <a:gd name="T4" fmla="*/ 1 w 28"/>
                  <a:gd name="T5" fmla="*/ 0 h 27"/>
                  <a:gd name="T6" fmla="*/ 0 w 28"/>
                  <a:gd name="T7" fmla="*/ 23 h 27"/>
                  <a:gd name="T8" fmla="*/ 16 w 28"/>
                  <a:gd name="T9" fmla="*/ 27 h 27"/>
                  <a:gd name="T10" fmla="*/ 28 w 28"/>
                  <a:gd name="T11" fmla="*/ 24 h 27"/>
                </a:gdLst>
                <a:ahLst/>
                <a:cxnLst>
                  <a:cxn ang="0">
                    <a:pos x="T0" y="T1"/>
                  </a:cxn>
                  <a:cxn ang="0">
                    <a:pos x="T2" y="T3"/>
                  </a:cxn>
                  <a:cxn ang="0">
                    <a:pos x="T4" y="T5"/>
                  </a:cxn>
                  <a:cxn ang="0">
                    <a:pos x="T6" y="T7"/>
                  </a:cxn>
                  <a:cxn ang="0">
                    <a:pos x="T8" y="T9"/>
                  </a:cxn>
                  <a:cxn ang="0">
                    <a:pos x="T10" y="T11"/>
                  </a:cxn>
                </a:cxnLst>
                <a:rect l="0" t="0" r="r" b="b"/>
                <a:pathLst>
                  <a:path w="28" h="27">
                    <a:moveTo>
                      <a:pt x="28" y="24"/>
                    </a:moveTo>
                    <a:cubicBezTo>
                      <a:pt x="28" y="16"/>
                      <a:pt x="27" y="8"/>
                      <a:pt x="27" y="2"/>
                    </a:cubicBezTo>
                    <a:cubicBezTo>
                      <a:pt x="19" y="1"/>
                      <a:pt x="8" y="0"/>
                      <a:pt x="1" y="0"/>
                    </a:cubicBezTo>
                    <a:cubicBezTo>
                      <a:pt x="1" y="5"/>
                      <a:pt x="0" y="14"/>
                      <a:pt x="0" y="23"/>
                    </a:cubicBezTo>
                    <a:cubicBezTo>
                      <a:pt x="5" y="26"/>
                      <a:pt x="12" y="27"/>
                      <a:pt x="16" y="27"/>
                    </a:cubicBezTo>
                    <a:cubicBezTo>
                      <a:pt x="18" y="27"/>
                      <a:pt x="24" y="26"/>
                      <a:pt x="28" y="24"/>
                    </a:cubicBezTo>
                    <a:close/>
                  </a:path>
                </a:pathLst>
              </a:custGeom>
              <a:solidFill>
                <a:srgbClr val="D288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18" name="Freeform 951"/>
              <p:cNvSpPr>
                <a:spLocks/>
              </p:cNvSpPr>
              <p:nvPr/>
            </p:nvSpPr>
            <p:spPr bwMode="auto">
              <a:xfrm>
                <a:off x="2733676" y="10602913"/>
                <a:ext cx="407988" cy="779463"/>
              </a:xfrm>
              <a:custGeom>
                <a:avLst/>
                <a:gdLst>
                  <a:gd name="T0" fmla="*/ 195 w 195"/>
                  <a:gd name="T1" fmla="*/ 343 h 373"/>
                  <a:gd name="T2" fmla="*/ 179 w 195"/>
                  <a:gd name="T3" fmla="*/ 34 h 373"/>
                  <a:gd name="T4" fmla="*/ 167 w 195"/>
                  <a:gd name="T5" fmla="*/ 15 h 373"/>
                  <a:gd name="T6" fmla="*/ 111 w 195"/>
                  <a:gd name="T7" fmla="*/ 0 h 373"/>
                  <a:gd name="T8" fmla="*/ 125 w 195"/>
                  <a:gd name="T9" fmla="*/ 54 h 373"/>
                  <a:gd name="T10" fmla="*/ 110 w 195"/>
                  <a:gd name="T11" fmla="*/ 138 h 373"/>
                  <a:gd name="T12" fmla="*/ 94 w 195"/>
                  <a:gd name="T13" fmla="*/ 183 h 373"/>
                  <a:gd name="T14" fmla="*/ 78 w 195"/>
                  <a:gd name="T15" fmla="*/ 138 h 373"/>
                  <a:gd name="T16" fmla="*/ 58 w 195"/>
                  <a:gd name="T17" fmla="*/ 38 h 373"/>
                  <a:gd name="T18" fmla="*/ 77 w 195"/>
                  <a:gd name="T19" fmla="*/ 0 h 373"/>
                  <a:gd name="T20" fmla="*/ 21 w 195"/>
                  <a:gd name="T21" fmla="*/ 15 h 373"/>
                  <a:gd name="T22" fmla="*/ 9 w 195"/>
                  <a:gd name="T23" fmla="*/ 34 h 373"/>
                  <a:gd name="T24" fmla="*/ 0 w 195"/>
                  <a:gd name="T25" fmla="*/ 350 h 373"/>
                  <a:gd name="T26" fmla="*/ 104 w 195"/>
                  <a:gd name="T27" fmla="*/ 362 h 373"/>
                  <a:gd name="T28" fmla="*/ 195 w 195"/>
                  <a:gd name="T29" fmla="*/ 34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5" h="373">
                    <a:moveTo>
                      <a:pt x="195" y="343"/>
                    </a:moveTo>
                    <a:cubicBezTo>
                      <a:pt x="186" y="250"/>
                      <a:pt x="183" y="51"/>
                      <a:pt x="179" y="34"/>
                    </a:cubicBezTo>
                    <a:cubicBezTo>
                      <a:pt x="176" y="17"/>
                      <a:pt x="167" y="15"/>
                      <a:pt x="167" y="15"/>
                    </a:cubicBezTo>
                    <a:cubicBezTo>
                      <a:pt x="141" y="4"/>
                      <a:pt x="111" y="0"/>
                      <a:pt x="111" y="0"/>
                    </a:cubicBezTo>
                    <a:cubicBezTo>
                      <a:pt x="125" y="54"/>
                      <a:pt x="125" y="54"/>
                      <a:pt x="125" y="54"/>
                    </a:cubicBezTo>
                    <a:cubicBezTo>
                      <a:pt x="110" y="138"/>
                      <a:pt x="110" y="138"/>
                      <a:pt x="110" y="138"/>
                    </a:cubicBezTo>
                    <a:cubicBezTo>
                      <a:pt x="94" y="183"/>
                      <a:pt x="94" y="183"/>
                      <a:pt x="94" y="183"/>
                    </a:cubicBezTo>
                    <a:cubicBezTo>
                      <a:pt x="78" y="138"/>
                      <a:pt x="78" y="138"/>
                      <a:pt x="78" y="138"/>
                    </a:cubicBezTo>
                    <a:cubicBezTo>
                      <a:pt x="58" y="38"/>
                      <a:pt x="58" y="38"/>
                      <a:pt x="58" y="38"/>
                    </a:cubicBezTo>
                    <a:cubicBezTo>
                      <a:pt x="77" y="0"/>
                      <a:pt x="77" y="0"/>
                      <a:pt x="77" y="0"/>
                    </a:cubicBezTo>
                    <a:cubicBezTo>
                      <a:pt x="77" y="0"/>
                      <a:pt x="47" y="4"/>
                      <a:pt x="21" y="15"/>
                    </a:cubicBezTo>
                    <a:cubicBezTo>
                      <a:pt x="21" y="15"/>
                      <a:pt x="12" y="17"/>
                      <a:pt x="9" y="34"/>
                    </a:cubicBezTo>
                    <a:cubicBezTo>
                      <a:pt x="5" y="51"/>
                      <a:pt x="8" y="257"/>
                      <a:pt x="0" y="350"/>
                    </a:cubicBezTo>
                    <a:cubicBezTo>
                      <a:pt x="0" y="350"/>
                      <a:pt x="37" y="373"/>
                      <a:pt x="104" y="362"/>
                    </a:cubicBezTo>
                    <a:cubicBezTo>
                      <a:pt x="171" y="373"/>
                      <a:pt x="195" y="343"/>
                      <a:pt x="195" y="343"/>
                    </a:cubicBezTo>
                    <a:close/>
                  </a:path>
                </a:pathLst>
              </a:custGeom>
              <a:solidFill>
                <a:srgbClr val="AC45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19" name="Freeform 952"/>
              <p:cNvSpPr>
                <a:spLocks/>
              </p:cNvSpPr>
              <p:nvPr/>
            </p:nvSpPr>
            <p:spPr bwMode="auto">
              <a:xfrm>
                <a:off x="2813051" y="10583863"/>
                <a:ext cx="231775" cy="290513"/>
              </a:xfrm>
              <a:custGeom>
                <a:avLst/>
                <a:gdLst>
                  <a:gd name="T0" fmla="*/ 102 w 111"/>
                  <a:gd name="T1" fmla="*/ 60 h 139"/>
                  <a:gd name="T2" fmla="*/ 110 w 111"/>
                  <a:gd name="T3" fmla="*/ 55 h 139"/>
                  <a:gd name="T4" fmla="*/ 61 w 111"/>
                  <a:gd name="T5" fmla="*/ 2 h 139"/>
                  <a:gd name="T6" fmla="*/ 62 w 111"/>
                  <a:gd name="T7" fmla="*/ 8 h 139"/>
                  <a:gd name="T8" fmla="*/ 79 w 111"/>
                  <a:gd name="T9" fmla="*/ 58 h 139"/>
                  <a:gd name="T10" fmla="*/ 56 w 111"/>
                  <a:gd name="T11" fmla="*/ 115 h 139"/>
                  <a:gd name="T12" fmla="*/ 32 w 111"/>
                  <a:gd name="T13" fmla="*/ 58 h 139"/>
                  <a:gd name="T14" fmla="*/ 49 w 111"/>
                  <a:gd name="T15" fmla="*/ 8 h 139"/>
                  <a:gd name="T16" fmla="*/ 50 w 111"/>
                  <a:gd name="T17" fmla="*/ 2 h 139"/>
                  <a:gd name="T18" fmla="*/ 1 w 111"/>
                  <a:gd name="T19" fmla="*/ 55 h 139"/>
                  <a:gd name="T20" fmla="*/ 9 w 111"/>
                  <a:gd name="T21" fmla="*/ 60 h 139"/>
                  <a:gd name="T22" fmla="*/ 15 w 111"/>
                  <a:gd name="T23" fmla="*/ 65 h 139"/>
                  <a:gd name="T24" fmla="*/ 8 w 111"/>
                  <a:gd name="T25" fmla="*/ 71 h 139"/>
                  <a:gd name="T26" fmla="*/ 9 w 111"/>
                  <a:gd name="T27" fmla="*/ 76 h 139"/>
                  <a:gd name="T28" fmla="*/ 56 w 111"/>
                  <a:gd name="T29" fmla="*/ 139 h 139"/>
                  <a:gd name="T30" fmla="*/ 56 w 111"/>
                  <a:gd name="T31" fmla="*/ 123 h 139"/>
                  <a:gd name="T32" fmla="*/ 56 w 111"/>
                  <a:gd name="T33" fmla="*/ 139 h 139"/>
                  <a:gd name="T34" fmla="*/ 101 w 111"/>
                  <a:gd name="T35" fmla="*/ 76 h 139"/>
                  <a:gd name="T36" fmla="*/ 103 w 111"/>
                  <a:gd name="T37" fmla="*/ 71 h 139"/>
                  <a:gd name="T38" fmla="*/ 96 w 111"/>
                  <a:gd name="T39" fmla="*/ 65 h 139"/>
                  <a:gd name="T40" fmla="*/ 102 w 111"/>
                  <a:gd name="T41" fmla="*/ 6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 h="139">
                    <a:moveTo>
                      <a:pt x="102" y="60"/>
                    </a:moveTo>
                    <a:cubicBezTo>
                      <a:pt x="111" y="59"/>
                      <a:pt x="110" y="55"/>
                      <a:pt x="110" y="55"/>
                    </a:cubicBezTo>
                    <a:cubicBezTo>
                      <a:pt x="99" y="0"/>
                      <a:pt x="61" y="2"/>
                      <a:pt x="61" y="2"/>
                    </a:cubicBezTo>
                    <a:cubicBezTo>
                      <a:pt x="53" y="5"/>
                      <a:pt x="62" y="8"/>
                      <a:pt x="62" y="8"/>
                    </a:cubicBezTo>
                    <a:cubicBezTo>
                      <a:pt x="68" y="12"/>
                      <a:pt x="88" y="28"/>
                      <a:pt x="79" y="58"/>
                    </a:cubicBezTo>
                    <a:cubicBezTo>
                      <a:pt x="70" y="89"/>
                      <a:pt x="56" y="115"/>
                      <a:pt x="56" y="115"/>
                    </a:cubicBezTo>
                    <a:cubicBezTo>
                      <a:pt x="55" y="115"/>
                      <a:pt x="41" y="89"/>
                      <a:pt x="32" y="58"/>
                    </a:cubicBezTo>
                    <a:cubicBezTo>
                      <a:pt x="23" y="28"/>
                      <a:pt x="43" y="12"/>
                      <a:pt x="49" y="8"/>
                    </a:cubicBezTo>
                    <a:cubicBezTo>
                      <a:pt x="49" y="8"/>
                      <a:pt x="58" y="5"/>
                      <a:pt x="50" y="2"/>
                    </a:cubicBezTo>
                    <a:cubicBezTo>
                      <a:pt x="50" y="2"/>
                      <a:pt x="12" y="0"/>
                      <a:pt x="1" y="55"/>
                    </a:cubicBezTo>
                    <a:cubicBezTo>
                      <a:pt x="1" y="55"/>
                      <a:pt x="0" y="59"/>
                      <a:pt x="9" y="60"/>
                    </a:cubicBezTo>
                    <a:cubicBezTo>
                      <a:pt x="19" y="60"/>
                      <a:pt x="18" y="63"/>
                      <a:pt x="15" y="65"/>
                    </a:cubicBezTo>
                    <a:cubicBezTo>
                      <a:pt x="12" y="67"/>
                      <a:pt x="8" y="71"/>
                      <a:pt x="8" y="71"/>
                    </a:cubicBezTo>
                    <a:cubicBezTo>
                      <a:pt x="8" y="71"/>
                      <a:pt x="5" y="72"/>
                      <a:pt x="9" y="76"/>
                    </a:cubicBezTo>
                    <a:cubicBezTo>
                      <a:pt x="14" y="80"/>
                      <a:pt x="43" y="111"/>
                      <a:pt x="56" y="139"/>
                    </a:cubicBezTo>
                    <a:cubicBezTo>
                      <a:pt x="56" y="123"/>
                      <a:pt x="56" y="123"/>
                      <a:pt x="56" y="123"/>
                    </a:cubicBezTo>
                    <a:cubicBezTo>
                      <a:pt x="56" y="139"/>
                      <a:pt x="56" y="139"/>
                      <a:pt x="56" y="139"/>
                    </a:cubicBezTo>
                    <a:cubicBezTo>
                      <a:pt x="68" y="111"/>
                      <a:pt x="97" y="80"/>
                      <a:pt x="101" y="76"/>
                    </a:cubicBezTo>
                    <a:cubicBezTo>
                      <a:pt x="105" y="72"/>
                      <a:pt x="103" y="71"/>
                      <a:pt x="103" y="71"/>
                    </a:cubicBezTo>
                    <a:cubicBezTo>
                      <a:pt x="103" y="71"/>
                      <a:pt x="99" y="67"/>
                      <a:pt x="96" y="65"/>
                    </a:cubicBezTo>
                    <a:cubicBezTo>
                      <a:pt x="92" y="63"/>
                      <a:pt x="92" y="60"/>
                      <a:pt x="102" y="60"/>
                    </a:cubicBezTo>
                    <a:close/>
                  </a:path>
                </a:pathLst>
              </a:custGeom>
              <a:solidFill>
                <a:srgbClr val="DAE8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20" name="Freeform 953"/>
              <p:cNvSpPr>
                <a:spLocks/>
              </p:cNvSpPr>
              <p:nvPr/>
            </p:nvSpPr>
            <p:spPr bwMode="auto">
              <a:xfrm>
                <a:off x="2900364" y="10515601"/>
                <a:ext cx="58738" cy="127000"/>
              </a:xfrm>
              <a:custGeom>
                <a:avLst/>
                <a:gdLst>
                  <a:gd name="T0" fmla="*/ 28 w 28"/>
                  <a:gd name="T1" fmla="*/ 53 h 61"/>
                  <a:gd name="T2" fmla="*/ 14 w 28"/>
                  <a:gd name="T3" fmla="*/ 61 h 61"/>
                  <a:gd name="T4" fmla="*/ 0 w 28"/>
                  <a:gd name="T5" fmla="*/ 53 h 61"/>
                  <a:gd name="T6" fmla="*/ 0 w 28"/>
                  <a:gd name="T7" fmla="*/ 9 h 61"/>
                  <a:gd name="T8" fmla="*/ 14 w 28"/>
                  <a:gd name="T9" fmla="*/ 0 h 61"/>
                  <a:gd name="T10" fmla="*/ 28 w 28"/>
                  <a:gd name="T11" fmla="*/ 9 h 61"/>
                  <a:gd name="T12" fmla="*/ 28 w 28"/>
                  <a:gd name="T13" fmla="*/ 53 h 61"/>
                </a:gdLst>
                <a:ahLst/>
                <a:cxnLst>
                  <a:cxn ang="0">
                    <a:pos x="T0" y="T1"/>
                  </a:cxn>
                  <a:cxn ang="0">
                    <a:pos x="T2" y="T3"/>
                  </a:cxn>
                  <a:cxn ang="0">
                    <a:pos x="T4" y="T5"/>
                  </a:cxn>
                  <a:cxn ang="0">
                    <a:pos x="T6" y="T7"/>
                  </a:cxn>
                  <a:cxn ang="0">
                    <a:pos x="T8" y="T9"/>
                  </a:cxn>
                  <a:cxn ang="0">
                    <a:pos x="T10" y="T11"/>
                  </a:cxn>
                  <a:cxn ang="0">
                    <a:pos x="T12" y="T13"/>
                  </a:cxn>
                </a:cxnLst>
                <a:rect l="0" t="0" r="r" b="b"/>
                <a:pathLst>
                  <a:path w="28" h="61">
                    <a:moveTo>
                      <a:pt x="28" y="53"/>
                    </a:moveTo>
                    <a:cubicBezTo>
                      <a:pt x="28" y="57"/>
                      <a:pt x="22" y="61"/>
                      <a:pt x="14" y="61"/>
                    </a:cubicBezTo>
                    <a:cubicBezTo>
                      <a:pt x="6" y="61"/>
                      <a:pt x="0" y="57"/>
                      <a:pt x="0" y="53"/>
                    </a:cubicBezTo>
                    <a:cubicBezTo>
                      <a:pt x="0" y="9"/>
                      <a:pt x="0" y="9"/>
                      <a:pt x="0" y="9"/>
                    </a:cubicBezTo>
                    <a:cubicBezTo>
                      <a:pt x="0" y="4"/>
                      <a:pt x="6" y="0"/>
                      <a:pt x="14" y="0"/>
                    </a:cubicBezTo>
                    <a:cubicBezTo>
                      <a:pt x="22" y="0"/>
                      <a:pt x="28" y="4"/>
                      <a:pt x="28" y="9"/>
                    </a:cubicBezTo>
                    <a:lnTo>
                      <a:pt x="28" y="53"/>
                    </a:ln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21" name="Freeform 954"/>
              <p:cNvSpPr>
                <a:spLocks/>
              </p:cNvSpPr>
              <p:nvPr/>
            </p:nvSpPr>
            <p:spPr bwMode="auto">
              <a:xfrm>
                <a:off x="2900364" y="10528301"/>
                <a:ext cx="58738" cy="60325"/>
              </a:xfrm>
              <a:custGeom>
                <a:avLst/>
                <a:gdLst>
                  <a:gd name="T0" fmla="*/ 0 w 28"/>
                  <a:gd name="T1" fmla="*/ 0 h 29"/>
                  <a:gd name="T2" fmla="*/ 0 w 28"/>
                  <a:gd name="T3" fmla="*/ 20 h 29"/>
                  <a:gd name="T4" fmla="*/ 14 w 28"/>
                  <a:gd name="T5" fmla="*/ 29 h 29"/>
                  <a:gd name="T6" fmla="*/ 28 w 28"/>
                  <a:gd name="T7" fmla="*/ 20 h 29"/>
                  <a:gd name="T8" fmla="*/ 28 w 28"/>
                  <a:gd name="T9" fmla="*/ 0 h 29"/>
                  <a:gd name="T10" fmla="*/ 0 w 28"/>
                  <a:gd name="T11" fmla="*/ 0 h 29"/>
                </a:gdLst>
                <a:ahLst/>
                <a:cxnLst>
                  <a:cxn ang="0">
                    <a:pos x="T0" y="T1"/>
                  </a:cxn>
                  <a:cxn ang="0">
                    <a:pos x="T2" y="T3"/>
                  </a:cxn>
                  <a:cxn ang="0">
                    <a:pos x="T4" y="T5"/>
                  </a:cxn>
                  <a:cxn ang="0">
                    <a:pos x="T6" y="T7"/>
                  </a:cxn>
                  <a:cxn ang="0">
                    <a:pos x="T8" y="T9"/>
                  </a:cxn>
                  <a:cxn ang="0">
                    <a:pos x="T10" y="T11"/>
                  </a:cxn>
                </a:cxnLst>
                <a:rect l="0" t="0" r="r" b="b"/>
                <a:pathLst>
                  <a:path w="28" h="29">
                    <a:moveTo>
                      <a:pt x="0" y="0"/>
                    </a:moveTo>
                    <a:cubicBezTo>
                      <a:pt x="0" y="20"/>
                      <a:pt x="0" y="20"/>
                      <a:pt x="0" y="20"/>
                    </a:cubicBezTo>
                    <a:cubicBezTo>
                      <a:pt x="0" y="25"/>
                      <a:pt x="6" y="29"/>
                      <a:pt x="14" y="29"/>
                    </a:cubicBezTo>
                    <a:cubicBezTo>
                      <a:pt x="22" y="29"/>
                      <a:pt x="28" y="25"/>
                      <a:pt x="28" y="20"/>
                    </a:cubicBezTo>
                    <a:cubicBezTo>
                      <a:pt x="28" y="0"/>
                      <a:pt x="28" y="0"/>
                      <a:pt x="28" y="0"/>
                    </a:cubicBezTo>
                    <a:lnTo>
                      <a:pt x="0" y="0"/>
                    </a:lnTo>
                    <a:close/>
                  </a:path>
                </a:pathLst>
              </a:custGeom>
              <a:solidFill>
                <a:srgbClr val="D288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22" name="Freeform 955"/>
              <p:cNvSpPr>
                <a:spLocks/>
              </p:cNvSpPr>
              <p:nvPr/>
            </p:nvSpPr>
            <p:spPr bwMode="auto">
              <a:xfrm>
                <a:off x="2682876" y="10266363"/>
                <a:ext cx="100013" cy="146050"/>
              </a:xfrm>
              <a:custGeom>
                <a:avLst/>
                <a:gdLst>
                  <a:gd name="T0" fmla="*/ 40 w 48"/>
                  <a:gd name="T1" fmla="*/ 29 h 70"/>
                  <a:gd name="T2" fmla="*/ 15 w 48"/>
                  <a:gd name="T3" fmla="*/ 11 h 70"/>
                  <a:gd name="T4" fmla="*/ 27 w 48"/>
                  <a:gd name="T5" fmla="*/ 65 h 70"/>
                  <a:gd name="T6" fmla="*/ 48 w 48"/>
                  <a:gd name="T7" fmla="*/ 57 h 70"/>
                  <a:gd name="T8" fmla="*/ 40 w 48"/>
                  <a:gd name="T9" fmla="*/ 29 h 70"/>
                </a:gdLst>
                <a:ahLst/>
                <a:cxnLst>
                  <a:cxn ang="0">
                    <a:pos x="T0" y="T1"/>
                  </a:cxn>
                  <a:cxn ang="0">
                    <a:pos x="T2" y="T3"/>
                  </a:cxn>
                  <a:cxn ang="0">
                    <a:pos x="T4" y="T5"/>
                  </a:cxn>
                  <a:cxn ang="0">
                    <a:pos x="T6" y="T7"/>
                  </a:cxn>
                  <a:cxn ang="0">
                    <a:pos x="T8" y="T9"/>
                  </a:cxn>
                </a:cxnLst>
                <a:rect l="0" t="0" r="r" b="b"/>
                <a:pathLst>
                  <a:path w="48" h="70">
                    <a:moveTo>
                      <a:pt x="40" y="29"/>
                    </a:moveTo>
                    <a:cubicBezTo>
                      <a:pt x="40" y="29"/>
                      <a:pt x="30" y="0"/>
                      <a:pt x="15" y="11"/>
                    </a:cubicBezTo>
                    <a:cubicBezTo>
                      <a:pt x="0" y="22"/>
                      <a:pt x="12" y="60"/>
                      <a:pt x="27" y="65"/>
                    </a:cubicBezTo>
                    <a:cubicBezTo>
                      <a:pt x="42" y="70"/>
                      <a:pt x="48" y="57"/>
                      <a:pt x="48" y="57"/>
                    </a:cubicBezTo>
                    <a:lnTo>
                      <a:pt x="40" y="29"/>
                    </a:lnTo>
                    <a:close/>
                  </a:path>
                </a:pathLst>
              </a:custGeom>
              <a:solidFill>
                <a:srgbClr val="C18E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23" name="Freeform 956"/>
              <p:cNvSpPr>
                <a:spLocks/>
              </p:cNvSpPr>
              <p:nvPr/>
            </p:nvSpPr>
            <p:spPr bwMode="auto">
              <a:xfrm>
                <a:off x="3089276" y="10266363"/>
                <a:ext cx="100013" cy="146050"/>
              </a:xfrm>
              <a:custGeom>
                <a:avLst/>
                <a:gdLst>
                  <a:gd name="T0" fmla="*/ 8 w 48"/>
                  <a:gd name="T1" fmla="*/ 29 h 70"/>
                  <a:gd name="T2" fmla="*/ 33 w 48"/>
                  <a:gd name="T3" fmla="*/ 11 h 70"/>
                  <a:gd name="T4" fmla="*/ 21 w 48"/>
                  <a:gd name="T5" fmla="*/ 65 h 70"/>
                  <a:gd name="T6" fmla="*/ 0 w 48"/>
                  <a:gd name="T7" fmla="*/ 57 h 70"/>
                  <a:gd name="T8" fmla="*/ 8 w 48"/>
                  <a:gd name="T9" fmla="*/ 29 h 70"/>
                </a:gdLst>
                <a:ahLst/>
                <a:cxnLst>
                  <a:cxn ang="0">
                    <a:pos x="T0" y="T1"/>
                  </a:cxn>
                  <a:cxn ang="0">
                    <a:pos x="T2" y="T3"/>
                  </a:cxn>
                  <a:cxn ang="0">
                    <a:pos x="T4" y="T5"/>
                  </a:cxn>
                  <a:cxn ang="0">
                    <a:pos x="T6" y="T7"/>
                  </a:cxn>
                  <a:cxn ang="0">
                    <a:pos x="T8" y="T9"/>
                  </a:cxn>
                </a:cxnLst>
                <a:rect l="0" t="0" r="r" b="b"/>
                <a:pathLst>
                  <a:path w="48" h="70">
                    <a:moveTo>
                      <a:pt x="8" y="29"/>
                    </a:moveTo>
                    <a:cubicBezTo>
                      <a:pt x="8" y="29"/>
                      <a:pt x="18" y="0"/>
                      <a:pt x="33" y="11"/>
                    </a:cubicBezTo>
                    <a:cubicBezTo>
                      <a:pt x="48" y="22"/>
                      <a:pt x="36" y="60"/>
                      <a:pt x="21" y="65"/>
                    </a:cubicBezTo>
                    <a:cubicBezTo>
                      <a:pt x="6" y="70"/>
                      <a:pt x="0" y="57"/>
                      <a:pt x="0" y="57"/>
                    </a:cubicBezTo>
                    <a:lnTo>
                      <a:pt x="8" y="29"/>
                    </a:lnTo>
                    <a:close/>
                  </a:path>
                </a:pathLst>
              </a:custGeom>
              <a:solidFill>
                <a:srgbClr val="C18E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24" name="Freeform 957"/>
              <p:cNvSpPr>
                <a:spLocks/>
              </p:cNvSpPr>
              <p:nvPr/>
            </p:nvSpPr>
            <p:spPr bwMode="auto">
              <a:xfrm>
                <a:off x="2743201" y="10001251"/>
                <a:ext cx="379413" cy="568325"/>
              </a:xfrm>
              <a:custGeom>
                <a:avLst/>
                <a:gdLst>
                  <a:gd name="T0" fmla="*/ 119 w 181"/>
                  <a:gd name="T1" fmla="*/ 266 h 272"/>
                  <a:gd name="T2" fmla="*/ 175 w 181"/>
                  <a:gd name="T3" fmla="*/ 192 h 272"/>
                  <a:gd name="T4" fmla="*/ 181 w 181"/>
                  <a:gd name="T5" fmla="*/ 121 h 272"/>
                  <a:gd name="T6" fmla="*/ 127 w 181"/>
                  <a:gd name="T7" fmla="*/ 18 h 272"/>
                  <a:gd name="T8" fmla="*/ 59 w 181"/>
                  <a:gd name="T9" fmla="*/ 18 h 272"/>
                  <a:gd name="T10" fmla="*/ 4 w 181"/>
                  <a:gd name="T11" fmla="*/ 121 h 272"/>
                  <a:gd name="T12" fmla="*/ 7 w 181"/>
                  <a:gd name="T13" fmla="*/ 194 h 272"/>
                  <a:gd name="T14" fmla="*/ 93 w 181"/>
                  <a:gd name="T15" fmla="*/ 271 h 272"/>
                  <a:gd name="T16" fmla="*/ 119 w 181"/>
                  <a:gd name="T17" fmla="*/ 266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272">
                    <a:moveTo>
                      <a:pt x="119" y="266"/>
                    </a:moveTo>
                    <a:cubicBezTo>
                      <a:pt x="151" y="255"/>
                      <a:pt x="181" y="226"/>
                      <a:pt x="175" y="192"/>
                    </a:cubicBezTo>
                    <a:cubicBezTo>
                      <a:pt x="170" y="165"/>
                      <a:pt x="181" y="121"/>
                      <a:pt x="181" y="121"/>
                    </a:cubicBezTo>
                    <a:cubicBezTo>
                      <a:pt x="181" y="17"/>
                      <a:pt x="127" y="18"/>
                      <a:pt x="127" y="18"/>
                    </a:cubicBezTo>
                    <a:cubicBezTo>
                      <a:pt x="78" y="0"/>
                      <a:pt x="59" y="18"/>
                      <a:pt x="59" y="18"/>
                    </a:cubicBezTo>
                    <a:cubicBezTo>
                      <a:pt x="59" y="18"/>
                      <a:pt x="4" y="17"/>
                      <a:pt x="4" y="121"/>
                    </a:cubicBezTo>
                    <a:cubicBezTo>
                      <a:pt x="4" y="121"/>
                      <a:pt x="12" y="166"/>
                      <a:pt x="7" y="194"/>
                    </a:cubicBezTo>
                    <a:cubicBezTo>
                      <a:pt x="0" y="236"/>
                      <a:pt x="56" y="272"/>
                      <a:pt x="93" y="271"/>
                    </a:cubicBezTo>
                    <a:cubicBezTo>
                      <a:pt x="102" y="271"/>
                      <a:pt x="110" y="269"/>
                      <a:pt x="119" y="266"/>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25" name="Freeform 958"/>
              <p:cNvSpPr>
                <a:spLocks/>
              </p:cNvSpPr>
              <p:nvPr/>
            </p:nvSpPr>
            <p:spPr bwMode="auto">
              <a:xfrm>
                <a:off x="2709864" y="10306051"/>
                <a:ext cx="52388" cy="79375"/>
              </a:xfrm>
              <a:custGeom>
                <a:avLst/>
                <a:gdLst>
                  <a:gd name="T0" fmla="*/ 25 w 25"/>
                  <a:gd name="T1" fmla="*/ 26 h 38"/>
                  <a:gd name="T2" fmla="*/ 7 w 25"/>
                  <a:gd name="T3" fmla="*/ 8 h 38"/>
                  <a:gd name="T4" fmla="*/ 5 w 25"/>
                  <a:gd name="T5" fmla="*/ 20 h 38"/>
                  <a:gd name="T6" fmla="*/ 9 w 25"/>
                  <a:gd name="T7" fmla="*/ 13 h 38"/>
                  <a:gd name="T8" fmla="*/ 11 w 25"/>
                  <a:gd name="T9" fmla="*/ 31 h 38"/>
                  <a:gd name="T10" fmla="*/ 25 w 25"/>
                  <a:gd name="T11" fmla="*/ 32 h 38"/>
                  <a:gd name="T12" fmla="*/ 25 w 25"/>
                  <a:gd name="T13" fmla="*/ 26 h 38"/>
                </a:gdLst>
                <a:ahLst/>
                <a:cxnLst>
                  <a:cxn ang="0">
                    <a:pos x="T0" y="T1"/>
                  </a:cxn>
                  <a:cxn ang="0">
                    <a:pos x="T2" y="T3"/>
                  </a:cxn>
                  <a:cxn ang="0">
                    <a:pos x="T4" y="T5"/>
                  </a:cxn>
                  <a:cxn ang="0">
                    <a:pos x="T6" y="T7"/>
                  </a:cxn>
                  <a:cxn ang="0">
                    <a:pos x="T8" y="T9"/>
                  </a:cxn>
                  <a:cxn ang="0">
                    <a:pos x="T10" y="T11"/>
                  </a:cxn>
                  <a:cxn ang="0">
                    <a:pos x="T12" y="T13"/>
                  </a:cxn>
                </a:cxnLst>
                <a:rect l="0" t="0" r="r" b="b"/>
                <a:pathLst>
                  <a:path w="25" h="38">
                    <a:moveTo>
                      <a:pt x="25" y="26"/>
                    </a:moveTo>
                    <a:cubicBezTo>
                      <a:pt x="25" y="26"/>
                      <a:pt x="14" y="0"/>
                      <a:pt x="7" y="8"/>
                    </a:cubicBezTo>
                    <a:cubicBezTo>
                      <a:pt x="0" y="16"/>
                      <a:pt x="5" y="20"/>
                      <a:pt x="5" y="20"/>
                    </a:cubicBezTo>
                    <a:cubicBezTo>
                      <a:pt x="5" y="20"/>
                      <a:pt x="6" y="12"/>
                      <a:pt x="9" y="13"/>
                    </a:cubicBezTo>
                    <a:cubicBezTo>
                      <a:pt x="13" y="14"/>
                      <a:pt x="4" y="25"/>
                      <a:pt x="11" y="31"/>
                    </a:cubicBezTo>
                    <a:cubicBezTo>
                      <a:pt x="17" y="38"/>
                      <a:pt x="25" y="36"/>
                      <a:pt x="25" y="32"/>
                    </a:cubicBezTo>
                    <a:cubicBezTo>
                      <a:pt x="25" y="28"/>
                      <a:pt x="25" y="26"/>
                      <a:pt x="25" y="26"/>
                    </a:cubicBezTo>
                    <a:close/>
                  </a:path>
                </a:pathLst>
              </a:custGeom>
              <a:solidFill>
                <a:srgbClr val="804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26" name="Freeform 959"/>
              <p:cNvSpPr>
                <a:spLocks/>
              </p:cNvSpPr>
              <p:nvPr/>
            </p:nvSpPr>
            <p:spPr bwMode="auto">
              <a:xfrm>
                <a:off x="3113089" y="10306051"/>
                <a:ext cx="52388" cy="79375"/>
              </a:xfrm>
              <a:custGeom>
                <a:avLst/>
                <a:gdLst>
                  <a:gd name="T0" fmla="*/ 0 w 25"/>
                  <a:gd name="T1" fmla="*/ 26 h 38"/>
                  <a:gd name="T2" fmla="*/ 18 w 25"/>
                  <a:gd name="T3" fmla="*/ 8 h 38"/>
                  <a:gd name="T4" fmla="*/ 20 w 25"/>
                  <a:gd name="T5" fmla="*/ 20 h 38"/>
                  <a:gd name="T6" fmla="*/ 16 w 25"/>
                  <a:gd name="T7" fmla="*/ 13 h 38"/>
                  <a:gd name="T8" fmla="*/ 14 w 25"/>
                  <a:gd name="T9" fmla="*/ 31 h 38"/>
                  <a:gd name="T10" fmla="*/ 0 w 25"/>
                  <a:gd name="T11" fmla="*/ 32 h 38"/>
                  <a:gd name="T12" fmla="*/ 0 w 25"/>
                  <a:gd name="T13" fmla="*/ 26 h 38"/>
                </a:gdLst>
                <a:ahLst/>
                <a:cxnLst>
                  <a:cxn ang="0">
                    <a:pos x="T0" y="T1"/>
                  </a:cxn>
                  <a:cxn ang="0">
                    <a:pos x="T2" y="T3"/>
                  </a:cxn>
                  <a:cxn ang="0">
                    <a:pos x="T4" y="T5"/>
                  </a:cxn>
                  <a:cxn ang="0">
                    <a:pos x="T6" y="T7"/>
                  </a:cxn>
                  <a:cxn ang="0">
                    <a:pos x="T8" y="T9"/>
                  </a:cxn>
                  <a:cxn ang="0">
                    <a:pos x="T10" y="T11"/>
                  </a:cxn>
                  <a:cxn ang="0">
                    <a:pos x="T12" y="T13"/>
                  </a:cxn>
                </a:cxnLst>
                <a:rect l="0" t="0" r="r" b="b"/>
                <a:pathLst>
                  <a:path w="25" h="38">
                    <a:moveTo>
                      <a:pt x="0" y="26"/>
                    </a:moveTo>
                    <a:cubicBezTo>
                      <a:pt x="0" y="26"/>
                      <a:pt x="11" y="0"/>
                      <a:pt x="18" y="8"/>
                    </a:cubicBezTo>
                    <a:cubicBezTo>
                      <a:pt x="25" y="16"/>
                      <a:pt x="20" y="20"/>
                      <a:pt x="20" y="20"/>
                    </a:cubicBezTo>
                    <a:cubicBezTo>
                      <a:pt x="20" y="20"/>
                      <a:pt x="19" y="12"/>
                      <a:pt x="16" y="13"/>
                    </a:cubicBezTo>
                    <a:cubicBezTo>
                      <a:pt x="13" y="14"/>
                      <a:pt x="21" y="25"/>
                      <a:pt x="14" y="31"/>
                    </a:cubicBezTo>
                    <a:cubicBezTo>
                      <a:pt x="8" y="38"/>
                      <a:pt x="0" y="36"/>
                      <a:pt x="0" y="32"/>
                    </a:cubicBezTo>
                    <a:cubicBezTo>
                      <a:pt x="0" y="28"/>
                      <a:pt x="0" y="26"/>
                      <a:pt x="0" y="26"/>
                    </a:cubicBezTo>
                    <a:close/>
                  </a:path>
                </a:pathLst>
              </a:custGeom>
              <a:solidFill>
                <a:srgbClr val="804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27" name="Freeform 960"/>
              <p:cNvSpPr>
                <a:spLocks/>
              </p:cNvSpPr>
              <p:nvPr/>
            </p:nvSpPr>
            <p:spPr bwMode="auto">
              <a:xfrm>
                <a:off x="2655889" y="9991726"/>
                <a:ext cx="604838" cy="596900"/>
              </a:xfrm>
              <a:custGeom>
                <a:avLst/>
                <a:gdLst>
                  <a:gd name="T0" fmla="*/ 154 w 289"/>
                  <a:gd name="T1" fmla="*/ 8 h 286"/>
                  <a:gd name="T2" fmla="*/ 278 w 289"/>
                  <a:gd name="T3" fmla="*/ 147 h 286"/>
                  <a:gd name="T4" fmla="*/ 250 w 289"/>
                  <a:gd name="T5" fmla="*/ 234 h 286"/>
                  <a:gd name="T6" fmla="*/ 251 w 289"/>
                  <a:gd name="T7" fmla="*/ 198 h 286"/>
                  <a:gd name="T8" fmla="*/ 229 w 289"/>
                  <a:gd name="T9" fmla="*/ 263 h 286"/>
                  <a:gd name="T10" fmla="*/ 176 w 289"/>
                  <a:gd name="T11" fmla="*/ 266 h 286"/>
                  <a:gd name="T12" fmla="*/ 217 w 289"/>
                  <a:gd name="T13" fmla="*/ 191 h 286"/>
                  <a:gd name="T14" fmla="*/ 160 w 289"/>
                  <a:gd name="T15" fmla="*/ 116 h 286"/>
                  <a:gd name="T16" fmla="*/ 79 w 289"/>
                  <a:gd name="T17" fmla="*/ 69 h 286"/>
                  <a:gd name="T18" fmla="*/ 71 w 289"/>
                  <a:gd name="T19" fmla="*/ 109 h 286"/>
                  <a:gd name="T20" fmla="*/ 103 w 289"/>
                  <a:gd name="T21" fmla="*/ 270 h 286"/>
                  <a:gd name="T22" fmla="*/ 35 w 289"/>
                  <a:gd name="T23" fmla="*/ 250 h 286"/>
                  <a:gd name="T24" fmla="*/ 24 w 289"/>
                  <a:gd name="T25" fmla="*/ 175 h 286"/>
                  <a:gd name="T26" fmla="*/ 17 w 289"/>
                  <a:gd name="T27" fmla="*/ 211 h 286"/>
                  <a:gd name="T28" fmla="*/ 12 w 289"/>
                  <a:gd name="T29" fmla="*/ 119 h 286"/>
                  <a:gd name="T30" fmla="*/ 63 w 289"/>
                  <a:gd name="T31" fmla="*/ 21 h 286"/>
                  <a:gd name="T32" fmla="*/ 110 w 289"/>
                  <a:gd name="T33" fmla="*/ 10 h 286"/>
                  <a:gd name="T34" fmla="*/ 154 w 289"/>
                  <a:gd name="T35" fmla="*/ 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286">
                    <a:moveTo>
                      <a:pt x="154" y="8"/>
                    </a:moveTo>
                    <a:cubicBezTo>
                      <a:pt x="244" y="8"/>
                      <a:pt x="267" y="88"/>
                      <a:pt x="278" y="147"/>
                    </a:cubicBezTo>
                    <a:cubicBezTo>
                      <a:pt x="289" y="206"/>
                      <a:pt x="245" y="245"/>
                      <a:pt x="250" y="234"/>
                    </a:cubicBezTo>
                    <a:cubicBezTo>
                      <a:pt x="254" y="223"/>
                      <a:pt x="254" y="206"/>
                      <a:pt x="251" y="198"/>
                    </a:cubicBezTo>
                    <a:cubicBezTo>
                      <a:pt x="254" y="214"/>
                      <a:pt x="248" y="240"/>
                      <a:pt x="229" y="263"/>
                    </a:cubicBezTo>
                    <a:cubicBezTo>
                      <a:pt x="209" y="286"/>
                      <a:pt x="164" y="273"/>
                      <a:pt x="176" y="266"/>
                    </a:cubicBezTo>
                    <a:cubicBezTo>
                      <a:pt x="202" y="258"/>
                      <a:pt x="212" y="217"/>
                      <a:pt x="217" y="191"/>
                    </a:cubicBezTo>
                    <a:cubicBezTo>
                      <a:pt x="221" y="164"/>
                      <a:pt x="213" y="130"/>
                      <a:pt x="160" y="116"/>
                    </a:cubicBezTo>
                    <a:cubicBezTo>
                      <a:pt x="80" y="108"/>
                      <a:pt x="79" y="69"/>
                      <a:pt x="79" y="69"/>
                    </a:cubicBezTo>
                    <a:cubicBezTo>
                      <a:pt x="79" y="69"/>
                      <a:pt x="82" y="94"/>
                      <a:pt x="71" y="109"/>
                    </a:cubicBezTo>
                    <a:cubicBezTo>
                      <a:pt x="60" y="125"/>
                      <a:pt x="22" y="240"/>
                      <a:pt x="103" y="270"/>
                    </a:cubicBezTo>
                    <a:cubicBezTo>
                      <a:pt x="95" y="275"/>
                      <a:pt x="50" y="274"/>
                      <a:pt x="35" y="250"/>
                    </a:cubicBezTo>
                    <a:cubicBezTo>
                      <a:pt x="20" y="226"/>
                      <a:pt x="24" y="175"/>
                      <a:pt x="24" y="175"/>
                    </a:cubicBezTo>
                    <a:cubicBezTo>
                      <a:pt x="24" y="175"/>
                      <a:pt x="16" y="201"/>
                      <a:pt x="17" y="211"/>
                    </a:cubicBezTo>
                    <a:cubicBezTo>
                      <a:pt x="12" y="205"/>
                      <a:pt x="0" y="173"/>
                      <a:pt x="12" y="119"/>
                    </a:cubicBezTo>
                    <a:cubicBezTo>
                      <a:pt x="24" y="66"/>
                      <a:pt x="53" y="31"/>
                      <a:pt x="63" y="21"/>
                    </a:cubicBezTo>
                    <a:cubicBezTo>
                      <a:pt x="73" y="11"/>
                      <a:pt x="93" y="0"/>
                      <a:pt x="110" y="10"/>
                    </a:cubicBezTo>
                    <a:cubicBezTo>
                      <a:pt x="110" y="10"/>
                      <a:pt x="127" y="8"/>
                      <a:pt x="154" y="8"/>
                    </a:cubicBezTo>
                    <a:close/>
                  </a:path>
                </a:pathLst>
              </a:custGeom>
              <a:solidFill>
                <a:srgbClr val="502E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28" name="Freeform 961"/>
              <p:cNvSpPr>
                <a:spLocks/>
              </p:cNvSpPr>
              <p:nvPr/>
            </p:nvSpPr>
            <p:spPr bwMode="auto">
              <a:xfrm>
                <a:off x="2819401" y="10220326"/>
                <a:ext cx="52388" cy="55563"/>
              </a:xfrm>
              <a:custGeom>
                <a:avLst/>
                <a:gdLst>
                  <a:gd name="T0" fmla="*/ 0 w 25"/>
                  <a:gd name="T1" fmla="*/ 24 h 26"/>
                  <a:gd name="T2" fmla="*/ 24 w 25"/>
                  <a:gd name="T3" fmla="*/ 22 h 26"/>
                  <a:gd name="T4" fmla="*/ 0 w 25"/>
                  <a:gd name="T5" fmla="*/ 24 h 26"/>
                </a:gdLst>
                <a:ahLst/>
                <a:cxnLst>
                  <a:cxn ang="0">
                    <a:pos x="T0" y="T1"/>
                  </a:cxn>
                  <a:cxn ang="0">
                    <a:pos x="T2" y="T3"/>
                  </a:cxn>
                  <a:cxn ang="0">
                    <a:pos x="T4" y="T5"/>
                  </a:cxn>
                </a:cxnLst>
                <a:rect l="0" t="0" r="r" b="b"/>
                <a:pathLst>
                  <a:path w="25" h="26">
                    <a:moveTo>
                      <a:pt x="0" y="24"/>
                    </a:moveTo>
                    <a:cubicBezTo>
                      <a:pt x="0" y="26"/>
                      <a:pt x="14" y="10"/>
                      <a:pt x="24" y="22"/>
                    </a:cubicBezTo>
                    <a:cubicBezTo>
                      <a:pt x="25" y="21"/>
                      <a:pt x="10" y="0"/>
                      <a:pt x="0" y="24"/>
                    </a:cubicBezTo>
                    <a:close/>
                  </a:path>
                </a:pathLst>
              </a:custGeom>
              <a:solidFill>
                <a:srgbClr val="533C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29" name="Freeform 962"/>
              <p:cNvSpPr>
                <a:spLocks/>
              </p:cNvSpPr>
              <p:nvPr/>
            </p:nvSpPr>
            <p:spPr bwMode="auto">
              <a:xfrm>
                <a:off x="2992439" y="10220326"/>
                <a:ext cx="53975" cy="55563"/>
              </a:xfrm>
              <a:custGeom>
                <a:avLst/>
                <a:gdLst>
                  <a:gd name="T0" fmla="*/ 1 w 26"/>
                  <a:gd name="T1" fmla="*/ 24 h 26"/>
                  <a:gd name="T2" fmla="*/ 24 w 26"/>
                  <a:gd name="T3" fmla="*/ 22 h 26"/>
                  <a:gd name="T4" fmla="*/ 1 w 26"/>
                  <a:gd name="T5" fmla="*/ 24 h 26"/>
                </a:gdLst>
                <a:ahLst/>
                <a:cxnLst>
                  <a:cxn ang="0">
                    <a:pos x="T0" y="T1"/>
                  </a:cxn>
                  <a:cxn ang="0">
                    <a:pos x="T2" y="T3"/>
                  </a:cxn>
                  <a:cxn ang="0">
                    <a:pos x="T4" y="T5"/>
                  </a:cxn>
                </a:cxnLst>
                <a:rect l="0" t="0" r="r" b="b"/>
                <a:pathLst>
                  <a:path w="26" h="26">
                    <a:moveTo>
                      <a:pt x="1" y="24"/>
                    </a:moveTo>
                    <a:cubicBezTo>
                      <a:pt x="0" y="26"/>
                      <a:pt x="14" y="10"/>
                      <a:pt x="24" y="22"/>
                    </a:cubicBezTo>
                    <a:cubicBezTo>
                      <a:pt x="26" y="21"/>
                      <a:pt x="11" y="0"/>
                      <a:pt x="1" y="24"/>
                    </a:cubicBezTo>
                    <a:close/>
                  </a:path>
                </a:pathLst>
              </a:custGeom>
              <a:solidFill>
                <a:srgbClr val="533C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30" name="Freeform 963"/>
              <p:cNvSpPr>
                <a:spLocks/>
              </p:cNvSpPr>
              <p:nvPr/>
            </p:nvSpPr>
            <p:spPr bwMode="auto">
              <a:xfrm>
                <a:off x="2847976" y="10304463"/>
                <a:ext cx="23813" cy="38100"/>
              </a:xfrm>
              <a:custGeom>
                <a:avLst/>
                <a:gdLst>
                  <a:gd name="T0" fmla="*/ 3 w 11"/>
                  <a:gd name="T1" fmla="*/ 2 h 18"/>
                  <a:gd name="T2" fmla="*/ 2 w 11"/>
                  <a:gd name="T3" fmla="*/ 4 h 18"/>
                  <a:gd name="T4" fmla="*/ 4 w 11"/>
                  <a:gd name="T5" fmla="*/ 15 h 18"/>
                  <a:gd name="T6" fmla="*/ 11 w 11"/>
                  <a:gd name="T7" fmla="*/ 9 h 18"/>
                  <a:gd name="T8" fmla="*/ 10 w 11"/>
                  <a:gd name="T9" fmla="*/ 3 h 18"/>
                  <a:gd name="T10" fmla="*/ 3 w 11"/>
                  <a:gd name="T11" fmla="*/ 2 h 18"/>
                </a:gdLst>
                <a:ahLst/>
                <a:cxnLst>
                  <a:cxn ang="0">
                    <a:pos x="T0" y="T1"/>
                  </a:cxn>
                  <a:cxn ang="0">
                    <a:pos x="T2" y="T3"/>
                  </a:cxn>
                  <a:cxn ang="0">
                    <a:pos x="T4" y="T5"/>
                  </a:cxn>
                  <a:cxn ang="0">
                    <a:pos x="T6" y="T7"/>
                  </a:cxn>
                  <a:cxn ang="0">
                    <a:pos x="T8" y="T9"/>
                  </a:cxn>
                  <a:cxn ang="0">
                    <a:pos x="T10" y="T11"/>
                  </a:cxn>
                </a:cxnLst>
                <a:rect l="0" t="0" r="r" b="b"/>
                <a:pathLst>
                  <a:path w="11" h="18">
                    <a:moveTo>
                      <a:pt x="3" y="2"/>
                    </a:moveTo>
                    <a:cubicBezTo>
                      <a:pt x="3" y="2"/>
                      <a:pt x="2" y="3"/>
                      <a:pt x="2" y="4"/>
                    </a:cubicBezTo>
                    <a:cubicBezTo>
                      <a:pt x="1" y="7"/>
                      <a:pt x="0" y="13"/>
                      <a:pt x="4" y="15"/>
                    </a:cubicBezTo>
                    <a:cubicBezTo>
                      <a:pt x="8" y="18"/>
                      <a:pt x="10" y="12"/>
                      <a:pt x="11" y="9"/>
                    </a:cubicBezTo>
                    <a:cubicBezTo>
                      <a:pt x="11" y="7"/>
                      <a:pt x="11" y="4"/>
                      <a:pt x="10" y="3"/>
                    </a:cubicBezTo>
                    <a:cubicBezTo>
                      <a:pt x="8" y="0"/>
                      <a:pt x="5" y="0"/>
                      <a:pt x="3" y="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31" name="Freeform 964"/>
              <p:cNvSpPr>
                <a:spLocks/>
              </p:cNvSpPr>
              <p:nvPr/>
            </p:nvSpPr>
            <p:spPr bwMode="auto">
              <a:xfrm>
                <a:off x="2992439" y="10302876"/>
                <a:ext cx="23813" cy="34925"/>
              </a:xfrm>
              <a:custGeom>
                <a:avLst/>
                <a:gdLst>
                  <a:gd name="T0" fmla="*/ 3 w 11"/>
                  <a:gd name="T1" fmla="*/ 1 h 17"/>
                  <a:gd name="T2" fmla="*/ 2 w 11"/>
                  <a:gd name="T3" fmla="*/ 4 h 17"/>
                  <a:gd name="T4" fmla="*/ 4 w 11"/>
                  <a:gd name="T5" fmla="*/ 15 h 17"/>
                  <a:gd name="T6" fmla="*/ 11 w 11"/>
                  <a:gd name="T7" fmla="*/ 8 h 17"/>
                  <a:gd name="T8" fmla="*/ 9 w 11"/>
                  <a:gd name="T9" fmla="*/ 2 h 17"/>
                  <a:gd name="T10" fmla="*/ 3 w 11"/>
                  <a:gd name="T11" fmla="*/ 1 h 17"/>
                </a:gdLst>
                <a:ahLst/>
                <a:cxnLst>
                  <a:cxn ang="0">
                    <a:pos x="T0" y="T1"/>
                  </a:cxn>
                  <a:cxn ang="0">
                    <a:pos x="T2" y="T3"/>
                  </a:cxn>
                  <a:cxn ang="0">
                    <a:pos x="T4" y="T5"/>
                  </a:cxn>
                  <a:cxn ang="0">
                    <a:pos x="T6" y="T7"/>
                  </a:cxn>
                  <a:cxn ang="0">
                    <a:pos x="T8" y="T9"/>
                  </a:cxn>
                  <a:cxn ang="0">
                    <a:pos x="T10" y="T11"/>
                  </a:cxn>
                </a:cxnLst>
                <a:rect l="0" t="0" r="r" b="b"/>
                <a:pathLst>
                  <a:path w="11" h="17">
                    <a:moveTo>
                      <a:pt x="3" y="1"/>
                    </a:moveTo>
                    <a:cubicBezTo>
                      <a:pt x="3" y="2"/>
                      <a:pt x="2" y="3"/>
                      <a:pt x="2" y="4"/>
                    </a:cubicBezTo>
                    <a:cubicBezTo>
                      <a:pt x="1" y="7"/>
                      <a:pt x="0" y="13"/>
                      <a:pt x="4" y="15"/>
                    </a:cubicBezTo>
                    <a:cubicBezTo>
                      <a:pt x="8" y="17"/>
                      <a:pt x="10" y="12"/>
                      <a:pt x="11" y="8"/>
                    </a:cubicBezTo>
                    <a:cubicBezTo>
                      <a:pt x="11" y="6"/>
                      <a:pt x="11" y="4"/>
                      <a:pt x="9" y="2"/>
                    </a:cubicBezTo>
                    <a:cubicBezTo>
                      <a:pt x="8" y="0"/>
                      <a:pt x="5" y="0"/>
                      <a:pt x="3" y="1"/>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32" name="Freeform 965"/>
              <p:cNvSpPr>
                <a:spLocks/>
              </p:cNvSpPr>
              <p:nvPr/>
            </p:nvSpPr>
            <p:spPr bwMode="auto">
              <a:xfrm>
                <a:off x="2898776" y="10356851"/>
                <a:ext cx="31750" cy="49213"/>
              </a:xfrm>
              <a:custGeom>
                <a:avLst/>
                <a:gdLst>
                  <a:gd name="T0" fmla="*/ 14 w 15"/>
                  <a:gd name="T1" fmla="*/ 0 h 24"/>
                  <a:gd name="T2" fmla="*/ 14 w 15"/>
                  <a:gd name="T3" fmla="*/ 1 h 24"/>
                  <a:gd name="T4" fmla="*/ 13 w 15"/>
                  <a:gd name="T5" fmla="*/ 5 h 24"/>
                  <a:gd name="T6" fmla="*/ 10 w 15"/>
                  <a:gd name="T7" fmla="*/ 9 h 24"/>
                  <a:gd name="T8" fmla="*/ 8 w 15"/>
                  <a:gd name="T9" fmla="*/ 10 h 24"/>
                  <a:gd name="T10" fmla="*/ 7 w 15"/>
                  <a:gd name="T11" fmla="*/ 11 h 24"/>
                  <a:gd name="T12" fmla="*/ 4 w 15"/>
                  <a:gd name="T13" fmla="*/ 12 h 24"/>
                  <a:gd name="T14" fmla="*/ 1 w 15"/>
                  <a:gd name="T15" fmla="*/ 16 h 24"/>
                  <a:gd name="T16" fmla="*/ 1 w 15"/>
                  <a:gd name="T17" fmla="*/ 20 h 24"/>
                  <a:gd name="T18" fmla="*/ 1 w 15"/>
                  <a:gd name="T19" fmla="*/ 20 h 24"/>
                  <a:gd name="T20" fmla="*/ 1 w 15"/>
                  <a:gd name="T21" fmla="*/ 20 h 24"/>
                  <a:gd name="T22" fmla="*/ 1 w 15"/>
                  <a:gd name="T23" fmla="*/ 20 h 24"/>
                  <a:gd name="T24" fmla="*/ 1 w 15"/>
                  <a:gd name="T25" fmla="*/ 21 h 24"/>
                  <a:gd name="T26" fmla="*/ 2 w 15"/>
                  <a:gd name="T27" fmla="*/ 21 h 24"/>
                  <a:gd name="T28" fmla="*/ 4 w 15"/>
                  <a:gd name="T29" fmla="*/ 22 h 24"/>
                  <a:gd name="T30" fmla="*/ 6 w 15"/>
                  <a:gd name="T31" fmla="*/ 24 h 24"/>
                  <a:gd name="T32" fmla="*/ 11 w 15"/>
                  <a:gd name="T33" fmla="*/ 24 h 24"/>
                  <a:gd name="T34" fmla="*/ 12 w 15"/>
                  <a:gd name="T35" fmla="*/ 24 h 24"/>
                  <a:gd name="T36" fmla="*/ 11 w 15"/>
                  <a:gd name="T37" fmla="*/ 24 h 24"/>
                  <a:gd name="T38" fmla="*/ 7 w 15"/>
                  <a:gd name="T39" fmla="*/ 22 h 24"/>
                  <a:gd name="T40" fmla="*/ 5 w 15"/>
                  <a:gd name="T41" fmla="*/ 21 h 24"/>
                  <a:gd name="T42" fmla="*/ 4 w 15"/>
                  <a:gd name="T43" fmla="*/ 20 h 24"/>
                  <a:gd name="T44" fmla="*/ 3 w 15"/>
                  <a:gd name="T45" fmla="*/ 20 h 24"/>
                  <a:gd name="T46" fmla="*/ 3 w 15"/>
                  <a:gd name="T47" fmla="*/ 19 h 24"/>
                  <a:gd name="T48" fmla="*/ 3 w 15"/>
                  <a:gd name="T49" fmla="*/ 19 h 24"/>
                  <a:gd name="T50" fmla="*/ 3 w 15"/>
                  <a:gd name="T51" fmla="*/ 19 h 24"/>
                  <a:gd name="T52" fmla="*/ 3 w 15"/>
                  <a:gd name="T53" fmla="*/ 19 h 24"/>
                  <a:gd name="T54" fmla="*/ 3 w 15"/>
                  <a:gd name="T55" fmla="*/ 16 h 24"/>
                  <a:gd name="T56" fmla="*/ 5 w 15"/>
                  <a:gd name="T57" fmla="*/ 15 h 24"/>
                  <a:gd name="T58" fmla="*/ 8 w 15"/>
                  <a:gd name="T59" fmla="*/ 13 h 24"/>
                  <a:gd name="T60" fmla="*/ 10 w 15"/>
                  <a:gd name="T61" fmla="*/ 12 h 24"/>
                  <a:gd name="T62" fmla="*/ 11 w 15"/>
                  <a:gd name="T63" fmla="*/ 11 h 24"/>
                  <a:gd name="T64" fmla="*/ 13 w 15"/>
                  <a:gd name="T65" fmla="*/ 9 h 24"/>
                  <a:gd name="T66" fmla="*/ 15 w 15"/>
                  <a:gd name="T67" fmla="*/ 6 h 24"/>
                  <a:gd name="T68" fmla="*/ 15 w 15"/>
                  <a:gd name="T69" fmla="*/ 1 h 24"/>
                  <a:gd name="T70" fmla="*/ 14 w 15"/>
                  <a:gd name="T7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 h="24">
                    <a:moveTo>
                      <a:pt x="14" y="0"/>
                    </a:moveTo>
                    <a:cubicBezTo>
                      <a:pt x="14" y="0"/>
                      <a:pt x="14" y="0"/>
                      <a:pt x="14" y="1"/>
                    </a:cubicBezTo>
                    <a:cubicBezTo>
                      <a:pt x="14" y="2"/>
                      <a:pt x="14" y="4"/>
                      <a:pt x="13" y="5"/>
                    </a:cubicBezTo>
                    <a:cubicBezTo>
                      <a:pt x="13" y="7"/>
                      <a:pt x="11" y="8"/>
                      <a:pt x="10" y="9"/>
                    </a:cubicBezTo>
                    <a:cubicBezTo>
                      <a:pt x="9" y="10"/>
                      <a:pt x="9" y="10"/>
                      <a:pt x="8" y="10"/>
                    </a:cubicBezTo>
                    <a:cubicBezTo>
                      <a:pt x="8" y="10"/>
                      <a:pt x="7" y="11"/>
                      <a:pt x="7" y="11"/>
                    </a:cubicBezTo>
                    <a:cubicBezTo>
                      <a:pt x="6" y="11"/>
                      <a:pt x="5" y="12"/>
                      <a:pt x="4" y="12"/>
                    </a:cubicBezTo>
                    <a:cubicBezTo>
                      <a:pt x="3" y="13"/>
                      <a:pt x="1" y="14"/>
                      <a:pt x="1" y="16"/>
                    </a:cubicBezTo>
                    <a:cubicBezTo>
                      <a:pt x="0" y="17"/>
                      <a:pt x="0" y="19"/>
                      <a:pt x="1" y="20"/>
                    </a:cubicBezTo>
                    <a:cubicBezTo>
                      <a:pt x="1" y="20"/>
                      <a:pt x="1" y="20"/>
                      <a:pt x="1" y="20"/>
                    </a:cubicBezTo>
                    <a:cubicBezTo>
                      <a:pt x="1" y="20"/>
                      <a:pt x="1" y="20"/>
                      <a:pt x="1" y="20"/>
                    </a:cubicBezTo>
                    <a:cubicBezTo>
                      <a:pt x="1" y="20"/>
                      <a:pt x="1" y="20"/>
                      <a:pt x="1" y="20"/>
                    </a:cubicBezTo>
                    <a:cubicBezTo>
                      <a:pt x="1" y="21"/>
                      <a:pt x="1" y="21"/>
                      <a:pt x="1" y="21"/>
                    </a:cubicBezTo>
                    <a:cubicBezTo>
                      <a:pt x="2" y="21"/>
                      <a:pt x="2" y="21"/>
                      <a:pt x="2" y="21"/>
                    </a:cubicBezTo>
                    <a:cubicBezTo>
                      <a:pt x="3" y="22"/>
                      <a:pt x="3" y="22"/>
                      <a:pt x="4" y="22"/>
                    </a:cubicBezTo>
                    <a:cubicBezTo>
                      <a:pt x="5" y="23"/>
                      <a:pt x="6" y="23"/>
                      <a:pt x="6" y="24"/>
                    </a:cubicBezTo>
                    <a:cubicBezTo>
                      <a:pt x="8" y="24"/>
                      <a:pt x="10" y="24"/>
                      <a:pt x="11" y="24"/>
                    </a:cubicBezTo>
                    <a:cubicBezTo>
                      <a:pt x="12" y="24"/>
                      <a:pt x="12" y="24"/>
                      <a:pt x="12" y="24"/>
                    </a:cubicBezTo>
                    <a:cubicBezTo>
                      <a:pt x="12" y="24"/>
                      <a:pt x="12" y="24"/>
                      <a:pt x="11" y="24"/>
                    </a:cubicBezTo>
                    <a:cubicBezTo>
                      <a:pt x="10" y="23"/>
                      <a:pt x="9" y="23"/>
                      <a:pt x="7" y="22"/>
                    </a:cubicBezTo>
                    <a:cubicBezTo>
                      <a:pt x="6" y="22"/>
                      <a:pt x="5" y="21"/>
                      <a:pt x="5" y="21"/>
                    </a:cubicBezTo>
                    <a:cubicBezTo>
                      <a:pt x="4" y="21"/>
                      <a:pt x="4" y="20"/>
                      <a:pt x="4" y="20"/>
                    </a:cubicBezTo>
                    <a:cubicBezTo>
                      <a:pt x="4" y="20"/>
                      <a:pt x="4" y="20"/>
                      <a:pt x="3" y="20"/>
                    </a:cubicBezTo>
                    <a:cubicBezTo>
                      <a:pt x="3" y="19"/>
                      <a:pt x="3" y="19"/>
                      <a:pt x="3" y="19"/>
                    </a:cubicBezTo>
                    <a:cubicBezTo>
                      <a:pt x="3" y="19"/>
                      <a:pt x="3" y="19"/>
                      <a:pt x="3" y="19"/>
                    </a:cubicBezTo>
                    <a:cubicBezTo>
                      <a:pt x="3" y="19"/>
                      <a:pt x="3" y="19"/>
                      <a:pt x="3" y="19"/>
                    </a:cubicBezTo>
                    <a:cubicBezTo>
                      <a:pt x="3" y="19"/>
                      <a:pt x="3" y="19"/>
                      <a:pt x="3" y="19"/>
                    </a:cubicBezTo>
                    <a:cubicBezTo>
                      <a:pt x="3" y="18"/>
                      <a:pt x="3" y="17"/>
                      <a:pt x="3" y="16"/>
                    </a:cubicBezTo>
                    <a:cubicBezTo>
                      <a:pt x="3" y="16"/>
                      <a:pt x="4" y="15"/>
                      <a:pt x="5" y="15"/>
                    </a:cubicBezTo>
                    <a:cubicBezTo>
                      <a:pt x="6" y="14"/>
                      <a:pt x="7" y="14"/>
                      <a:pt x="8" y="13"/>
                    </a:cubicBezTo>
                    <a:cubicBezTo>
                      <a:pt x="9" y="13"/>
                      <a:pt x="9" y="13"/>
                      <a:pt x="10" y="12"/>
                    </a:cubicBezTo>
                    <a:cubicBezTo>
                      <a:pt x="10" y="12"/>
                      <a:pt x="11" y="11"/>
                      <a:pt x="11" y="11"/>
                    </a:cubicBezTo>
                    <a:cubicBezTo>
                      <a:pt x="12" y="10"/>
                      <a:pt x="13" y="9"/>
                      <a:pt x="13" y="9"/>
                    </a:cubicBezTo>
                    <a:cubicBezTo>
                      <a:pt x="14" y="8"/>
                      <a:pt x="15" y="7"/>
                      <a:pt x="15" y="6"/>
                    </a:cubicBezTo>
                    <a:cubicBezTo>
                      <a:pt x="15" y="4"/>
                      <a:pt x="15" y="2"/>
                      <a:pt x="15" y="1"/>
                    </a:cubicBezTo>
                    <a:cubicBezTo>
                      <a:pt x="14" y="0"/>
                      <a:pt x="14" y="0"/>
                      <a:pt x="14" y="0"/>
                    </a:cubicBezTo>
                    <a:close/>
                  </a:path>
                </a:pathLst>
              </a:custGeom>
              <a:solidFill>
                <a:srgbClr val="C697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33" name="Freeform 966"/>
              <p:cNvSpPr>
                <a:spLocks/>
              </p:cNvSpPr>
              <p:nvPr/>
            </p:nvSpPr>
            <p:spPr bwMode="auto">
              <a:xfrm>
                <a:off x="2894014" y="10442576"/>
                <a:ext cx="77788" cy="39688"/>
              </a:xfrm>
              <a:custGeom>
                <a:avLst/>
                <a:gdLst>
                  <a:gd name="T0" fmla="*/ 0 w 37"/>
                  <a:gd name="T1" fmla="*/ 7 h 19"/>
                  <a:gd name="T2" fmla="*/ 37 w 37"/>
                  <a:gd name="T3" fmla="*/ 0 h 19"/>
                  <a:gd name="T4" fmla="*/ 0 w 37"/>
                  <a:gd name="T5" fmla="*/ 7 h 19"/>
                </a:gdLst>
                <a:ahLst/>
                <a:cxnLst>
                  <a:cxn ang="0">
                    <a:pos x="T0" y="T1"/>
                  </a:cxn>
                  <a:cxn ang="0">
                    <a:pos x="T2" y="T3"/>
                  </a:cxn>
                  <a:cxn ang="0">
                    <a:pos x="T4" y="T5"/>
                  </a:cxn>
                </a:cxnLst>
                <a:rect l="0" t="0" r="r" b="b"/>
                <a:pathLst>
                  <a:path w="37" h="19">
                    <a:moveTo>
                      <a:pt x="0" y="7"/>
                    </a:moveTo>
                    <a:cubicBezTo>
                      <a:pt x="12" y="6"/>
                      <a:pt x="26" y="6"/>
                      <a:pt x="37" y="0"/>
                    </a:cubicBezTo>
                    <a:cubicBezTo>
                      <a:pt x="30" y="14"/>
                      <a:pt x="12" y="19"/>
                      <a:pt x="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34" name="Freeform 967"/>
              <p:cNvSpPr>
                <a:spLocks/>
              </p:cNvSpPr>
              <p:nvPr/>
            </p:nvSpPr>
            <p:spPr bwMode="auto">
              <a:xfrm>
                <a:off x="2879726" y="10437813"/>
                <a:ext cx="98425" cy="60325"/>
              </a:xfrm>
              <a:custGeom>
                <a:avLst/>
                <a:gdLst>
                  <a:gd name="T0" fmla="*/ 7 w 47"/>
                  <a:gd name="T1" fmla="*/ 9 h 29"/>
                  <a:gd name="T2" fmla="*/ 44 w 47"/>
                  <a:gd name="T3" fmla="*/ 2 h 29"/>
                  <a:gd name="T4" fmla="*/ 47 w 47"/>
                  <a:gd name="T5" fmla="*/ 0 h 29"/>
                  <a:gd name="T6" fmla="*/ 47 w 47"/>
                  <a:gd name="T7" fmla="*/ 3 h 29"/>
                  <a:gd name="T8" fmla="*/ 0 w 47"/>
                  <a:gd name="T9" fmla="*/ 10 h 29"/>
                  <a:gd name="T10" fmla="*/ 7 w 47"/>
                  <a:gd name="T11" fmla="*/ 9 h 29"/>
                </a:gdLst>
                <a:ahLst/>
                <a:cxnLst>
                  <a:cxn ang="0">
                    <a:pos x="T0" y="T1"/>
                  </a:cxn>
                  <a:cxn ang="0">
                    <a:pos x="T2" y="T3"/>
                  </a:cxn>
                  <a:cxn ang="0">
                    <a:pos x="T4" y="T5"/>
                  </a:cxn>
                  <a:cxn ang="0">
                    <a:pos x="T6" y="T7"/>
                  </a:cxn>
                  <a:cxn ang="0">
                    <a:pos x="T8" y="T9"/>
                  </a:cxn>
                  <a:cxn ang="0">
                    <a:pos x="T10" y="T11"/>
                  </a:cxn>
                </a:cxnLst>
                <a:rect l="0" t="0" r="r" b="b"/>
                <a:pathLst>
                  <a:path w="47" h="29">
                    <a:moveTo>
                      <a:pt x="7" y="9"/>
                    </a:moveTo>
                    <a:cubicBezTo>
                      <a:pt x="17" y="18"/>
                      <a:pt x="37" y="13"/>
                      <a:pt x="44" y="2"/>
                    </a:cubicBezTo>
                    <a:cubicBezTo>
                      <a:pt x="45" y="1"/>
                      <a:pt x="46" y="0"/>
                      <a:pt x="47" y="0"/>
                    </a:cubicBezTo>
                    <a:cubicBezTo>
                      <a:pt x="47" y="3"/>
                      <a:pt x="47" y="3"/>
                      <a:pt x="47" y="3"/>
                    </a:cubicBezTo>
                    <a:cubicBezTo>
                      <a:pt x="42" y="28"/>
                      <a:pt x="3" y="29"/>
                      <a:pt x="0" y="10"/>
                    </a:cubicBezTo>
                    <a:cubicBezTo>
                      <a:pt x="2" y="9"/>
                      <a:pt x="4" y="9"/>
                      <a:pt x="7" y="9"/>
                    </a:cubicBezTo>
                    <a:close/>
                  </a:path>
                </a:pathLst>
              </a:custGeom>
              <a:solidFill>
                <a:srgbClr val="C1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35" name="Oval 968"/>
              <p:cNvSpPr>
                <a:spLocks noChangeArrowheads="1"/>
              </p:cNvSpPr>
              <p:nvPr/>
            </p:nvSpPr>
            <p:spPr bwMode="auto">
              <a:xfrm>
                <a:off x="2911476" y="11002963"/>
                <a:ext cx="33338" cy="33338"/>
              </a:xfrm>
              <a:prstGeom prst="ellipse">
                <a:avLst/>
              </a:prstGeom>
              <a:solidFill>
                <a:srgbClr val="9236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36" name="Oval 969"/>
              <p:cNvSpPr>
                <a:spLocks noChangeArrowheads="1"/>
              </p:cNvSpPr>
              <p:nvPr/>
            </p:nvSpPr>
            <p:spPr bwMode="auto">
              <a:xfrm>
                <a:off x="2911476" y="11139488"/>
                <a:ext cx="33338" cy="34925"/>
              </a:xfrm>
              <a:prstGeom prst="ellipse">
                <a:avLst/>
              </a:prstGeom>
              <a:solidFill>
                <a:srgbClr val="9236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37" name="Oval 970"/>
              <p:cNvSpPr>
                <a:spLocks noChangeArrowheads="1"/>
              </p:cNvSpPr>
              <p:nvPr/>
            </p:nvSpPr>
            <p:spPr bwMode="auto">
              <a:xfrm>
                <a:off x="2911476" y="11274426"/>
                <a:ext cx="33338" cy="33338"/>
              </a:xfrm>
              <a:prstGeom prst="ellipse">
                <a:avLst/>
              </a:prstGeom>
              <a:solidFill>
                <a:srgbClr val="9236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338" name="กลุ่ม 605"/>
            <p:cNvGrpSpPr/>
            <p:nvPr/>
          </p:nvGrpSpPr>
          <p:grpSpPr>
            <a:xfrm>
              <a:off x="14589822" y="4694044"/>
              <a:ext cx="1686815" cy="3358891"/>
              <a:chOff x="9377364" y="1981200"/>
              <a:chExt cx="1271587" cy="2532063"/>
            </a:xfrm>
          </p:grpSpPr>
          <p:sp>
            <p:nvSpPr>
              <p:cNvPr id="339" name="Freeform 328"/>
              <p:cNvSpPr>
                <a:spLocks/>
              </p:cNvSpPr>
              <p:nvPr/>
            </p:nvSpPr>
            <p:spPr bwMode="auto">
              <a:xfrm>
                <a:off x="9963151" y="3392488"/>
                <a:ext cx="217488" cy="620713"/>
              </a:xfrm>
              <a:custGeom>
                <a:avLst/>
                <a:gdLst>
                  <a:gd name="T0" fmla="*/ 51 w 104"/>
                  <a:gd name="T1" fmla="*/ 5 h 297"/>
                  <a:gd name="T2" fmla="*/ 95 w 104"/>
                  <a:gd name="T3" fmla="*/ 29 h 297"/>
                  <a:gd name="T4" fmla="*/ 96 w 104"/>
                  <a:gd name="T5" fmla="*/ 269 h 297"/>
                  <a:gd name="T6" fmla="*/ 51 w 104"/>
                  <a:gd name="T7" fmla="*/ 294 h 297"/>
                  <a:gd name="T8" fmla="*/ 31 w 104"/>
                  <a:gd name="T9" fmla="*/ 295 h 297"/>
                  <a:gd name="T10" fmla="*/ 5 w 104"/>
                  <a:gd name="T11" fmla="*/ 281 h 297"/>
                  <a:gd name="T12" fmla="*/ 3 w 104"/>
                  <a:gd name="T13" fmla="*/ 56 h 297"/>
                  <a:gd name="T14" fmla="*/ 51 w 104"/>
                  <a:gd name="T15" fmla="*/ 5 h 2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297">
                    <a:moveTo>
                      <a:pt x="51" y="5"/>
                    </a:moveTo>
                    <a:cubicBezTo>
                      <a:pt x="51" y="5"/>
                      <a:pt x="87" y="0"/>
                      <a:pt x="95" y="29"/>
                    </a:cubicBezTo>
                    <a:cubicBezTo>
                      <a:pt x="104" y="62"/>
                      <a:pt x="95" y="243"/>
                      <a:pt x="96" y="269"/>
                    </a:cubicBezTo>
                    <a:cubicBezTo>
                      <a:pt x="96" y="283"/>
                      <a:pt x="76" y="297"/>
                      <a:pt x="51" y="294"/>
                    </a:cubicBezTo>
                    <a:cubicBezTo>
                      <a:pt x="44" y="294"/>
                      <a:pt x="37" y="294"/>
                      <a:pt x="31" y="295"/>
                    </a:cubicBezTo>
                    <a:cubicBezTo>
                      <a:pt x="17" y="296"/>
                      <a:pt x="6" y="297"/>
                      <a:pt x="5" y="281"/>
                    </a:cubicBezTo>
                    <a:cubicBezTo>
                      <a:pt x="1" y="203"/>
                      <a:pt x="0" y="82"/>
                      <a:pt x="3" y="56"/>
                    </a:cubicBezTo>
                    <a:cubicBezTo>
                      <a:pt x="5" y="30"/>
                      <a:pt x="18" y="5"/>
                      <a:pt x="51" y="5"/>
                    </a:cubicBezTo>
                  </a:path>
                </a:pathLst>
              </a:cu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40" name="Freeform 329"/>
              <p:cNvSpPr>
                <a:spLocks noEditPoints="1"/>
              </p:cNvSpPr>
              <p:nvPr/>
            </p:nvSpPr>
            <p:spPr bwMode="auto">
              <a:xfrm>
                <a:off x="9964739" y="3402013"/>
                <a:ext cx="196850" cy="395288"/>
              </a:xfrm>
              <a:custGeom>
                <a:avLst/>
                <a:gdLst>
                  <a:gd name="T0" fmla="*/ 94 w 94"/>
                  <a:gd name="T1" fmla="*/ 24 h 189"/>
                  <a:gd name="T2" fmla="*/ 94 w 94"/>
                  <a:gd name="T3" fmla="*/ 24 h 189"/>
                  <a:gd name="T4" fmla="*/ 94 w 94"/>
                  <a:gd name="T5" fmla="*/ 24 h 189"/>
                  <a:gd name="T6" fmla="*/ 56 w 94"/>
                  <a:gd name="T7" fmla="*/ 0 h 189"/>
                  <a:gd name="T8" fmla="*/ 50 w 94"/>
                  <a:gd name="T9" fmla="*/ 0 h 189"/>
                  <a:gd name="T10" fmla="*/ 49 w 94"/>
                  <a:gd name="T11" fmla="*/ 0 h 189"/>
                  <a:gd name="T12" fmla="*/ 2 w 94"/>
                  <a:gd name="T13" fmla="*/ 51 h 189"/>
                  <a:gd name="T14" fmla="*/ 1 w 94"/>
                  <a:gd name="T15" fmla="*/ 189 h 189"/>
                  <a:gd name="T16" fmla="*/ 1 w 94"/>
                  <a:gd name="T17" fmla="*/ 189 h 189"/>
                  <a:gd name="T18" fmla="*/ 2 w 94"/>
                  <a:gd name="T19" fmla="*/ 51 h 189"/>
                  <a:gd name="T20" fmla="*/ 49 w 94"/>
                  <a:gd name="T21" fmla="*/ 0 h 189"/>
                  <a:gd name="T22" fmla="*/ 50 w 94"/>
                  <a:gd name="T23" fmla="*/ 0 h 189"/>
                  <a:gd name="T24" fmla="*/ 56 w 94"/>
                  <a:gd name="T25" fmla="*/ 0 h 189"/>
                  <a:gd name="T26" fmla="*/ 94 w 94"/>
                  <a:gd name="T27" fmla="*/ 24 h 189"/>
                  <a:gd name="T28" fmla="*/ 94 w 94"/>
                  <a:gd name="T29" fmla="*/ 24 h 189"/>
                  <a:gd name="T30" fmla="*/ 94 w 94"/>
                  <a:gd name="T31" fmla="*/ 24 h 189"/>
                  <a:gd name="T32" fmla="*/ 56 w 94"/>
                  <a:gd name="T3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89">
                    <a:moveTo>
                      <a:pt x="94" y="24"/>
                    </a:moveTo>
                    <a:cubicBezTo>
                      <a:pt x="94" y="24"/>
                      <a:pt x="94" y="24"/>
                      <a:pt x="94" y="24"/>
                    </a:cubicBezTo>
                    <a:cubicBezTo>
                      <a:pt x="94" y="24"/>
                      <a:pt x="94" y="24"/>
                      <a:pt x="94" y="24"/>
                    </a:cubicBezTo>
                    <a:moveTo>
                      <a:pt x="56" y="0"/>
                    </a:moveTo>
                    <a:cubicBezTo>
                      <a:pt x="52" y="0"/>
                      <a:pt x="50" y="0"/>
                      <a:pt x="50" y="0"/>
                    </a:cubicBezTo>
                    <a:cubicBezTo>
                      <a:pt x="50" y="0"/>
                      <a:pt x="50" y="0"/>
                      <a:pt x="49" y="0"/>
                    </a:cubicBezTo>
                    <a:cubicBezTo>
                      <a:pt x="17" y="0"/>
                      <a:pt x="4" y="25"/>
                      <a:pt x="2" y="51"/>
                    </a:cubicBezTo>
                    <a:cubicBezTo>
                      <a:pt x="0" y="68"/>
                      <a:pt x="0" y="128"/>
                      <a:pt x="1" y="189"/>
                    </a:cubicBezTo>
                    <a:cubicBezTo>
                      <a:pt x="1" y="189"/>
                      <a:pt x="1" y="189"/>
                      <a:pt x="1" y="189"/>
                    </a:cubicBezTo>
                    <a:cubicBezTo>
                      <a:pt x="0" y="128"/>
                      <a:pt x="0" y="68"/>
                      <a:pt x="2" y="51"/>
                    </a:cubicBezTo>
                    <a:cubicBezTo>
                      <a:pt x="4" y="25"/>
                      <a:pt x="17" y="0"/>
                      <a:pt x="49" y="0"/>
                    </a:cubicBezTo>
                    <a:cubicBezTo>
                      <a:pt x="50" y="0"/>
                      <a:pt x="50" y="0"/>
                      <a:pt x="50" y="0"/>
                    </a:cubicBezTo>
                    <a:cubicBezTo>
                      <a:pt x="50" y="0"/>
                      <a:pt x="52" y="0"/>
                      <a:pt x="56" y="0"/>
                    </a:cubicBezTo>
                    <a:cubicBezTo>
                      <a:pt x="67" y="0"/>
                      <a:pt x="88" y="3"/>
                      <a:pt x="94" y="24"/>
                    </a:cubicBezTo>
                    <a:cubicBezTo>
                      <a:pt x="94" y="24"/>
                      <a:pt x="94" y="24"/>
                      <a:pt x="94" y="24"/>
                    </a:cubicBezTo>
                    <a:cubicBezTo>
                      <a:pt x="94" y="24"/>
                      <a:pt x="94" y="24"/>
                      <a:pt x="94" y="24"/>
                    </a:cubicBezTo>
                    <a:cubicBezTo>
                      <a:pt x="88" y="3"/>
                      <a:pt x="67" y="0"/>
                      <a:pt x="56" y="0"/>
                    </a:cubicBezTo>
                  </a:path>
                </a:pathLst>
              </a:custGeom>
              <a:solidFill>
                <a:srgbClr val="D4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41" name="Freeform 330"/>
              <p:cNvSpPr>
                <a:spLocks/>
              </p:cNvSpPr>
              <p:nvPr/>
            </p:nvSpPr>
            <p:spPr bwMode="auto">
              <a:xfrm>
                <a:off x="9964739" y="3402013"/>
                <a:ext cx="209550" cy="427038"/>
              </a:xfrm>
              <a:custGeom>
                <a:avLst/>
                <a:gdLst>
                  <a:gd name="T0" fmla="*/ 56 w 100"/>
                  <a:gd name="T1" fmla="*/ 0 h 204"/>
                  <a:gd name="T2" fmla="*/ 50 w 100"/>
                  <a:gd name="T3" fmla="*/ 0 h 204"/>
                  <a:gd name="T4" fmla="*/ 49 w 100"/>
                  <a:gd name="T5" fmla="*/ 0 h 204"/>
                  <a:gd name="T6" fmla="*/ 2 w 100"/>
                  <a:gd name="T7" fmla="*/ 51 h 204"/>
                  <a:gd name="T8" fmla="*/ 1 w 100"/>
                  <a:gd name="T9" fmla="*/ 189 h 204"/>
                  <a:gd name="T10" fmla="*/ 96 w 100"/>
                  <a:gd name="T11" fmla="*/ 204 h 204"/>
                  <a:gd name="T12" fmla="*/ 94 w 100"/>
                  <a:gd name="T13" fmla="*/ 24 h 204"/>
                  <a:gd name="T14" fmla="*/ 94 w 100"/>
                  <a:gd name="T15" fmla="*/ 24 h 204"/>
                  <a:gd name="T16" fmla="*/ 94 w 100"/>
                  <a:gd name="T17" fmla="*/ 24 h 204"/>
                  <a:gd name="T18" fmla="*/ 94 w 100"/>
                  <a:gd name="T19" fmla="*/ 24 h 204"/>
                  <a:gd name="T20" fmla="*/ 56 w 100"/>
                  <a:gd name="T2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204">
                    <a:moveTo>
                      <a:pt x="56" y="0"/>
                    </a:moveTo>
                    <a:cubicBezTo>
                      <a:pt x="52" y="0"/>
                      <a:pt x="50" y="0"/>
                      <a:pt x="50" y="0"/>
                    </a:cubicBezTo>
                    <a:cubicBezTo>
                      <a:pt x="50" y="0"/>
                      <a:pt x="50" y="0"/>
                      <a:pt x="49" y="0"/>
                    </a:cubicBezTo>
                    <a:cubicBezTo>
                      <a:pt x="17" y="0"/>
                      <a:pt x="4" y="25"/>
                      <a:pt x="2" y="51"/>
                    </a:cubicBezTo>
                    <a:cubicBezTo>
                      <a:pt x="0" y="68"/>
                      <a:pt x="0" y="128"/>
                      <a:pt x="1" y="189"/>
                    </a:cubicBezTo>
                    <a:cubicBezTo>
                      <a:pt x="18" y="194"/>
                      <a:pt x="50" y="202"/>
                      <a:pt x="96" y="204"/>
                    </a:cubicBezTo>
                    <a:cubicBezTo>
                      <a:pt x="98" y="139"/>
                      <a:pt x="100" y="47"/>
                      <a:pt x="94" y="24"/>
                    </a:cubicBezTo>
                    <a:cubicBezTo>
                      <a:pt x="94" y="24"/>
                      <a:pt x="94" y="24"/>
                      <a:pt x="94" y="24"/>
                    </a:cubicBezTo>
                    <a:cubicBezTo>
                      <a:pt x="94" y="24"/>
                      <a:pt x="94" y="24"/>
                      <a:pt x="94" y="24"/>
                    </a:cubicBezTo>
                    <a:cubicBezTo>
                      <a:pt x="94" y="24"/>
                      <a:pt x="94" y="24"/>
                      <a:pt x="94" y="24"/>
                    </a:cubicBezTo>
                    <a:cubicBezTo>
                      <a:pt x="88" y="3"/>
                      <a:pt x="67" y="0"/>
                      <a:pt x="56" y="0"/>
                    </a:cubicBezTo>
                  </a:path>
                </a:pathLst>
              </a:custGeom>
              <a:solidFill>
                <a:srgbClr val="B5BA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42" name="Freeform 331"/>
              <p:cNvSpPr>
                <a:spLocks/>
              </p:cNvSpPr>
              <p:nvPr/>
            </p:nvSpPr>
            <p:spPr bwMode="auto">
              <a:xfrm>
                <a:off x="9961564" y="3824288"/>
                <a:ext cx="204788" cy="647700"/>
              </a:xfrm>
              <a:custGeom>
                <a:avLst/>
                <a:gdLst>
                  <a:gd name="T0" fmla="*/ 49 w 98"/>
                  <a:gd name="T1" fmla="*/ 306 h 310"/>
                  <a:gd name="T2" fmla="*/ 15 w 98"/>
                  <a:gd name="T3" fmla="*/ 305 h 310"/>
                  <a:gd name="T4" fmla="*/ 8 w 98"/>
                  <a:gd name="T5" fmla="*/ 46 h 310"/>
                  <a:gd name="T6" fmla="*/ 52 w 98"/>
                  <a:gd name="T7" fmla="*/ 0 h 310"/>
                  <a:gd name="T8" fmla="*/ 97 w 98"/>
                  <a:gd name="T9" fmla="*/ 52 h 310"/>
                  <a:gd name="T10" fmla="*/ 84 w 98"/>
                  <a:gd name="T11" fmla="*/ 305 h 310"/>
                  <a:gd name="T12" fmla="*/ 49 w 98"/>
                  <a:gd name="T13" fmla="*/ 306 h 310"/>
                </a:gdLst>
                <a:ahLst/>
                <a:cxnLst>
                  <a:cxn ang="0">
                    <a:pos x="T0" y="T1"/>
                  </a:cxn>
                  <a:cxn ang="0">
                    <a:pos x="T2" y="T3"/>
                  </a:cxn>
                  <a:cxn ang="0">
                    <a:pos x="T4" y="T5"/>
                  </a:cxn>
                  <a:cxn ang="0">
                    <a:pos x="T6" y="T7"/>
                  </a:cxn>
                  <a:cxn ang="0">
                    <a:pos x="T8" y="T9"/>
                  </a:cxn>
                  <a:cxn ang="0">
                    <a:pos x="T10" y="T11"/>
                  </a:cxn>
                  <a:cxn ang="0">
                    <a:pos x="T12" y="T13"/>
                  </a:cxn>
                </a:cxnLst>
                <a:rect l="0" t="0" r="r" b="b"/>
                <a:pathLst>
                  <a:path w="98" h="310">
                    <a:moveTo>
                      <a:pt x="49" y="306"/>
                    </a:moveTo>
                    <a:cubicBezTo>
                      <a:pt x="41" y="306"/>
                      <a:pt x="30" y="306"/>
                      <a:pt x="15" y="305"/>
                    </a:cubicBezTo>
                    <a:cubicBezTo>
                      <a:pt x="15" y="310"/>
                      <a:pt x="0" y="86"/>
                      <a:pt x="8" y="46"/>
                    </a:cubicBezTo>
                    <a:cubicBezTo>
                      <a:pt x="16" y="6"/>
                      <a:pt x="38" y="0"/>
                      <a:pt x="52" y="0"/>
                    </a:cubicBezTo>
                    <a:cubicBezTo>
                      <a:pt x="66" y="0"/>
                      <a:pt x="96" y="11"/>
                      <a:pt x="97" y="52"/>
                    </a:cubicBezTo>
                    <a:cubicBezTo>
                      <a:pt x="98" y="95"/>
                      <a:pt x="84" y="310"/>
                      <a:pt x="84" y="305"/>
                    </a:cubicBezTo>
                    <a:cubicBezTo>
                      <a:pt x="69" y="306"/>
                      <a:pt x="58" y="306"/>
                      <a:pt x="49" y="306"/>
                    </a:cubicBezTo>
                    <a:close/>
                  </a:path>
                </a:pathLst>
              </a:cu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43" name="Freeform 332"/>
              <p:cNvSpPr>
                <a:spLocks/>
              </p:cNvSpPr>
              <p:nvPr/>
            </p:nvSpPr>
            <p:spPr bwMode="auto">
              <a:xfrm>
                <a:off x="9971089" y="4405313"/>
                <a:ext cx="184150" cy="107950"/>
              </a:xfrm>
              <a:custGeom>
                <a:avLst/>
                <a:gdLst>
                  <a:gd name="T0" fmla="*/ 44 w 88"/>
                  <a:gd name="T1" fmla="*/ 52 h 52"/>
                  <a:gd name="T2" fmla="*/ 0 w 88"/>
                  <a:gd name="T3" fmla="*/ 52 h 52"/>
                  <a:gd name="T4" fmla="*/ 44 w 88"/>
                  <a:gd name="T5" fmla="*/ 4 h 52"/>
                  <a:gd name="T6" fmla="*/ 88 w 88"/>
                  <a:gd name="T7" fmla="*/ 52 h 52"/>
                  <a:gd name="T8" fmla="*/ 44 w 88"/>
                  <a:gd name="T9" fmla="*/ 52 h 52"/>
                </a:gdLst>
                <a:ahLst/>
                <a:cxnLst>
                  <a:cxn ang="0">
                    <a:pos x="T0" y="T1"/>
                  </a:cxn>
                  <a:cxn ang="0">
                    <a:pos x="T2" y="T3"/>
                  </a:cxn>
                  <a:cxn ang="0">
                    <a:pos x="T4" y="T5"/>
                  </a:cxn>
                  <a:cxn ang="0">
                    <a:pos x="T6" y="T7"/>
                  </a:cxn>
                  <a:cxn ang="0">
                    <a:pos x="T8" y="T9"/>
                  </a:cxn>
                </a:cxnLst>
                <a:rect l="0" t="0" r="r" b="b"/>
                <a:pathLst>
                  <a:path w="88" h="52">
                    <a:moveTo>
                      <a:pt x="44" y="52"/>
                    </a:moveTo>
                    <a:cubicBezTo>
                      <a:pt x="0" y="52"/>
                      <a:pt x="0" y="52"/>
                      <a:pt x="0" y="52"/>
                    </a:cubicBezTo>
                    <a:cubicBezTo>
                      <a:pt x="3" y="0"/>
                      <a:pt x="44" y="4"/>
                      <a:pt x="44" y="4"/>
                    </a:cubicBezTo>
                    <a:cubicBezTo>
                      <a:pt x="44" y="4"/>
                      <a:pt x="85" y="0"/>
                      <a:pt x="88" y="52"/>
                    </a:cubicBezTo>
                    <a:lnTo>
                      <a:pt x="44" y="52"/>
                    </a:lnTo>
                    <a:close/>
                  </a:path>
                </a:pathLst>
              </a:custGeom>
              <a:solidFill>
                <a:srgbClr val="0197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44" name="Freeform 333"/>
              <p:cNvSpPr>
                <a:spLocks/>
              </p:cNvSpPr>
              <p:nvPr/>
            </p:nvSpPr>
            <p:spPr bwMode="auto">
              <a:xfrm>
                <a:off x="9971089" y="4492625"/>
                <a:ext cx="184150" cy="20638"/>
              </a:xfrm>
              <a:custGeom>
                <a:avLst/>
                <a:gdLst>
                  <a:gd name="T0" fmla="*/ 44 w 88"/>
                  <a:gd name="T1" fmla="*/ 0 h 10"/>
                  <a:gd name="T2" fmla="*/ 87 w 88"/>
                  <a:gd name="T3" fmla="*/ 0 h 10"/>
                  <a:gd name="T4" fmla="*/ 88 w 88"/>
                  <a:gd name="T5" fmla="*/ 10 h 10"/>
                  <a:gd name="T6" fmla="*/ 44 w 88"/>
                  <a:gd name="T7" fmla="*/ 10 h 10"/>
                  <a:gd name="T8" fmla="*/ 0 w 88"/>
                  <a:gd name="T9" fmla="*/ 10 h 10"/>
                  <a:gd name="T10" fmla="*/ 1 w 88"/>
                  <a:gd name="T11" fmla="*/ 0 h 10"/>
                  <a:gd name="T12" fmla="*/ 44 w 8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88" h="10">
                    <a:moveTo>
                      <a:pt x="44" y="0"/>
                    </a:moveTo>
                    <a:cubicBezTo>
                      <a:pt x="87" y="0"/>
                      <a:pt x="87" y="0"/>
                      <a:pt x="87" y="0"/>
                    </a:cubicBezTo>
                    <a:cubicBezTo>
                      <a:pt x="87" y="3"/>
                      <a:pt x="88" y="7"/>
                      <a:pt x="88" y="10"/>
                    </a:cubicBezTo>
                    <a:cubicBezTo>
                      <a:pt x="44" y="10"/>
                      <a:pt x="44" y="10"/>
                      <a:pt x="44" y="10"/>
                    </a:cubicBezTo>
                    <a:cubicBezTo>
                      <a:pt x="0" y="10"/>
                      <a:pt x="0" y="10"/>
                      <a:pt x="0" y="10"/>
                    </a:cubicBezTo>
                    <a:cubicBezTo>
                      <a:pt x="0" y="7"/>
                      <a:pt x="0" y="3"/>
                      <a:pt x="1" y="0"/>
                    </a:cubicBezTo>
                    <a:lnTo>
                      <a:pt x="44" y="0"/>
                    </a:lnTo>
                    <a:close/>
                  </a:path>
                </a:pathLst>
              </a:custGeom>
              <a:solidFill>
                <a:srgbClr val="0082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45" name="Freeform 334"/>
              <p:cNvSpPr>
                <a:spLocks/>
              </p:cNvSpPr>
              <p:nvPr/>
            </p:nvSpPr>
            <p:spPr bwMode="auto">
              <a:xfrm>
                <a:off x="10218739" y="3392488"/>
                <a:ext cx="214313" cy="620713"/>
              </a:xfrm>
              <a:custGeom>
                <a:avLst/>
                <a:gdLst>
                  <a:gd name="T0" fmla="*/ 50 w 103"/>
                  <a:gd name="T1" fmla="*/ 5 h 297"/>
                  <a:gd name="T2" fmla="*/ 94 w 103"/>
                  <a:gd name="T3" fmla="*/ 29 h 297"/>
                  <a:gd name="T4" fmla="*/ 95 w 103"/>
                  <a:gd name="T5" fmla="*/ 269 h 297"/>
                  <a:gd name="T6" fmla="*/ 50 w 103"/>
                  <a:gd name="T7" fmla="*/ 294 h 297"/>
                  <a:gd name="T8" fmla="*/ 31 w 103"/>
                  <a:gd name="T9" fmla="*/ 295 h 297"/>
                  <a:gd name="T10" fmla="*/ 4 w 103"/>
                  <a:gd name="T11" fmla="*/ 281 h 297"/>
                  <a:gd name="T12" fmla="*/ 2 w 103"/>
                  <a:gd name="T13" fmla="*/ 56 h 297"/>
                  <a:gd name="T14" fmla="*/ 50 w 103"/>
                  <a:gd name="T15" fmla="*/ 5 h 2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297">
                    <a:moveTo>
                      <a:pt x="50" y="5"/>
                    </a:moveTo>
                    <a:cubicBezTo>
                      <a:pt x="50" y="5"/>
                      <a:pt x="86" y="0"/>
                      <a:pt x="94" y="29"/>
                    </a:cubicBezTo>
                    <a:cubicBezTo>
                      <a:pt x="103" y="62"/>
                      <a:pt x="95" y="243"/>
                      <a:pt x="95" y="269"/>
                    </a:cubicBezTo>
                    <a:cubicBezTo>
                      <a:pt x="95" y="283"/>
                      <a:pt x="75" y="297"/>
                      <a:pt x="50" y="294"/>
                    </a:cubicBezTo>
                    <a:cubicBezTo>
                      <a:pt x="43" y="294"/>
                      <a:pt x="37" y="294"/>
                      <a:pt x="31" y="295"/>
                    </a:cubicBezTo>
                    <a:cubicBezTo>
                      <a:pt x="16" y="296"/>
                      <a:pt x="5" y="297"/>
                      <a:pt x="4" y="281"/>
                    </a:cubicBezTo>
                    <a:cubicBezTo>
                      <a:pt x="0" y="203"/>
                      <a:pt x="0" y="82"/>
                      <a:pt x="2" y="56"/>
                    </a:cubicBezTo>
                    <a:cubicBezTo>
                      <a:pt x="4" y="30"/>
                      <a:pt x="18" y="5"/>
                      <a:pt x="50" y="5"/>
                    </a:cubicBezTo>
                  </a:path>
                </a:pathLst>
              </a:cu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46" name="Freeform 335"/>
              <p:cNvSpPr>
                <a:spLocks noEditPoints="1"/>
              </p:cNvSpPr>
              <p:nvPr/>
            </p:nvSpPr>
            <p:spPr bwMode="auto">
              <a:xfrm>
                <a:off x="10221914" y="3402013"/>
                <a:ext cx="204788" cy="393700"/>
              </a:xfrm>
              <a:custGeom>
                <a:avLst/>
                <a:gdLst>
                  <a:gd name="T0" fmla="*/ 92 w 98"/>
                  <a:gd name="T1" fmla="*/ 24 h 188"/>
                  <a:gd name="T2" fmla="*/ 95 w 98"/>
                  <a:gd name="T3" fmla="*/ 188 h 188"/>
                  <a:gd name="T4" fmla="*/ 95 w 98"/>
                  <a:gd name="T5" fmla="*/ 188 h 188"/>
                  <a:gd name="T6" fmla="*/ 92 w 98"/>
                  <a:gd name="T7" fmla="*/ 24 h 188"/>
                  <a:gd name="T8" fmla="*/ 54 w 98"/>
                  <a:gd name="T9" fmla="*/ 0 h 188"/>
                  <a:gd name="T10" fmla="*/ 48 w 98"/>
                  <a:gd name="T11" fmla="*/ 0 h 188"/>
                  <a:gd name="T12" fmla="*/ 48 w 98"/>
                  <a:gd name="T13" fmla="*/ 0 h 188"/>
                  <a:gd name="T14" fmla="*/ 0 w 98"/>
                  <a:gd name="T15" fmla="*/ 51 h 188"/>
                  <a:gd name="T16" fmla="*/ 0 w 98"/>
                  <a:gd name="T17" fmla="*/ 51 h 188"/>
                  <a:gd name="T18" fmla="*/ 0 w 98"/>
                  <a:gd name="T19" fmla="*/ 51 h 188"/>
                  <a:gd name="T20" fmla="*/ 48 w 98"/>
                  <a:gd name="T21" fmla="*/ 0 h 188"/>
                  <a:gd name="T22" fmla="*/ 48 w 98"/>
                  <a:gd name="T23" fmla="*/ 0 h 188"/>
                  <a:gd name="T24" fmla="*/ 54 w 98"/>
                  <a:gd name="T25" fmla="*/ 0 h 188"/>
                  <a:gd name="T26" fmla="*/ 92 w 98"/>
                  <a:gd name="T27" fmla="*/ 24 h 188"/>
                  <a:gd name="T28" fmla="*/ 92 w 98"/>
                  <a:gd name="T29" fmla="*/ 24 h 188"/>
                  <a:gd name="T30" fmla="*/ 92 w 98"/>
                  <a:gd name="T31" fmla="*/ 24 h 188"/>
                  <a:gd name="T32" fmla="*/ 54 w 98"/>
                  <a:gd name="T33"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188">
                    <a:moveTo>
                      <a:pt x="92" y="24"/>
                    </a:moveTo>
                    <a:cubicBezTo>
                      <a:pt x="98" y="45"/>
                      <a:pt x="97" y="125"/>
                      <a:pt x="95" y="188"/>
                    </a:cubicBezTo>
                    <a:cubicBezTo>
                      <a:pt x="95" y="188"/>
                      <a:pt x="95" y="188"/>
                      <a:pt x="95" y="188"/>
                    </a:cubicBezTo>
                    <a:cubicBezTo>
                      <a:pt x="97" y="125"/>
                      <a:pt x="98" y="45"/>
                      <a:pt x="92" y="24"/>
                    </a:cubicBezTo>
                    <a:moveTo>
                      <a:pt x="54" y="0"/>
                    </a:moveTo>
                    <a:cubicBezTo>
                      <a:pt x="51" y="0"/>
                      <a:pt x="48" y="0"/>
                      <a:pt x="48" y="0"/>
                    </a:cubicBezTo>
                    <a:cubicBezTo>
                      <a:pt x="48" y="0"/>
                      <a:pt x="48" y="0"/>
                      <a:pt x="48" y="0"/>
                    </a:cubicBezTo>
                    <a:cubicBezTo>
                      <a:pt x="15" y="0"/>
                      <a:pt x="2" y="25"/>
                      <a:pt x="0" y="51"/>
                    </a:cubicBezTo>
                    <a:cubicBezTo>
                      <a:pt x="0" y="51"/>
                      <a:pt x="0" y="51"/>
                      <a:pt x="0" y="51"/>
                    </a:cubicBezTo>
                    <a:cubicBezTo>
                      <a:pt x="0" y="51"/>
                      <a:pt x="0" y="51"/>
                      <a:pt x="0" y="51"/>
                    </a:cubicBezTo>
                    <a:cubicBezTo>
                      <a:pt x="2" y="25"/>
                      <a:pt x="15" y="0"/>
                      <a:pt x="48" y="0"/>
                    </a:cubicBezTo>
                    <a:cubicBezTo>
                      <a:pt x="48" y="0"/>
                      <a:pt x="48" y="0"/>
                      <a:pt x="48" y="0"/>
                    </a:cubicBezTo>
                    <a:cubicBezTo>
                      <a:pt x="48" y="0"/>
                      <a:pt x="51" y="0"/>
                      <a:pt x="54" y="0"/>
                    </a:cubicBezTo>
                    <a:cubicBezTo>
                      <a:pt x="65" y="0"/>
                      <a:pt x="86" y="3"/>
                      <a:pt x="92" y="24"/>
                    </a:cubicBezTo>
                    <a:cubicBezTo>
                      <a:pt x="92" y="24"/>
                      <a:pt x="92" y="24"/>
                      <a:pt x="92" y="24"/>
                    </a:cubicBezTo>
                    <a:cubicBezTo>
                      <a:pt x="92" y="24"/>
                      <a:pt x="92" y="24"/>
                      <a:pt x="92" y="24"/>
                    </a:cubicBezTo>
                    <a:cubicBezTo>
                      <a:pt x="86" y="3"/>
                      <a:pt x="65" y="0"/>
                      <a:pt x="54" y="0"/>
                    </a:cubicBezTo>
                  </a:path>
                </a:pathLst>
              </a:custGeom>
              <a:solidFill>
                <a:srgbClr val="D4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47" name="Freeform 336"/>
              <p:cNvSpPr>
                <a:spLocks/>
              </p:cNvSpPr>
              <p:nvPr/>
            </p:nvSpPr>
            <p:spPr bwMode="auto">
              <a:xfrm>
                <a:off x="10218739" y="3402013"/>
                <a:ext cx="207963" cy="423863"/>
              </a:xfrm>
              <a:custGeom>
                <a:avLst/>
                <a:gdLst>
                  <a:gd name="T0" fmla="*/ 56 w 100"/>
                  <a:gd name="T1" fmla="*/ 0 h 203"/>
                  <a:gd name="T2" fmla="*/ 50 w 100"/>
                  <a:gd name="T3" fmla="*/ 0 h 203"/>
                  <a:gd name="T4" fmla="*/ 50 w 100"/>
                  <a:gd name="T5" fmla="*/ 0 h 203"/>
                  <a:gd name="T6" fmla="*/ 2 w 100"/>
                  <a:gd name="T7" fmla="*/ 51 h 203"/>
                  <a:gd name="T8" fmla="*/ 2 w 100"/>
                  <a:gd name="T9" fmla="*/ 51 h 203"/>
                  <a:gd name="T10" fmla="*/ 2 w 100"/>
                  <a:gd name="T11" fmla="*/ 203 h 203"/>
                  <a:gd name="T12" fmla="*/ 97 w 100"/>
                  <a:gd name="T13" fmla="*/ 188 h 203"/>
                  <a:gd name="T14" fmla="*/ 94 w 100"/>
                  <a:gd name="T15" fmla="*/ 24 h 203"/>
                  <a:gd name="T16" fmla="*/ 94 w 100"/>
                  <a:gd name="T17" fmla="*/ 24 h 203"/>
                  <a:gd name="T18" fmla="*/ 94 w 100"/>
                  <a:gd name="T19" fmla="*/ 24 h 203"/>
                  <a:gd name="T20" fmla="*/ 56 w 100"/>
                  <a:gd name="T21"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203">
                    <a:moveTo>
                      <a:pt x="56" y="0"/>
                    </a:moveTo>
                    <a:cubicBezTo>
                      <a:pt x="53" y="0"/>
                      <a:pt x="50" y="0"/>
                      <a:pt x="50" y="0"/>
                    </a:cubicBezTo>
                    <a:cubicBezTo>
                      <a:pt x="50" y="0"/>
                      <a:pt x="50" y="0"/>
                      <a:pt x="50" y="0"/>
                    </a:cubicBezTo>
                    <a:cubicBezTo>
                      <a:pt x="17" y="0"/>
                      <a:pt x="4" y="25"/>
                      <a:pt x="2" y="51"/>
                    </a:cubicBezTo>
                    <a:cubicBezTo>
                      <a:pt x="2" y="51"/>
                      <a:pt x="2" y="51"/>
                      <a:pt x="2" y="51"/>
                    </a:cubicBezTo>
                    <a:cubicBezTo>
                      <a:pt x="0" y="70"/>
                      <a:pt x="0" y="138"/>
                      <a:pt x="2" y="203"/>
                    </a:cubicBezTo>
                    <a:cubicBezTo>
                      <a:pt x="50" y="202"/>
                      <a:pt x="82" y="193"/>
                      <a:pt x="97" y="188"/>
                    </a:cubicBezTo>
                    <a:cubicBezTo>
                      <a:pt x="99" y="125"/>
                      <a:pt x="100" y="45"/>
                      <a:pt x="94" y="24"/>
                    </a:cubicBezTo>
                    <a:cubicBezTo>
                      <a:pt x="94" y="24"/>
                      <a:pt x="94" y="24"/>
                      <a:pt x="94" y="24"/>
                    </a:cubicBezTo>
                    <a:cubicBezTo>
                      <a:pt x="94" y="24"/>
                      <a:pt x="94" y="24"/>
                      <a:pt x="94" y="24"/>
                    </a:cubicBezTo>
                    <a:cubicBezTo>
                      <a:pt x="88" y="3"/>
                      <a:pt x="67" y="0"/>
                      <a:pt x="56" y="0"/>
                    </a:cubicBezTo>
                  </a:path>
                </a:pathLst>
              </a:custGeom>
              <a:solidFill>
                <a:srgbClr val="B5BA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48" name="Freeform 337"/>
              <p:cNvSpPr>
                <a:spLocks/>
              </p:cNvSpPr>
              <p:nvPr/>
            </p:nvSpPr>
            <p:spPr bwMode="auto">
              <a:xfrm>
                <a:off x="10213976" y="3824288"/>
                <a:ext cx="204788" cy="647700"/>
              </a:xfrm>
              <a:custGeom>
                <a:avLst/>
                <a:gdLst>
                  <a:gd name="T0" fmla="*/ 49 w 98"/>
                  <a:gd name="T1" fmla="*/ 306 h 310"/>
                  <a:gd name="T2" fmla="*/ 15 w 98"/>
                  <a:gd name="T3" fmla="*/ 305 h 310"/>
                  <a:gd name="T4" fmla="*/ 8 w 98"/>
                  <a:gd name="T5" fmla="*/ 46 h 310"/>
                  <a:gd name="T6" fmla="*/ 52 w 98"/>
                  <a:gd name="T7" fmla="*/ 0 h 310"/>
                  <a:gd name="T8" fmla="*/ 97 w 98"/>
                  <a:gd name="T9" fmla="*/ 52 h 310"/>
                  <a:gd name="T10" fmla="*/ 84 w 98"/>
                  <a:gd name="T11" fmla="*/ 305 h 310"/>
                  <a:gd name="T12" fmla="*/ 49 w 98"/>
                  <a:gd name="T13" fmla="*/ 306 h 310"/>
                </a:gdLst>
                <a:ahLst/>
                <a:cxnLst>
                  <a:cxn ang="0">
                    <a:pos x="T0" y="T1"/>
                  </a:cxn>
                  <a:cxn ang="0">
                    <a:pos x="T2" y="T3"/>
                  </a:cxn>
                  <a:cxn ang="0">
                    <a:pos x="T4" y="T5"/>
                  </a:cxn>
                  <a:cxn ang="0">
                    <a:pos x="T6" y="T7"/>
                  </a:cxn>
                  <a:cxn ang="0">
                    <a:pos x="T8" y="T9"/>
                  </a:cxn>
                  <a:cxn ang="0">
                    <a:pos x="T10" y="T11"/>
                  </a:cxn>
                  <a:cxn ang="0">
                    <a:pos x="T12" y="T13"/>
                  </a:cxn>
                </a:cxnLst>
                <a:rect l="0" t="0" r="r" b="b"/>
                <a:pathLst>
                  <a:path w="98" h="310">
                    <a:moveTo>
                      <a:pt x="49" y="306"/>
                    </a:moveTo>
                    <a:cubicBezTo>
                      <a:pt x="41" y="306"/>
                      <a:pt x="30" y="306"/>
                      <a:pt x="15" y="305"/>
                    </a:cubicBezTo>
                    <a:cubicBezTo>
                      <a:pt x="15" y="310"/>
                      <a:pt x="0" y="86"/>
                      <a:pt x="8" y="46"/>
                    </a:cubicBezTo>
                    <a:cubicBezTo>
                      <a:pt x="16" y="6"/>
                      <a:pt x="38" y="0"/>
                      <a:pt x="52" y="0"/>
                    </a:cubicBezTo>
                    <a:cubicBezTo>
                      <a:pt x="66" y="0"/>
                      <a:pt x="96" y="11"/>
                      <a:pt x="97" y="52"/>
                    </a:cubicBezTo>
                    <a:cubicBezTo>
                      <a:pt x="98" y="95"/>
                      <a:pt x="84" y="310"/>
                      <a:pt x="84" y="305"/>
                    </a:cubicBezTo>
                    <a:cubicBezTo>
                      <a:pt x="69" y="306"/>
                      <a:pt x="58" y="306"/>
                      <a:pt x="49" y="306"/>
                    </a:cubicBezTo>
                    <a:close/>
                  </a:path>
                </a:pathLst>
              </a:cu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49" name="Freeform 338"/>
              <p:cNvSpPr>
                <a:spLocks/>
              </p:cNvSpPr>
              <p:nvPr/>
            </p:nvSpPr>
            <p:spPr bwMode="auto">
              <a:xfrm>
                <a:off x="10221914" y="4405313"/>
                <a:ext cx="184150" cy="107950"/>
              </a:xfrm>
              <a:custGeom>
                <a:avLst/>
                <a:gdLst>
                  <a:gd name="T0" fmla="*/ 44 w 88"/>
                  <a:gd name="T1" fmla="*/ 52 h 52"/>
                  <a:gd name="T2" fmla="*/ 0 w 88"/>
                  <a:gd name="T3" fmla="*/ 52 h 52"/>
                  <a:gd name="T4" fmla="*/ 44 w 88"/>
                  <a:gd name="T5" fmla="*/ 4 h 52"/>
                  <a:gd name="T6" fmla="*/ 88 w 88"/>
                  <a:gd name="T7" fmla="*/ 52 h 52"/>
                  <a:gd name="T8" fmla="*/ 44 w 88"/>
                  <a:gd name="T9" fmla="*/ 52 h 52"/>
                </a:gdLst>
                <a:ahLst/>
                <a:cxnLst>
                  <a:cxn ang="0">
                    <a:pos x="T0" y="T1"/>
                  </a:cxn>
                  <a:cxn ang="0">
                    <a:pos x="T2" y="T3"/>
                  </a:cxn>
                  <a:cxn ang="0">
                    <a:pos x="T4" y="T5"/>
                  </a:cxn>
                  <a:cxn ang="0">
                    <a:pos x="T6" y="T7"/>
                  </a:cxn>
                  <a:cxn ang="0">
                    <a:pos x="T8" y="T9"/>
                  </a:cxn>
                </a:cxnLst>
                <a:rect l="0" t="0" r="r" b="b"/>
                <a:pathLst>
                  <a:path w="88" h="52">
                    <a:moveTo>
                      <a:pt x="44" y="52"/>
                    </a:moveTo>
                    <a:cubicBezTo>
                      <a:pt x="0" y="52"/>
                      <a:pt x="0" y="52"/>
                      <a:pt x="0" y="52"/>
                    </a:cubicBezTo>
                    <a:cubicBezTo>
                      <a:pt x="2" y="0"/>
                      <a:pt x="44" y="4"/>
                      <a:pt x="44" y="4"/>
                    </a:cubicBezTo>
                    <a:cubicBezTo>
                      <a:pt x="44" y="4"/>
                      <a:pt x="85" y="0"/>
                      <a:pt x="88" y="52"/>
                    </a:cubicBezTo>
                    <a:lnTo>
                      <a:pt x="44" y="52"/>
                    </a:lnTo>
                    <a:close/>
                  </a:path>
                </a:pathLst>
              </a:custGeom>
              <a:solidFill>
                <a:srgbClr val="0197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50" name="Freeform 339"/>
              <p:cNvSpPr>
                <a:spLocks/>
              </p:cNvSpPr>
              <p:nvPr/>
            </p:nvSpPr>
            <p:spPr bwMode="auto">
              <a:xfrm>
                <a:off x="10221914" y="4492625"/>
                <a:ext cx="184150" cy="20638"/>
              </a:xfrm>
              <a:custGeom>
                <a:avLst/>
                <a:gdLst>
                  <a:gd name="T0" fmla="*/ 44 w 88"/>
                  <a:gd name="T1" fmla="*/ 0 h 10"/>
                  <a:gd name="T2" fmla="*/ 87 w 88"/>
                  <a:gd name="T3" fmla="*/ 0 h 10"/>
                  <a:gd name="T4" fmla="*/ 88 w 88"/>
                  <a:gd name="T5" fmla="*/ 10 h 10"/>
                  <a:gd name="T6" fmla="*/ 44 w 88"/>
                  <a:gd name="T7" fmla="*/ 10 h 10"/>
                  <a:gd name="T8" fmla="*/ 0 w 88"/>
                  <a:gd name="T9" fmla="*/ 10 h 10"/>
                  <a:gd name="T10" fmla="*/ 1 w 88"/>
                  <a:gd name="T11" fmla="*/ 0 h 10"/>
                  <a:gd name="T12" fmla="*/ 44 w 8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88" h="10">
                    <a:moveTo>
                      <a:pt x="44" y="0"/>
                    </a:moveTo>
                    <a:cubicBezTo>
                      <a:pt x="87" y="0"/>
                      <a:pt x="87" y="0"/>
                      <a:pt x="87" y="0"/>
                    </a:cubicBezTo>
                    <a:cubicBezTo>
                      <a:pt x="87" y="3"/>
                      <a:pt x="87" y="7"/>
                      <a:pt x="88" y="10"/>
                    </a:cubicBezTo>
                    <a:cubicBezTo>
                      <a:pt x="44" y="10"/>
                      <a:pt x="44" y="10"/>
                      <a:pt x="44" y="10"/>
                    </a:cubicBezTo>
                    <a:cubicBezTo>
                      <a:pt x="0" y="10"/>
                      <a:pt x="0" y="10"/>
                      <a:pt x="0" y="10"/>
                    </a:cubicBezTo>
                    <a:cubicBezTo>
                      <a:pt x="0" y="7"/>
                      <a:pt x="0" y="3"/>
                      <a:pt x="1" y="0"/>
                    </a:cubicBezTo>
                    <a:lnTo>
                      <a:pt x="44" y="0"/>
                    </a:lnTo>
                    <a:close/>
                  </a:path>
                </a:pathLst>
              </a:custGeom>
              <a:solidFill>
                <a:srgbClr val="0082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51" name="Freeform 340"/>
              <p:cNvSpPr>
                <a:spLocks/>
              </p:cNvSpPr>
              <p:nvPr/>
            </p:nvSpPr>
            <p:spPr bwMode="auto">
              <a:xfrm>
                <a:off x="9879014" y="2628900"/>
                <a:ext cx="620713" cy="1136650"/>
              </a:xfrm>
              <a:custGeom>
                <a:avLst/>
                <a:gdLst>
                  <a:gd name="T0" fmla="*/ 149 w 297"/>
                  <a:gd name="T1" fmla="*/ 544 h 544"/>
                  <a:gd name="T2" fmla="*/ 29 w 297"/>
                  <a:gd name="T3" fmla="*/ 525 h 544"/>
                  <a:gd name="T4" fmla="*/ 29 w 297"/>
                  <a:gd name="T5" fmla="*/ 54 h 544"/>
                  <a:gd name="T6" fmla="*/ 149 w 297"/>
                  <a:gd name="T7" fmla="*/ 0 h 544"/>
                  <a:gd name="T8" fmla="*/ 268 w 297"/>
                  <a:gd name="T9" fmla="*/ 54 h 544"/>
                  <a:gd name="T10" fmla="*/ 268 w 297"/>
                  <a:gd name="T11" fmla="*/ 525 h 544"/>
                  <a:gd name="T12" fmla="*/ 149 w 297"/>
                  <a:gd name="T13" fmla="*/ 544 h 544"/>
                </a:gdLst>
                <a:ahLst/>
                <a:cxnLst>
                  <a:cxn ang="0">
                    <a:pos x="T0" y="T1"/>
                  </a:cxn>
                  <a:cxn ang="0">
                    <a:pos x="T2" y="T3"/>
                  </a:cxn>
                  <a:cxn ang="0">
                    <a:pos x="T4" y="T5"/>
                  </a:cxn>
                  <a:cxn ang="0">
                    <a:pos x="T6" y="T7"/>
                  </a:cxn>
                  <a:cxn ang="0">
                    <a:pos x="T8" y="T9"/>
                  </a:cxn>
                  <a:cxn ang="0">
                    <a:pos x="T10" y="T11"/>
                  </a:cxn>
                  <a:cxn ang="0">
                    <a:pos x="T12" y="T13"/>
                  </a:cxn>
                </a:cxnLst>
                <a:rect l="0" t="0" r="r" b="b"/>
                <a:pathLst>
                  <a:path w="297" h="544">
                    <a:moveTo>
                      <a:pt x="149" y="544"/>
                    </a:moveTo>
                    <a:cubicBezTo>
                      <a:pt x="71" y="544"/>
                      <a:pt x="29" y="525"/>
                      <a:pt x="29" y="525"/>
                    </a:cubicBezTo>
                    <a:cubicBezTo>
                      <a:pt x="29" y="525"/>
                      <a:pt x="0" y="106"/>
                      <a:pt x="29" y="54"/>
                    </a:cubicBezTo>
                    <a:cubicBezTo>
                      <a:pt x="58" y="1"/>
                      <a:pt x="117" y="0"/>
                      <a:pt x="149" y="0"/>
                    </a:cubicBezTo>
                    <a:cubicBezTo>
                      <a:pt x="180" y="0"/>
                      <a:pt x="239" y="1"/>
                      <a:pt x="268" y="54"/>
                    </a:cubicBezTo>
                    <a:cubicBezTo>
                      <a:pt x="297" y="106"/>
                      <a:pt x="268" y="525"/>
                      <a:pt x="268" y="525"/>
                    </a:cubicBezTo>
                    <a:cubicBezTo>
                      <a:pt x="268" y="525"/>
                      <a:pt x="226" y="544"/>
                      <a:pt x="149" y="544"/>
                    </a:cubicBezTo>
                    <a:close/>
                  </a:path>
                </a:pathLst>
              </a:custGeom>
              <a:solidFill>
                <a:srgbClr val="E1E9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52" name="Freeform 341"/>
              <p:cNvSpPr>
                <a:spLocks/>
              </p:cNvSpPr>
              <p:nvPr/>
            </p:nvSpPr>
            <p:spPr bwMode="auto">
              <a:xfrm>
                <a:off x="9879014" y="2628900"/>
                <a:ext cx="288925" cy="1136650"/>
              </a:xfrm>
              <a:custGeom>
                <a:avLst/>
                <a:gdLst>
                  <a:gd name="T0" fmla="*/ 29 w 138"/>
                  <a:gd name="T1" fmla="*/ 525 h 544"/>
                  <a:gd name="T2" fmla="*/ 29 w 138"/>
                  <a:gd name="T3" fmla="*/ 54 h 544"/>
                  <a:gd name="T4" fmla="*/ 138 w 138"/>
                  <a:gd name="T5" fmla="*/ 0 h 544"/>
                  <a:gd name="T6" fmla="*/ 138 w 138"/>
                  <a:gd name="T7" fmla="*/ 160 h 544"/>
                  <a:gd name="T8" fmla="*/ 138 w 138"/>
                  <a:gd name="T9" fmla="*/ 544 h 544"/>
                  <a:gd name="T10" fmla="*/ 29 w 138"/>
                  <a:gd name="T11" fmla="*/ 525 h 544"/>
                </a:gdLst>
                <a:ahLst/>
                <a:cxnLst>
                  <a:cxn ang="0">
                    <a:pos x="T0" y="T1"/>
                  </a:cxn>
                  <a:cxn ang="0">
                    <a:pos x="T2" y="T3"/>
                  </a:cxn>
                  <a:cxn ang="0">
                    <a:pos x="T4" y="T5"/>
                  </a:cxn>
                  <a:cxn ang="0">
                    <a:pos x="T6" y="T7"/>
                  </a:cxn>
                  <a:cxn ang="0">
                    <a:pos x="T8" y="T9"/>
                  </a:cxn>
                  <a:cxn ang="0">
                    <a:pos x="T10" y="T11"/>
                  </a:cxn>
                </a:cxnLst>
                <a:rect l="0" t="0" r="r" b="b"/>
                <a:pathLst>
                  <a:path w="138" h="544">
                    <a:moveTo>
                      <a:pt x="29" y="525"/>
                    </a:moveTo>
                    <a:cubicBezTo>
                      <a:pt x="29" y="525"/>
                      <a:pt x="0" y="106"/>
                      <a:pt x="29" y="54"/>
                    </a:cubicBezTo>
                    <a:cubicBezTo>
                      <a:pt x="55" y="7"/>
                      <a:pt x="105" y="0"/>
                      <a:pt x="138" y="0"/>
                    </a:cubicBezTo>
                    <a:cubicBezTo>
                      <a:pt x="138" y="160"/>
                      <a:pt x="138" y="160"/>
                      <a:pt x="138" y="160"/>
                    </a:cubicBezTo>
                    <a:cubicBezTo>
                      <a:pt x="138" y="544"/>
                      <a:pt x="138" y="544"/>
                      <a:pt x="138" y="544"/>
                    </a:cubicBezTo>
                    <a:cubicBezTo>
                      <a:pt x="67" y="542"/>
                      <a:pt x="29" y="525"/>
                      <a:pt x="29" y="525"/>
                    </a:cubicBezTo>
                    <a:close/>
                  </a:path>
                </a:pathLst>
              </a:custGeom>
              <a:solidFill>
                <a:srgbClr val="E1E9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53" name="Freeform 342"/>
              <p:cNvSpPr>
                <a:spLocks/>
              </p:cNvSpPr>
              <p:nvPr/>
            </p:nvSpPr>
            <p:spPr bwMode="auto">
              <a:xfrm>
                <a:off x="10288589" y="2892425"/>
                <a:ext cx="130175" cy="187325"/>
              </a:xfrm>
              <a:custGeom>
                <a:avLst/>
                <a:gdLst>
                  <a:gd name="T0" fmla="*/ 0 w 62"/>
                  <a:gd name="T1" fmla="*/ 9 h 90"/>
                  <a:gd name="T2" fmla="*/ 62 w 62"/>
                  <a:gd name="T3" fmla="*/ 9 h 90"/>
                  <a:gd name="T4" fmla="*/ 62 w 62"/>
                  <a:gd name="T5" fmla="*/ 65 h 90"/>
                  <a:gd name="T6" fmla="*/ 32 w 62"/>
                  <a:gd name="T7" fmla="*/ 89 h 90"/>
                  <a:gd name="T8" fmla="*/ 0 w 62"/>
                  <a:gd name="T9" fmla="*/ 67 h 90"/>
                  <a:gd name="T10" fmla="*/ 0 w 62"/>
                  <a:gd name="T11" fmla="*/ 9 h 90"/>
                </a:gdLst>
                <a:ahLst/>
                <a:cxnLst>
                  <a:cxn ang="0">
                    <a:pos x="T0" y="T1"/>
                  </a:cxn>
                  <a:cxn ang="0">
                    <a:pos x="T2" y="T3"/>
                  </a:cxn>
                  <a:cxn ang="0">
                    <a:pos x="T4" y="T5"/>
                  </a:cxn>
                  <a:cxn ang="0">
                    <a:pos x="T6" y="T7"/>
                  </a:cxn>
                  <a:cxn ang="0">
                    <a:pos x="T8" y="T9"/>
                  </a:cxn>
                  <a:cxn ang="0">
                    <a:pos x="T10" y="T11"/>
                  </a:cxn>
                </a:cxnLst>
                <a:rect l="0" t="0" r="r" b="b"/>
                <a:pathLst>
                  <a:path w="62" h="90">
                    <a:moveTo>
                      <a:pt x="0" y="9"/>
                    </a:moveTo>
                    <a:cubicBezTo>
                      <a:pt x="32" y="0"/>
                      <a:pt x="62" y="9"/>
                      <a:pt x="62" y="9"/>
                    </a:cubicBezTo>
                    <a:cubicBezTo>
                      <a:pt x="62" y="9"/>
                      <a:pt x="62" y="51"/>
                      <a:pt x="62" y="65"/>
                    </a:cubicBezTo>
                    <a:cubicBezTo>
                      <a:pt x="57" y="75"/>
                      <a:pt x="40" y="87"/>
                      <a:pt x="32" y="89"/>
                    </a:cubicBezTo>
                    <a:cubicBezTo>
                      <a:pt x="25" y="90"/>
                      <a:pt x="7" y="76"/>
                      <a:pt x="0" y="67"/>
                    </a:cubicBezTo>
                    <a:lnTo>
                      <a:pt x="0" y="9"/>
                    </a:lnTo>
                    <a:close/>
                  </a:path>
                </a:pathLst>
              </a:cu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54" name="Freeform 343"/>
              <p:cNvSpPr>
                <a:spLocks/>
              </p:cNvSpPr>
              <p:nvPr/>
            </p:nvSpPr>
            <p:spPr bwMode="auto">
              <a:xfrm>
                <a:off x="10167939" y="2628900"/>
                <a:ext cx="204788" cy="334963"/>
              </a:xfrm>
              <a:custGeom>
                <a:avLst/>
                <a:gdLst>
                  <a:gd name="T0" fmla="*/ 11 w 98"/>
                  <a:gd name="T1" fmla="*/ 91 h 160"/>
                  <a:gd name="T2" fmla="*/ 29 w 98"/>
                  <a:gd name="T3" fmla="*/ 0 h 160"/>
                  <a:gd name="T4" fmla="*/ 79 w 98"/>
                  <a:gd name="T5" fmla="*/ 10 h 160"/>
                  <a:gd name="T6" fmla="*/ 98 w 98"/>
                  <a:gd name="T7" fmla="*/ 73 h 160"/>
                  <a:gd name="T8" fmla="*/ 63 w 98"/>
                  <a:gd name="T9" fmla="*/ 78 h 160"/>
                  <a:gd name="T10" fmla="*/ 78 w 98"/>
                  <a:gd name="T11" fmla="*/ 105 h 160"/>
                  <a:gd name="T12" fmla="*/ 0 w 98"/>
                  <a:gd name="T13" fmla="*/ 160 h 160"/>
                  <a:gd name="T14" fmla="*/ 11 w 98"/>
                  <a:gd name="T15" fmla="*/ 91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160">
                    <a:moveTo>
                      <a:pt x="11" y="91"/>
                    </a:moveTo>
                    <a:cubicBezTo>
                      <a:pt x="29" y="0"/>
                      <a:pt x="29" y="0"/>
                      <a:pt x="29" y="0"/>
                    </a:cubicBezTo>
                    <a:cubicBezTo>
                      <a:pt x="44" y="1"/>
                      <a:pt x="62" y="3"/>
                      <a:pt x="79" y="10"/>
                    </a:cubicBezTo>
                    <a:cubicBezTo>
                      <a:pt x="98" y="73"/>
                      <a:pt x="98" y="73"/>
                      <a:pt x="98" y="73"/>
                    </a:cubicBezTo>
                    <a:cubicBezTo>
                      <a:pt x="63" y="78"/>
                      <a:pt x="63" y="78"/>
                      <a:pt x="63" y="78"/>
                    </a:cubicBezTo>
                    <a:cubicBezTo>
                      <a:pt x="78" y="105"/>
                      <a:pt x="78" y="105"/>
                      <a:pt x="78" y="105"/>
                    </a:cubicBezTo>
                    <a:cubicBezTo>
                      <a:pt x="78" y="105"/>
                      <a:pt x="19" y="119"/>
                      <a:pt x="0" y="160"/>
                    </a:cubicBezTo>
                    <a:lnTo>
                      <a:pt x="11" y="91"/>
                    </a:lnTo>
                    <a:close/>
                  </a:path>
                </a:pathLst>
              </a:custGeom>
              <a:solidFill>
                <a:srgbClr val="C2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55" name="Freeform 344"/>
              <p:cNvSpPr>
                <a:spLocks/>
              </p:cNvSpPr>
              <p:nvPr/>
            </p:nvSpPr>
            <p:spPr bwMode="auto">
              <a:xfrm>
                <a:off x="10023476" y="2630488"/>
                <a:ext cx="171450" cy="333375"/>
              </a:xfrm>
              <a:custGeom>
                <a:avLst/>
                <a:gdLst>
                  <a:gd name="T0" fmla="*/ 82 w 82"/>
                  <a:gd name="T1" fmla="*/ 79 h 159"/>
                  <a:gd name="T2" fmla="*/ 69 w 82"/>
                  <a:gd name="T3" fmla="*/ 159 h 159"/>
                  <a:gd name="T4" fmla="*/ 23 w 82"/>
                  <a:gd name="T5" fmla="*/ 111 h 159"/>
                  <a:gd name="T6" fmla="*/ 36 w 82"/>
                  <a:gd name="T7" fmla="*/ 74 h 159"/>
                  <a:gd name="T8" fmla="*/ 0 w 82"/>
                  <a:gd name="T9" fmla="*/ 83 h 159"/>
                  <a:gd name="T10" fmla="*/ 12 w 82"/>
                  <a:gd name="T11" fmla="*/ 8 h 159"/>
                  <a:gd name="T12" fmla="*/ 50 w 82"/>
                  <a:gd name="T13" fmla="*/ 0 h 159"/>
                  <a:gd name="T14" fmla="*/ 82 w 82"/>
                  <a:gd name="T15" fmla="*/ 79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59">
                    <a:moveTo>
                      <a:pt x="82" y="79"/>
                    </a:moveTo>
                    <a:cubicBezTo>
                      <a:pt x="69" y="159"/>
                      <a:pt x="69" y="159"/>
                      <a:pt x="69" y="159"/>
                    </a:cubicBezTo>
                    <a:cubicBezTo>
                      <a:pt x="23" y="111"/>
                      <a:pt x="23" y="111"/>
                      <a:pt x="23" y="111"/>
                    </a:cubicBezTo>
                    <a:cubicBezTo>
                      <a:pt x="36" y="74"/>
                      <a:pt x="36" y="74"/>
                      <a:pt x="36" y="74"/>
                    </a:cubicBezTo>
                    <a:cubicBezTo>
                      <a:pt x="0" y="83"/>
                      <a:pt x="0" y="83"/>
                      <a:pt x="0" y="83"/>
                    </a:cubicBezTo>
                    <a:cubicBezTo>
                      <a:pt x="12" y="8"/>
                      <a:pt x="12" y="8"/>
                      <a:pt x="12" y="8"/>
                    </a:cubicBezTo>
                    <a:cubicBezTo>
                      <a:pt x="25" y="4"/>
                      <a:pt x="38" y="1"/>
                      <a:pt x="50" y="0"/>
                    </a:cubicBezTo>
                    <a:lnTo>
                      <a:pt x="82" y="79"/>
                    </a:lnTo>
                    <a:close/>
                  </a:path>
                </a:pathLst>
              </a:cu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56" name="Freeform 345"/>
              <p:cNvSpPr>
                <a:spLocks/>
              </p:cNvSpPr>
              <p:nvPr/>
            </p:nvSpPr>
            <p:spPr bwMode="auto">
              <a:xfrm>
                <a:off x="10063164" y="2628900"/>
                <a:ext cx="255588" cy="190500"/>
              </a:xfrm>
              <a:custGeom>
                <a:avLst/>
                <a:gdLst>
                  <a:gd name="T0" fmla="*/ 122 w 122"/>
                  <a:gd name="T1" fmla="*/ 7 h 91"/>
                  <a:gd name="T2" fmla="*/ 61 w 122"/>
                  <a:gd name="T3" fmla="*/ 91 h 91"/>
                  <a:gd name="T4" fmla="*/ 0 w 122"/>
                  <a:gd name="T5" fmla="*/ 7 h 91"/>
                  <a:gd name="T6" fmla="*/ 61 w 122"/>
                  <a:gd name="T7" fmla="*/ 0 h 91"/>
                  <a:gd name="T8" fmla="*/ 122 w 122"/>
                  <a:gd name="T9" fmla="*/ 7 h 91"/>
                </a:gdLst>
                <a:ahLst/>
                <a:cxnLst>
                  <a:cxn ang="0">
                    <a:pos x="T0" y="T1"/>
                  </a:cxn>
                  <a:cxn ang="0">
                    <a:pos x="T2" y="T3"/>
                  </a:cxn>
                  <a:cxn ang="0">
                    <a:pos x="T4" y="T5"/>
                  </a:cxn>
                  <a:cxn ang="0">
                    <a:pos x="T6" y="T7"/>
                  </a:cxn>
                  <a:cxn ang="0">
                    <a:pos x="T8" y="T9"/>
                  </a:cxn>
                </a:cxnLst>
                <a:rect l="0" t="0" r="r" b="b"/>
                <a:pathLst>
                  <a:path w="122" h="91">
                    <a:moveTo>
                      <a:pt x="122" y="7"/>
                    </a:moveTo>
                    <a:cubicBezTo>
                      <a:pt x="61" y="91"/>
                      <a:pt x="61" y="91"/>
                      <a:pt x="61" y="91"/>
                    </a:cubicBezTo>
                    <a:cubicBezTo>
                      <a:pt x="0" y="7"/>
                      <a:pt x="0" y="7"/>
                      <a:pt x="0" y="7"/>
                    </a:cubicBezTo>
                    <a:cubicBezTo>
                      <a:pt x="22" y="0"/>
                      <a:pt x="45" y="0"/>
                      <a:pt x="61" y="0"/>
                    </a:cubicBezTo>
                    <a:cubicBezTo>
                      <a:pt x="77" y="0"/>
                      <a:pt x="99" y="0"/>
                      <a:pt x="122" y="7"/>
                    </a:cubicBezTo>
                    <a:close/>
                  </a:path>
                </a:pathLst>
              </a:custGeom>
              <a:solidFill>
                <a:srgbClr val="76A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57" name="Freeform 346"/>
              <p:cNvSpPr>
                <a:spLocks/>
              </p:cNvSpPr>
              <p:nvPr/>
            </p:nvSpPr>
            <p:spPr bwMode="auto">
              <a:xfrm>
                <a:off x="9925051" y="3479800"/>
                <a:ext cx="158750" cy="160338"/>
              </a:xfrm>
              <a:custGeom>
                <a:avLst/>
                <a:gdLst>
                  <a:gd name="T0" fmla="*/ 0 w 76"/>
                  <a:gd name="T1" fmla="*/ 4 h 77"/>
                  <a:gd name="T2" fmla="*/ 7 w 76"/>
                  <a:gd name="T3" fmla="*/ 0 h 77"/>
                  <a:gd name="T4" fmla="*/ 67 w 76"/>
                  <a:gd name="T5" fmla="*/ 0 h 77"/>
                  <a:gd name="T6" fmla="*/ 76 w 76"/>
                  <a:gd name="T7" fmla="*/ 11 h 77"/>
                  <a:gd name="T8" fmla="*/ 76 w 76"/>
                  <a:gd name="T9" fmla="*/ 66 h 77"/>
                  <a:gd name="T10" fmla="*/ 67 w 76"/>
                  <a:gd name="T11" fmla="*/ 77 h 77"/>
                  <a:gd name="T12" fmla="*/ 7 w 76"/>
                  <a:gd name="T13" fmla="*/ 77 h 77"/>
                  <a:gd name="T14" fmla="*/ 4 w 76"/>
                  <a:gd name="T15" fmla="*/ 76 h 77"/>
                  <a:gd name="T16" fmla="*/ 0 w 76"/>
                  <a:gd name="T17" fmla="*/ 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7">
                    <a:moveTo>
                      <a:pt x="0" y="4"/>
                    </a:moveTo>
                    <a:cubicBezTo>
                      <a:pt x="2" y="2"/>
                      <a:pt x="4" y="0"/>
                      <a:pt x="7" y="0"/>
                    </a:cubicBezTo>
                    <a:cubicBezTo>
                      <a:pt x="67" y="0"/>
                      <a:pt x="67" y="0"/>
                      <a:pt x="67" y="0"/>
                    </a:cubicBezTo>
                    <a:cubicBezTo>
                      <a:pt x="72" y="0"/>
                      <a:pt x="76" y="5"/>
                      <a:pt x="76" y="11"/>
                    </a:cubicBezTo>
                    <a:cubicBezTo>
                      <a:pt x="76" y="66"/>
                      <a:pt x="76" y="66"/>
                      <a:pt x="76" y="66"/>
                    </a:cubicBezTo>
                    <a:cubicBezTo>
                      <a:pt x="76" y="72"/>
                      <a:pt x="72" y="77"/>
                      <a:pt x="67" y="77"/>
                    </a:cubicBezTo>
                    <a:cubicBezTo>
                      <a:pt x="7" y="77"/>
                      <a:pt x="7" y="77"/>
                      <a:pt x="7" y="77"/>
                    </a:cubicBezTo>
                    <a:cubicBezTo>
                      <a:pt x="6" y="77"/>
                      <a:pt x="5" y="77"/>
                      <a:pt x="4" y="76"/>
                    </a:cubicBezTo>
                    <a:cubicBezTo>
                      <a:pt x="3" y="58"/>
                      <a:pt x="1" y="32"/>
                      <a:pt x="0" y="4"/>
                    </a:cubicBezTo>
                    <a:close/>
                  </a:path>
                </a:pathLst>
              </a:cu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58" name="Freeform 347"/>
              <p:cNvSpPr>
                <a:spLocks/>
              </p:cNvSpPr>
              <p:nvPr/>
            </p:nvSpPr>
            <p:spPr bwMode="auto">
              <a:xfrm>
                <a:off x="9912351" y="3452813"/>
                <a:ext cx="184150" cy="49213"/>
              </a:xfrm>
              <a:custGeom>
                <a:avLst/>
                <a:gdLst>
                  <a:gd name="T0" fmla="*/ 88 w 88"/>
                  <a:gd name="T1" fmla="*/ 20 h 24"/>
                  <a:gd name="T2" fmla="*/ 84 w 88"/>
                  <a:gd name="T3" fmla="*/ 24 h 24"/>
                  <a:gd name="T4" fmla="*/ 6 w 88"/>
                  <a:gd name="T5" fmla="*/ 24 h 24"/>
                  <a:gd name="T6" fmla="*/ 2 w 88"/>
                  <a:gd name="T7" fmla="*/ 20 h 24"/>
                  <a:gd name="T8" fmla="*/ 0 w 88"/>
                  <a:gd name="T9" fmla="*/ 4 h 24"/>
                  <a:gd name="T10" fmla="*/ 4 w 88"/>
                  <a:gd name="T11" fmla="*/ 0 h 24"/>
                  <a:gd name="T12" fmla="*/ 84 w 88"/>
                  <a:gd name="T13" fmla="*/ 0 h 24"/>
                  <a:gd name="T14" fmla="*/ 88 w 88"/>
                  <a:gd name="T15" fmla="*/ 4 h 24"/>
                  <a:gd name="T16" fmla="*/ 88 w 88"/>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24">
                    <a:moveTo>
                      <a:pt x="88" y="20"/>
                    </a:moveTo>
                    <a:cubicBezTo>
                      <a:pt x="88" y="22"/>
                      <a:pt x="86" y="24"/>
                      <a:pt x="84" y="24"/>
                    </a:cubicBezTo>
                    <a:cubicBezTo>
                      <a:pt x="6" y="24"/>
                      <a:pt x="6" y="24"/>
                      <a:pt x="6" y="24"/>
                    </a:cubicBezTo>
                    <a:cubicBezTo>
                      <a:pt x="4" y="24"/>
                      <a:pt x="2" y="22"/>
                      <a:pt x="2" y="20"/>
                    </a:cubicBezTo>
                    <a:cubicBezTo>
                      <a:pt x="0" y="4"/>
                      <a:pt x="0" y="4"/>
                      <a:pt x="0" y="4"/>
                    </a:cubicBezTo>
                    <a:cubicBezTo>
                      <a:pt x="0" y="2"/>
                      <a:pt x="2" y="0"/>
                      <a:pt x="4" y="0"/>
                    </a:cubicBezTo>
                    <a:cubicBezTo>
                      <a:pt x="84" y="0"/>
                      <a:pt x="84" y="0"/>
                      <a:pt x="84" y="0"/>
                    </a:cubicBezTo>
                    <a:cubicBezTo>
                      <a:pt x="86" y="0"/>
                      <a:pt x="88" y="2"/>
                      <a:pt x="88" y="4"/>
                    </a:cubicBezTo>
                    <a:lnTo>
                      <a:pt x="88" y="20"/>
                    </a:lnTo>
                    <a:close/>
                  </a:path>
                </a:pathLst>
              </a:custGeom>
              <a:solidFill>
                <a:srgbClr val="C2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59" name="Oval 348"/>
              <p:cNvSpPr>
                <a:spLocks noChangeArrowheads="1"/>
              </p:cNvSpPr>
              <p:nvPr/>
            </p:nvSpPr>
            <p:spPr bwMode="auto">
              <a:xfrm>
                <a:off x="10180639" y="2951163"/>
                <a:ext cx="28575" cy="31750"/>
              </a:xfrm>
              <a:prstGeom prst="ellipse">
                <a:avLst/>
              </a:pr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60" name="Oval 349"/>
              <p:cNvSpPr>
                <a:spLocks noChangeArrowheads="1"/>
              </p:cNvSpPr>
              <p:nvPr/>
            </p:nvSpPr>
            <p:spPr bwMode="auto">
              <a:xfrm>
                <a:off x="10180639" y="3013075"/>
                <a:ext cx="28575" cy="33338"/>
              </a:xfrm>
              <a:prstGeom prst="ellipse">
                <a:avLst/>
              </a:pr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61" name="Oval 350"/>
              <p:cNvSpPr>
                <a:spLocks noChangeArrowheads="1"/>
              </p:cNvSpPr>
              <p:nvPr/>
            </p:nvSpPr>
            <p:spPr bwMode="auto">
              <a:xfrm>
                <a:off x="10180639" y="3078163"/>
                <a:ext cx="28575" cy="31750"/>
              </a:xfrm>
              <a:prstGeom prst="ellipse">
                <a:avLst/>
              </a:pr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62" name="Oval 351"/>
              <p:cNvSpPr>
                <a:spLocks noChangeArrowheads="1"/>
              </p:cNvSpPr>
              <p:nvPr/>
            </p:nvSpPr>
            <p:spPr bwMode="auto">
              <a:xfrm>
                <a:off x="10180639" y="3141663"/>
                <a:ext cx="28575" cy="30163"/>
              </a:xfrm>
              <a:prstGeom prst="ellipse">
                <a:avLst/>
              </a:pr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63" name="Oval 352"/>
              <p:cNvSpPr>
                <a:spLocks noChangeArrowheads="1"/>
              </p:cNvSpPr>
              <p:nvPr/>
            </p:nvSpPr>
            <p:spPr bwMode="auto">
              <a:xfrm>
                <a:off x="10180639" y="3203575"/>
                <a:ext cx="28575" cy="33338"/>
              </a:xfrm>
              <a:prstGeom prst="ellipse">
                <a:avLst/>
              </a:pr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64" name="Oval 353"/>
              <p:cNvSpPr>
                <a:spLocks noChangeArrowheads="1"/>
              </p:cNvSpPr>
              <p:nvPr/>
            </p:nvSpPr>
            <p:spPr bwMode="auto">
              <a:xfrm>
                <a:off x="10180639" y="3268663"/>
                <a:ext cx="28575" cy="31750"/>
              </a:xfrm>
              <a:prstGeom prst="ellipse">
                <a:avLst/>
              </a:pr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65" name="Oval 354"/>
              <p:cNvSpPr>
                <a:spLocks noChangeArrowheads="1"/>
              </p:cNvSpPr>
              <p:nvPr/>
            </p:nvSpPr>
            <p:spPr bwMode="auto">
              <a:xfrm>
                <a:off x="10180639" y="3330575"/>
                <a:ext cx="28575" cy="31750"/>
              </a:xfrm>
              <a:prstGeom prst="ellipse">
                <a:avLst/>
              </a:pr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66" name="Oval 355"/>
              <p:cNvSpPr>
                <a:spLocks noChangeArrowheads="1"/>
              </p:cNvSpPr>
              <p:nvPr/>
            </p:nvSpPr>
            <p:spPr bwMode="auto">
              <a:xfrm>
                <a:off x="10180639" y="3394075"/>
                <a:ext cx="28575" cy="31750"/>
              </a:xfrm>
              <a:prstGeom prst="ellipse">
                <a:avLst/>
              </a:pr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67" name="Oval 356"/>
              <p:cNvSpPr>
                <a:spLocks noChangeArrowheads="1"/>
              </p:cNvSpPr>
              <p:nvPr/>
            </p:nvSpPr>
            <p:spPr bwMode="auto">
              <a:xfrm>
                <a:off x="10180639" y="3455988"/>
                <a:ext cx="28575" cy="33338"/>
              </a:xfrm>
              <a:prstGeom prst="ellipse">
                <a:avLst/>
              </a:pr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68" name="Oval 357"/>
              <p:cNvSpPr>
                <a:spLocks noChangeArrowheads="1"/>
              </p:cNvSpPr>
              <p:nvPr/>
            </p:nvSpPr>
            <p:spPr bwMode="auto">
              <a:xfrm>
                <a:off x="10180639" y="3521075"/>
                <a:ext cx="28575" cy="31750"/>
              </a:xfrm>
              <a:prstGeom prst="ellipse">
                <a:avLst/>
              </a:pr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69" name="Oval 358"/>
              <p:cNvSpPr>
                <a:spLocks noChangeArrowheads="1"/>
              </p:cNvSpPr>
              <p:nvPr/>
            </p:nvSpPr>
            <p:spPr bwMode="auto">
              <a:xfrm>
                <a:off x="10180639" y="3584575"/>
                <a:ext cx="28575" cy="30163"/>
              </a:xfrm>
              <a:prstGeom prst="ellipse">
                <a:avLst/>
              </a:pr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70" name="Freeform 359"/>
              <p:cNvSpPr>
                <a:spLocks/>
              </p:cNvSpPr>
              <p:nvPr/>
            </p:nvSpPr>
            <p:spPr bwMode="auto">
              <a:xfrm>
                <a:off x="10352089" y="2659063"/>
                <a:ext cx="285750" cy="504825"/>
              </a:xfrm>
              <a:custGeom>
                <a:avLst/>
                <a:gdLst>
                  <a:gd name="T0" fmla="*/ 55 w 137"/>
                  <a:gd name="T1" fmla="*/ 221 h 242"/>
                  <a:gd name="T2" fmla="*/ 134 w 137"/>
                  <a:gd name="T3" fmla="*/ 223 h 242"/>
                  <a:gd name="T4" fmla="*/ 38 w 137"/>
                  <a:gd name="T5" fmla="*/ 12 h 242"/>
                  <a:gd name="T6" fmla="*/ 0 w 137"/>
                  <a:gd name="T7" fmla="*/ 0 h 242"/>
                  <a:gd name="T8" fmla="*/ 55 w 137"/>
                  <a:gd name="T9" fmla="*/ 167 h 242"/>
                  <a:gd name="T10" fmla="*/ 55 w 137"/>
                  <a:gd name="T11" fmla="*/ 221 h 242"/>
                </a:gdLst>
                <a:ahLst/>
                <a:cxnLst>
                  <a:cxn ang="0">
                    <a:pos x="T0" y="T1"/>
                  </a:cxn>
                  <a:cxn ang="0">
                    <a:pos x="T2" y="T3"/>
                  </a:cxn>
                  <a:cxn ang="0">
                    <a:pos x="T4" y="T5"/>
                  </a:cxn>
                  <a:cxn ang="0">
                    <a:pos x="T6" y="T7"/>
                  </a:cxn>
                  <a:cxn ang="0">
                    <a:pos x="T8" y="T9"/>
                  </a:cxn>
                  <a:cxn ang="0">
                    <a:pos x="T10" y="T11"/>
                  </a:cxn>
                </a:cxnLst>
                <a:rect l="0" t="0" r="r" b="b"/>
                <a:pathLst>
                  <a:path w="137" h="242">
                    <a:moveTo>
                      <a:pt x="55" y="221"/>
                    </a:moveTo>
                    <a:cubicBezTo>
                      <a:pt x="85" y="216"/>
                      <a:pt x="134" y="242"/>
                      <a:pt x="134" y="223"/>
                    </a:cubicBezTo>
                    <a:cubicBezTo>
                      <a:pt x="137" y="157"/>
                      <a:pt x="91" y="38"/>
                      <a:pt x="38" y="12"/>
                    </a:cubicBezTo>
                    <a:cubicBezTo>
                      <a:pt x="23" y="4"/>
                      <a:pt x="0" y="0"/>
                      <a:pt x="0" y="0"/>
                    </a:cubicBezTo>
                    <a:cubicBezTo>
                      <a:pt x="0" y="0"/>
                      <a:pt x="46" y="82"/>
                      <a:pt x="55" y="167"/>
                    </a:cubicBezTo>
                    <a:lnTo>
                      <a:pt x="55" y="221"/>
                    </a:lnTo>
                    <a:close/>
                  </a:path>
                </a:pathLst>
              </a:custGeom>
              <a:solidFill>
                <a:srgbClr val="DCD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71" name="Freeform 360"/>
              <p:cNvSpPr>
                <a:spLocks/>
              </p:cNvSpPr>
              <p:nvPr/>
            </p:nvSpPr>
            <p:spPr bwMode="auto">
              <a:xfrm>
                <a:off x="10287001" y="3348038"/>
                <a:ext cx="176213" cy="196850"/>
              </a:xfrm>
              <a:custGeom>
                <a:avLst/>
                <a:gdLst>
                  <a:gd name="T0" fmla="*/ 66 w 84"/>
                  <a:gd name="T1" fmla="*/ 19 h 94"/>
                  <a:gd name="T2" fmla="*/ 41 w 84"/>
                  <a:gd name="T3" fmla="*/ 6 h 94"/>
                  <a:gd name="T4" fmla="*/ 6 w 84"/>
                  <a:gd name="T5" fmla="*/ 45 h 94"/>
                  <a:gd name="T6" fmla="*/ 25 w 84"/>
                  <a:gd name="T7" fmla="*/ 39 h 94"/>
                  <a:gd name="T8" fmla="*/ 8 w 84"/>
                  <a:gd name="T9" fmla="*/ 65 h 94"/>
                  <a:gd name="T10" fmla="*/ 5 w 84"/>
                  <a:gd name="T11" fmla="*/ 82 h 94"/>
                  <a:gd name="T12" fmla="*/ 15 w 84"/>
                  <a:gd name="T13" fmla="*/ 80 h 94"/>
                  <a:gd name="T14" fmla="*/ 25 w 84"/>
                  <a:gd name="T15" fmla="*/ 84 h 94"/>
                  <a:gd name="T16" fmla="*/ 34 w 84"/>
                  <a:gd name="T17" fmla="*/ 88 h 94"/>
                  <a:gd name="T18" fmla="*/ 42 w 84"/>
                  <a:gd name="T19" fmla="*/ 91 h 94"/>
                  <a:gd name="T20" fmla="*/ 65 w 84"/>
                  <a:gd name="T21" fmla="*/ 66 h 94"/>
                  <a:gd name="T22" fmla="*/ 66 w 84"/>
                  <a:gd name="T23" fmla="*/ 1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94">
                    <a:moveTo>
                      <a:pt x="66" y="19"/>
                    </a:moveTo>
                    <a:cubicBezTo>
                      <a:pt x="66" y="19"/>
                      <a:pt x="52" y="0"/>
                      <a:pt x="41" y="6"/>
                    </a:cubicBezTo>
                    <a:cubicBezTo>
                      <a:pt x="31" y="12"/>
                      <a:pt x="1" y="33"/>
                      <a:pt x="6" y="45"/>
                    </a:cubicBezTo>
                    <a:cubicBezTo>
                      <a:pt x="8" y="50"/>
                      <a:pt x="12" y="52"/>
                      <a:pt x="25" y="39"/>
                    </a:cubicBezTo>
                    <a:cubicBezTo>
                      <a:pt x="25" y="39"/>
                      <a:pt x="16" y="56"/>
                      <a:pt x="8" y="65"/>
                    </a:cubicBezTo>
                    <a:cubicBezTo>
                      <a:pt x="0" y="74"/>
                      <a:pt x="2" y="80"/>
                      <a:pt x="5" y="82"/>
                    </a:cubicBezTo>
                    <a:cubicBezTo>
                      <a:pt x="7" y="84"/>
                      <a:pt x="11" y="85"/>
                      <a:pt x="15" y="80"/>
                    </a:cubicBezTo>
                    <a:cubicBezTo>
                      <a:pt x="15" y="80"/>
                      <a:pt x="18" y="89"/>
                      <a:pt x="25" y="84"/>
                    </a:cubicBezTo>
                    <a:cubicBezTo>
                      <a:pt x="25" y="84"/>
                      <a:pt x="29" y="92"/>
                      <a:pt x="34" y="88"/>
                    </a:cubicBezTo>
                    <a:cubicBezTo>
                      <a:pt x="34" y="88"/>
                      <a:pt x="37" y="94"/>
                      <a:pt x="42" y="91"/>
                    </a:cubicBezTo>
                    <a:cubicBezTo>
                      <a:pt x="48" y="88"/>
                      <a:pt x="58" y="77"/>
                      <a:pt x="65" y="66"/>
                    </a:cubicBezTo>
                    <a:cubicBezTo>
                      <a:pt x="71" y="56"/>
                      <a:pt x="84" y="39"/>
                      <a:pt x="66" y="19"/>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72" name="Freeform 361"/>
              <p:cNvSpPr>
                <a:spLocks/>
              </p:cNvSpPr>
              <p:nvPr/>
            </p:nvSpPr>
            <p:spPr bwMode="auto">
              <a:xfrm>
                <a:off x="10318751" y="3452813"/>
                <a:ext cx="47625" cy="66675"/>
              </a:xfrm>
              <a:custGeom>
                <a:avLst/>
                <a:gdLst>
                  <a:gd name="T0" fmla="*/ 1 w 23"/>
                  <a:gd name="T1" fmla="*/ 32 h 32"/>
                  <a:gd name="T2" fmla="*/ 1 w 23"/>
                  <a:gd name="T3" fmla="*/ 32 h 32"/>
                  <a:gd name="T4" fmla="*/ 23 w 23"/>
                  <a:gd name="T5" fmla="*/ 0 h 32"/>
                  <a:gd name="T6" fmla="*/ 0 w 23"/>
                  <a:gd name="T7" fmla="*/ 30 h 32"/>
                  <a:gd name="T8" fmla="*/ 1 w 23"/>
                  <a:gd name="T9" fmla="*/ 32 h 32"/>
                </a:gdLst>
                <a:ahLst/>
                <a:cxnLst>
                  <a:cxn ang="0">
                    <a:pos x="T0" y="T1"/>
                  </a:cxn>
                  <a:cxn ang="0">
                    <a:pos x="T2" y="T3"/>
                  </a:cxn>
                  <a:cxn ang="0">
                    <a:pos x="T4" y="T5"/>
                  </a:cxn>
                  <a:cxn ang="0">
                    <a:pos x="T6" y="T7"/>
                  </a:cxn>
                  <a:cxn ang="0">
                    <a:pos x="T8" y="T9"/>
                  </a:cxn>
                </a:cxnLst>
                <a:rect l="0" t="0" r="r" b="b"/>
                <a:pathLst>
                  <a:path w="23" h="32">
                    <a:moveTo>
                      <a:pt x="1" y="32"/>
                    </a:moveTo>
                    <a:cubicBezTo>
                      <a:pt x="1" y="32"/>
                      <a:pt x="1" y="32"/>
                      <a:pt x="1" y="32"/>
                    </a:cubicBezTo>
                    <a:cubicBezTo>
                      <a:pt x="19" y="14"/>
                      <a:pt x="23" y="0"/>
                      <a:pt x="23" y="0"/>
                    </a:cubicBezTo>
                    <a:cubicBezTo>
                      <a:pt x="15" y="14"/>
                      <a:pt x="0" y="30"/>
                      <a:pt x="0" y="30"/>
                    </a:cubicBezTo>
                    <a:lnTo>
                      <a:pt x="1" y="32"/>
                    </a:lnTo>
                    <a:close/>
                  </a:path>
                </a:pathLst>
              </a:custGeom>
              <a:solidFill>
                <a:srgbClr val="B98F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73" name="Freeform 362"/>
              <p:cNvSpPr>
                <a:spLocks/>
              </p:cNvSpPr>
              <p:nvPr/>
            </p:nvSpPr>
            <p:spPr bwMode="auto">
              <a:xfrm>
                <a:off x="10339389" y="3467100"/>
                <a:ext cx="41275" cy="60325"/>
              </a:xfrm>
              <a:custGeom>
                <a:avLst/>
                <a:gdLst>
                  <a:gd name="T0" fmla="*/ 0 w 20"/>
                  <a:gd name="T1" fmla="*/ 27 h 29"/>
                  <a:gd name="T2" fmla="*/ 1 w 20"/>
                  <a:gd name="T3" fmla="*/ 29 h 29"/>
                  <a:gd name="T4" fmla="*/ 20 w 20"/>
                  <a:gd name="T5" fmla="*/ 0 h 29"/>
                  <a:gd name="T6" fmla="*/ 0 w 20"/>
                  <a:gd name="T7" fmla="*/ 27 h 29"/>
                </a:gdLst>
                <a:ahLst/>
                <a:cxnLst>
                  <a:cxn ang="0">
                    <a:pos x="T0" y="T1"/>
                  </a:cxn>
                  <a:cxn ang="0">
                    <a:pos x="T2" y="T3"/>
                  </a:cxn>
                  <a:cxn ang="0">
                    <a:pos x="T4" y="T5"/>
                  </a:cxn>
                  <a:cxn ang="0">
                    <a:pos x="T6" y="T7"/>
                  </a:cxn>
                </a:cxnLst>
                <a:rect l="0" t="0" r="r" b="b"/>
                <a:pathLst>
                  <a:path w="20" h="29">
                    <a:moveTo>
                      <a:pt x="0" y="27"/>
                    </a:moveTo>
                    <a:cubicBezTo>
                      <a:pt x="0" y="27"/>
                      <a:pt x="0" y="28"/>
                      <a:pt x="1" y="29"/>
                    </a:cubicBezTo>
                    <a:cubicBezTo>
                      <a:pt x="16" y="12"/>
                      <a:pt x="20" y="0"/>
                      <a:pt x="20" y="0"/>
                    </a:cubicBezTo>
                    <a:cubicBezTo>
                      <a:pt x="14" y="10"/>
                      <a:pt x="5" y="21"/>
                      <a:pt x="0" y="27"/>
                    </a:cubicBezTo>
                    <a:close/>
                  </a:path>
                </a:pathLst>
              </a:custGeom>
              <a:solidFill>
                <a:srgbClr val="B98F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74" name="Freeform 363"/>
              <p:cNvSpPr>
                <a:spLocks/>
              </p:cNvSpPr>
              <p:nvPr/>
            </p:nvSpPr>
            <p:spPr bwMode="auto">
              <a:xfrm>
                <a:off x="10358439" y="3481388"/>
                <a:ext cx="36513" cy="53975"/>
              </a:xfrm>
              <a:custGeom>
                <a:avLst/>
                <a:gdLst>
                  <a:gd name="T0" fmla="*/ 0 w 18"/>
                  <a:gd name="T1" fmla="*/ 24 h 26"/>
                  <a:gd name="T2" fmla="*/ 1 w 18"/>
                  <a:gd name="T3" fmla="*/ 26 h 26"/>
                  <a:gd name="T4" fmla="*/ 18 w 18"/>
                  <a:gd name="T5" fmla="*/ 0 h 26"/>
                  <a:gd name="T6" fmla="*/ 0 w 18"/>
                  <a:gd name="T7" fmla="*/ 24 h 26"/>
                </a:gdLst>
                <a:ahLst/>
                <a:cxnLst>
                  <a:cxn ang="0">
                    <a:pos x="T0" y="T1"/>
                  </a:cxn>
                  <a:cxn ang="0">
                    <a:pos x="T2" y="T3"/>
                  </a:cxn>
                  <a:cxn ang="0">
                    <a:pos x="T4" y="T5"/>
                  </a:cxn>
                  <a:cxn ang="0">
                    <a:pos x="T6" y="T7"/>
                  </a:cxn>
                </a:cxnLst>
                <a:rect l="0" t="0" r="r" b="b"/>
                <a:pathLst>
                  <a:path w="18" h="26">
                    <a:moveTo>
                      <a:pt x="0" y="24"/>
                    </a:moveTo>
                    <a:cubicBezTo>
                      <a:pt x="0" y="24"/>
                      <a:pt x="0" y="25"/>
                      <a:pt x="1" y="26"/>
                    </a:cubicBezTo>
                    <a:cubicBezTo>
                      <a:pt x="15" y="11"/>
                      <a:pt x="18" y="0"/>
                      <a:pt x="18" y="0"/>
                    </a:cubicBezTo>
                    <a:cubicBezTo>
                      <a:pt x="13" y="9"/>
                      <a:pt x="5" y="19"/>
                      <a:pt x="0" y="24"/>
                    </a:cubicBezTo>
                    <a:close/>
                  </a:path>
                </a:pathLst>
              </a:custGeom>
              <a:solidFill>
                <a:srgbClr val="B98F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75" name="Freeform 364"/>
              <p:cNvSpPr>
                <a:spLocks/>
              </p:cNvSpPr>
              <p:nvPr/>
            </p:nvSpPr>
            <p:spPr bwMode="auto">
              <a:xfrm>
                <a:off x="10372726" y="3273425"/>
                <a:ext cx="127000" cy="160338"/>
              </a:xfrm>
              <a:custGeom>
                <a:avLst/>
                <a:gdLst>
                  <a:gd name="T0" fmla="*/ 32 w 61"/>
                  <a:gd name="T1" fmla="*/ 71 h 77"/>
                  <a:gd name="T2" fmla="*/ 18 w 61"/>
                  <a:gd name="T3" fmla="*/ 69 h 77"/>
                  <a:gd name="T4" fmla="*/ 8 w 61"/>
                  <a:gd name="T5" fmla="*/ 64 h 77"/>
                  <a:gd name="T6" fmla="*/ 3 w 61"/>
                  <a:gd name="T7" fmla="*/ 50 h 77"/>
                  <a:gd name="T8" fmla="*/ 21 w 61"/>
                  <a:gd name="T9" fmla="*/ 7 h 77"/>
                  <a:gd name="T10" fmla="*/ 34 w 61"/>
                  <a:gd name="T11" fmla="*/ 2 h 77"/>
                  <a:gd name="T12" fmla="*/ 52 w 61"/>
                  <a:gd name="T13" fmla="*/ 11 h 77"/>
                  <a:gd name="T14" fmla="*/ 59 w 61"/>
                  <a:gd name="T15" fmla="*/ 27 h 77"/>
                  <a:gd name="T16" fmla="*/ 32 w 61"/>
                  <a:gd name="T17" fmla="*/ 7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77">
                    <a:moveTo>
                      <a:pt x="32" y="71"/>
                    </a:moveTo>
                    <a:cubicBezTo>
                      <a:pt x="30" y="77"/>
                      <a:pt x="23" y="72"/>
                      <a:pt x="18" y="69"/>
                    </a:cubicBezTo>
                    <a:cubicBezTo>
                      <a:pt x="8" y="64"/>
                      <a:pt x="8" y="64"/>
                      <a:pt x="8" y="64"/>
                    </a:cubicBezTo>
                    <a:cubicBezTo>
                      <a:pt x="3" y="62"/>
                      <a:pt x="0" y="55"/>
                      <a:pt x="3" y="50"/>
                    </a:cubicBezTo>
                    <a:cubicBezTo>
                      <a:pt x="21" y="7"/>
                      <a:pt x="21" y="7"/>
                      <a:pt x="21" y="7"/>
                    </a:cubicBezTo>
                    <a:cubicBezTo>
                      <a:pt x="23" y="2"/>
                      <a:pt x="29" y="0"/>
                      <a:pt x="34" y="2"/>
                    </a:cubicBezTo>
                    <a:cubicBezTo>
                      <a:pt x="52" y="11"/>
                      <a:pt x="52" y="11"/>
                      <a:pt x="52" y="11"/>
                    </a:cubicBezTo>
                    <a:cubicBezTo>
                      <a:pt x="56" y="14"/>
                      <a:pt x="61" y="21"/>
                      <a:pt x="59" y="27"/>
                    </a:cubicBezTo>
                    <a:lnTo>
                      <a:pt x="32" y="71"/>
                    </a:ln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76" name="Freeform 365"/>
              <p:cNvSpPr>
                <a:spLocks/>
              </p:cNvSpPr>
              <p:nvPr/>
            </p:nvSpPr>
            <p:spPr bwMode="auto">
              <a:xfrm>
                <a:off x="10385426" y="2990850"/>
                <a:ext cx="263525" cy="436563"/>
              </a:xfrm>
              <a:custGeom>
                <a:avLst/>
                <a:gdLst>
                  <a:gd name="T0" fmla="*/ 101 w 126"/>
                  <a:gd name="T1" fmla="*/ 46 h 209"/>
                  <a:gd name="T2" fmla="*/ 73 w 126"/>
                  <a:gd name="T3" fmla="*/ 7 h 209"/>
                  <a:gd name="T4" fmla="*/ 39 w 126"/>
                  <a:gd name="T5" fmla="*/ 60 h 209"/>
                  <a:gd name="T6" fmla="*/ 0 w 126"/>
                  <a:gd name="T7" fmla="*/ 173 h 209"/>
                  <a:gd name="T8" fmla="*/ 35 w 126"/>
                  <a:gd name="T9" fmla="*/ 209 h 209"/>
                  <a:gd name="T10" fmla="*/ 114 w 126"/>
                  <a:gd name="T11" fmla="*/ 90 h 209"/>
                  <a:gd name="T12" fmla="*/ 101 w 126"/>
                  <a:gd name="T13" fmla="*/ 46 h 209"/>
                </a:gdLst>
                <a:ahLst/>
                <a:cxnLst>
                  <a:cxn ang="0">
                    <a:pos x="T0" y="T1"/>
                  </a:cxn>
                  <a:cxn ang="0">
                    <a:pos x="T2" y="T3"/>
                  </a:cxn>
                  <a:cxn ang="0">
                    <a:pos x="T4" y="T5"/>
                  </a:cxn>
                  <a:cxn ang="0">
                    <a:pos x="T6" y="T7"/>
                  </a:cxn>
                  <a:cxn ang="0">
                    <a:pos x="T8" y="T9"/>
                  </a:cxn>
                  <a:cxn ang="0">
                    <a:pos x="T10" y="T11"/>
                  </a:cxn>
                  <a:cxn ang="0">
                    <a:pos x="T12" y="T13"/>
                  </a:cxn>
                </a:cxnLst>
                <a:rect l="0" t="0" r="r" b="b"/>
                <a:pathLst>
                  <a:path w="126" h="209">
                    <a:moveTo>
                      <a:pt x="101" y="46"/>
                    </a:moveTo>
                    <a:cubicBezTo>
                      <a:pt x="95" y="43"/>
                      <a:pt x="86" y="0"/>
                      <a:pt x="73" y="7"/>
                    </a:cubicBezTo>
                    <a:cubicBezTo>
                      <a:pt x="67" y="11"/>
                      <a:pt x="51" y="30"/>
                      <a:pt x="39" y="60"/>
                    </a:cubicBezTo>
                    <a:cubicBezTo>
                      <a:pt x="27" y="90"/>
                      <a:pt x="19" y="131"/>
                      <a:pt x="0" y="173"/>
                    </a:cubicBezTo>
                    <a:cubicBezTo>
                      <a:pt x="0" y="173"/>
                      <a:pt x="30" y="202"/>
                      <a:pt x="35" y="209"/>
                    </a:cubicBezTo>
                    <a:cubicBezTo>
                      <a:pt x="35" y="209"/>
                      <a:pt x="100" y="141"/>
                      <a:pt x="114" y="90"/>
                    </a:cubicBezTo>
                    <a:cubicBezTo>
                      <a:pt x="126" y="46"/>
                      <a:pt x="112" y="53"/>
                      <a:pt x="101" y="46"/>
                    </a:cubicBezTo>
                    <a:close/>
                  </a:path>
                </a:pathLst>
              </a:custGeom>
              <a:solidFill>
                <a:srgbClr val="DCD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77" name="Freeform 366"/>
              <p:cNvSpPr>
                <a:spLocks/>
              </p:cNvSpPr>
              <p:nvPr/>
            </p:nvSpPr>
            <p:spPr bwMode="auto">
              <a:xfrm>
                <a:off x="10279064" y="3479800"/>
                <a:ext cx="177800" cy="160338"/>
              </a:xfrm>
              <a:custGeom>
                <a:avLst/>
                <a:gdLst>
                  <a:gd name="T0" fmla="*/ 10 w 85"/>
                  <a:gd name="T1" fmla="*/ 0 h 77"/>
                  <a:gd name="T2" fmla="*/ 77 w 85"/>
                  <a:gd name="T3" fmla="*/ 0 h 77"/>
                  <a:gd name="T4" fmla="*/ 85 w 85"/>
                  <a:gd name="T5" fmla="*/ 4 h 77"/>
                  <a:gd name="T6" fmla="*/ 80 w 85"/>
                  <a:gd name="T7" fmla="*/ 77 h 77"/>
                  <a:gd name="T8" fmla="*/ 77 w 85"/>
                  <a:gd name="T9" fmla="*/ 77 h 77"/>
                  <a:gd name="T10" fmla="*/ 10 w 85"/>
                  <a:gd name="T11" fmla="*/ 77 h 77"/>
                  <a:gd name="T12" fmla="*/ 0 w 85"/>
                  <a:gd name="T13" fmla="*/ 66 h 77"/>
                  <a:gd name="T14" fmla="*/ 0 w 85"/>
                  <a:gd name="T15" fmla="*/ 11 h 77"/>
                  <a:gd name="T16" fmla="*/ 10 w 85"/>
                  <a:gd name="T1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77">
                    <a:moveTo>
                      <a:pt x="10" y="0"/>
                    </a:moveTo>
                    <a:cubicBezTo>
                      <a:pt x="77" y="0"/>
                      <a:pt x="77" y="0"/>
                      <a:pt x="77" y="0"/>
                    </a:cubicBezTo>
                    <a:cubicBezTo>
                      <a:pt x="80" y="0"/>
                      <a:pt x="83" y="2"/>
                      <a:pt x="85" y="4"/>
                    </a:cubicBezTo>
                    <a:cubicBezTo>
                      <a:pt x="83" y="32"/>
                      <a:pt x="81" y="58"/>
                      <a:pt x="80" y="77"/>
                    </a:cubicBezTo>
                    <a:cubicBezTo>
                      <a:pt x="79" y="77"/>
                      <a:pt x="78" y="77"/>
                      <a:pt x="77" y="77"/>
                    </a:cubicBezTo>
                    <a:cubicBezTo>
                      <a:pt x="10" y="77"/>
                      <a:pt x="10" y="77"/>
                      <a:pt x="10" y="77"/>
                    </a:cubicBezTo>
                    <a:cubicBezTo>
                      <a:pt x="5" y="77"/>
                      <a:pt x="0" y="72"/>
                      <a:pt x="0" y="66"/>
                    </a:cubicBezTo>
                    <a:cubicBezTo>
                      <a:pt x="0" y="11"/>
                      <a:pt x="0" y="11"/>
                      <a:pt x="0" y="11"/>
                    </a:cubicBezTo>
                    <a:cubicBezTo>
                      <a:pt x="0" y="5"/>
                      <a:pt x="5" y="0"/>
                      <a:pt x="10" y="0"/>
                    </a:cubicBezTo>
                    <a:close/>
                  </a:path>
                </a:pathLst>
              </a:custGeom>
              <a:solidFill>
                <a:srgbClr val="D2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78" name="Freeform 367"/>
              <p:cNvSpPr>
                <a:spLocks/>
              </p:cNvSpPr>
              <p:nvPr/>
            </p:nvSpPr>
            <p:spPr bwMode="auto">
              <a:xfrm>
                <a:off x="10266364" y="3452813"/>
                <a:ext cx="200025" cy="49213"/>
              </a:xfrm>
              <a:custGeom>
                <a:avLst/>
                <a:gdLst>
                  <a:gd name="T0" fmla="*/ 0 w 96"/>
                  <a:gd name="T1" fmla="*/ 20 h 24"/>
                  <a:gd name="T2" fmla="*/ 4 w 96"/>
                  <a:gd name="T3" fmla="*/ 24 h 24"/>
                  <a:gd name="T4" fmla="*/ 90 w 96"/>
                  <a:gd name="T5" fmla="*/ 24 h 24"/>
                  <a:gd name="T6" fmla="*/ 94 w 96"/>
                  <a:gd name="T7" fmla="*/ 20 h 24"/>
                  <a:gd name="T8" fmla="*/ 96 w 96"/>
                  <a:gd name="T9" fmla="*/ 4 h 24"/>
                  <a:gd name="T10" fmla="*/ 92 w 96"/>
                  <a:gd name="T11" fmla="*/ 0 h 24"/>
                  <a:gd name="T12" fmla="*/ 4 w 96"/>
                  <a:gd name="T13" fmla="*/ 0 h 24"/>
                  <a:gd name="T14" fmla="*/ 0 w 96"/>
                  <a:gd name="T15" fmla="*/ 4 h 24"/>
                  <a:gd name="T16" fmla="*/ 0 w 96"/>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24">
                    <a:moveTo>
                      <a:pt x="0" y="20"/>
                    </a:moveTo>
                    <a:cubicBezTo>
                      <a:pt x="0" y="22"/>
                      <a:pt x="2" y="24"/>
                      <a:pt x="4" y="24"/>
                    </a:cubicBezTo>
                    <a:cubicBezTo>
                      <a:pt x="90" y="24"/>
                      <a:pt x="90" y="24"/>
                      <a:pt x="90" y="24"/>
                    </a:cubicBezTo>
                    <a:cubicBezTo>
                      <a:pt x="93" y="24"/>
                      <a:pt x="94" y="22"/>
                      <a:pt x="94" y="20"/>
                    </a:cubicBezTo>
                    <a:cubicBezTo>
                      <a:pt x="96" y="4"/>
                      <a:pt x="96" y="4"/>
                      <a:pt x="96" y="4"/>
                    </a:cubicBezTo>
                    <a:cubicBezTo>
                      <a:pt x="96" y="2"/>
                      <a:pt x="95" y="0"/>
                      <a:pt x="92" y="0"/>
                    </a:cubicBezTo>
                    <a:cubicBezTo>
                      <a:pt x="4" y="0"/>
                      <a:pt x="4" y="0"/>
                      <a:pt x="4" y="0"/>
                    </a:cubicBezTo>
                    <a:cubicBezTo>
                      <a:pt x="2" y="0"/>
                      <a:pt x="0" y="2"/>
                      <a:pt x="0" y="4"/>
                    </a:cubicBezTo>
                    <a:lnTo>
                      <a:pt x="0" y="20"/>
                    </a:lnTo>
                    <a:close/>
                  </a:path>
                </a:pathLst>
              </a:custGeom>
              <a:solidFill>
                <a:srgbClr val="C2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79" name="Freeform 368"/>
              <p:cNvSpPr>
                <a:spLocks/>
              </p:cNvSpPr>
              <p:nvPr/>
            </p:nvSpPr>
            <p:spPr bwMode="auto">
              <a:xfrm>
                <a:off x="9785351" y="2665413"/>
                <a:ext cx="230188" cy="561975"/>
              </a:xfrm>
              <a:custGeom>
                <a:avLst/>
                <a:gdLst>
                  <a:gd name="T0" fmla="*/ 73 w 110"/>
                  <a:gd name="T1" fmla="*/ 249 h 269"/>
                  <a:gd name="T2" fmla="*/ 12 w 110"/>
                  <a:gd name="T3" fmla="*/ 259 h 269"/>
                  <a:gd name="T4" fmla="*/ 74 w 110"/>
                  <a:gd name="T5" fmla="*/ 19 h 269"/>
                  <a:gd name="T6" fmla="*/ 110 w 110"/>
                  <a:gd name="T7" fmla="*/ 0 h 269"/>
                  <a:gd name="T8" fmla="*/ 79 w 110"/>
                  <a:gd name="T9" fmla="*/ 174 h 269"/>
                  <a:gd name="T10" fmla="*/ 73 w 110"/>
                  <a:gd name="T11" fmla="*/ 249 h 269"/>
                </a:gdLst>
                <a:ahLst/>
                <a:cxnLst>
                  <a:cxn ang="0">
                    <a:pos x="T0" y="T1"/>
                  </a:cxn>
                  <a:cxn ang="0">
                    <a:pos x="T2" y="T3"/>
                  </a:cxn>
                  <a:cxn ang="0">
                    <a:pos x="T4" y="T5"/>
                  </a:cxn>
                  <a:cxn ang="0">
                    <a:pos x="T6" y="T7"/>
                  </a:cxn>
                  <a:cxn ang="0">
                    <a:pos x="T8" y="T9"/>
                  </a:cxn>
                  <a:cxn ang="0">
                    <a:pos x="T10" y="T11"/>
                  </a:cxn>
                </a:cxnLst>
                <a:rect l="0" t="0" r="r" b="b"/>
                <a:pathLst>
                  <a:path w="110" h="269">
                    <a:moveTo>
                      <a:pt x="73" y="249"/>
                    </a:moveTo>
                    <a:cubicBezTo>
                      <a:pt x="62" y="269"/>
                      <a:pt x="17" y="260"/>
                      <a:pt x="12" y="259"/>
                    </a:cubicBezTo>
                    <a:cubicBezTo>
                      <a:pt x="0" y="195"/>
                      <a:pt x="25" y="54"/>
                      <a:pt x="74" y="19"/>
                    </a:cubicBezTo>
                    <a:cubicBezTo>
                      <a:pt x="88" y="9"/>
                      <a:pt x="110" y="0"/>
                      <a:pt x="110" y="0"/>
                    </a:cubicBezTo>
                    <a:cubicBezTo>
                      <a:pt x="110" y="0"/>
                      <a:pt x="76" y="89"/>
                      <a:pt x="79" y="174"/>
                    </a:cubicBezTo>
                    <a:lnTo>
                      <a:pt x="73" y="249"/>
                    </a:lnTo>
                    <a:close/>
                  </a:path>
                </a:pathLst>
              </a:custGeom>
              <a:solidFill>
                <a:srgbClr val="DCD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80" name="Freeform 369"/>
              <p:cNvSpPr>
                <a:spLocks/>
              </p:cNvSpPr>
              <p:nvPr/>
            </p:nvSpPr>
            <p:spPr bwMode="auto">
              <a:xfrm>
                <a:off x="9505951" y="2800350"/>
                <a:ext cx="34925" cy="87313"/>
              </a:xfrm>
              <a:custGeom>
                <a:avLst/>
                <a:gdLst>
                  <a:gd name="T0" fmla="*/ 2 w 17"/>
                  <a:gd name="T1" fmla="*/ 35 h 42"/>
                  <a:gd name="T2" fmla="*/ 10 w 17"/>
                  <a:gd name="T3" fmla="*/ 42 h 42"/>
                  <a:gd name="T4" fmla="*/ 17 w 17"/>
                  <a:gd name="T5" fmla="*/ 35 h 42"/>
                  <a:gd name="T6" fmla="*/ 17 w 17"/>
                  <a:gd name="T7" fmla="*/ 7 h 42"/>
                  <a:gd name="T8" fmla="*/ 9 w 17"/>
                  <a:gd name="T9" fmla="*/ 0 h 42"/>
                  <a:gd name="T10" fmla="*/ 0 w 17"/>
                  <a:gd name="T11" fmla="*/ 9 h 42"/>
                  <a:gd name="T12" fmla="*/ 2 w 17"/>
                  <a:gd name="T13" fmla="*/ 35 h 42"/>
                </a:gdLst>
                <a:ahLst/>
                <a:cxnLst>
                  <a:cxn ang="0">
                    <a:pos x="T0" y="T1"/>
                  </a:cxn>
                  <a:cxn ang="0">
                    <a:pos x="T2" y="T3"/>
                  </a:cxn>
                  <a:cxn ang="0">
                    <a:pos x="T4" y="T5"/>
                  </a:cxn>
                  <a:cxn ang="0">
                    <a:pos x="T6" y="T7"/>
                  </a:cxn>
                  <a:cxn ang="0">
                    <a:pos x="T8" y="T9"/>
                  </a:cxn>
                  <a:cxn ang="0">
                    <a:pos x="T10" y="T11"/>
                  </a:cxn>
                  <a:cxn ang="0">
                    <a:pos x="T12" y="T13"/>
                  </a:cxn>
                </a:cxnLst>
                <a:rect l="0" t="0" r="r" b="b"/>
                <a:pathLst>
                  <a:path w="17" h="42">
                    <a:moveTo>
                      <a:pt x="2" y="35"/>
                    </a:moveTo>
                    <a:cubicBezTo>
                      <a:pt x="2" y="39"/>
                      <a:pt x="6" y="42"/>
                      <a:pt x="10" y="42"/>
                    </a:cubicBezTo>
                    <a:cubicBezTo>
                      <a:pt x="15" y="42"/>
                      <a:pt x="17" y="39"/>
                      <a:pt x="17" y="35"/>
                    </a:cubicBezTo>
                    <a:cubicBezTo>
                      <a:pt x="17" y="7"/>
                      <a:pt x="17" y="7"/>
                      <a:pt x="17" y="7"/>
                    </a:cubicBezTo>
                    <a:cubicBezTo>
                      <a:pt x="17" y="3"/>
                      <a:pt x="9" y="0"/>
                      <a:pt x="9" y="0"/>
                    </a:cubicBezTo>
                    <a:cubicBezTo>
                      <a:pt x="4" y="0"/>
                      <a:pt x="0" y="6"/>
                      <a:pt x="0" y="9"/>
                    </a:cubicBezTo>
                    <a:lnTo>
                      <a:pt x="2" y="35"/>
                    </a:ln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81" name="Freeform 370"/>
              <p:cNvSpPr>
                <a:spLocks/>
              </p:cNvSpPr>
              <p:nvPr/>
            </p:nvSpPr>
            <p:spPr bwMode="auto">
              <a:xfrm>
                <a:off x="9377364" y="2771775"/>
                <a:ext cx="215900" cy="193675"/>
              </a:xfrm>
              <a:custGeom>
                <a:avLst/>
                <a:gdLst>
                  <a:gd name="T0" fmla="*/ 103 w 103"/>
                  <a:gd name="T1" fmla="*/ 63 h 93"/>
                  <a:gd name="T2" fmla="*/ 64 w 103"/>
                  <a:gd name="T3" fmla="*/ 21 h 93"/>
                  <a:gd name="T4" fmla="*/ 31 w 103"/>
                  <a:gd name="T5" fmla="*/ 1 h 93"/>
                  <a:gd name="T6" fmla="*/ 8 w 103"/>
                  <a:gd name="T7" fmla="*/ 39 h 93"/>
                  <a:gd name="T8" fmla="*/ 78 w 103"/>
                  <a:gd name="T9" fmla="*/ 91 h 93"/>
                  <a:gd name="T10" fmla="*/ 103 w 103"/>
                  <a:gd name="T11" fmla="*/ 63 h 93"/>
                </a:gdLst>
                <a:ahLst/>
                <a:cxnLst>
                  <a:cxn ang="0">
                    <a:pos x="T0" y="T1"/>
                  </a:cxn>
                  <a:cxn ang="0">
                    <a:pos x="T2" y="T3"/>
                  </a:cxn>
                  <a:cxn ang="0">
                    <a:pos x="T4" y="T5"/>
                  </a:cxn>
                  <a:cxn ang="0">
                    <a:pos x="T6" y="T7"/>
                  </a:cxn>
                  <a:cxn ang="0">
                    <a:pos x="T8" y="T9"/>
                  </a:cxn>
                  <a:cxn ang="0">
                    <a:pos x="T10" y="T11"/>
                  </a:cxn>
                </a:cxnLst>
                <a:rect l="0" t="0" r="r" b="b"/>
                <a:pathLst>
                  <a:path w="103" h="93">
                    <a:moveTo>
                      <a:pt x="103" y="63"/>
                    </a:moveTo>
                    <a:cubicBezTo>
                      <a:pt x="94" y="48"/>
                      <a:pt x="76" y="31"/>
                      <a:pt x="64" y="21"/>
                    </a:cubicBezTo>
                    <a:cubicBezTo>
                      <a:pt x="51" y="11"/>
                      <a:pt x="37" y="0"/>
                      <a:pt x="31" y="1"/>
                    </a:cubicBezTo>
                    <a:cubicBezTo>
                      <a:pt x="23" y="4"/>
                      <a:pt x="0" y="24"/>
                      <a:pt x="8" y="39"/>
                    </a:cubicBezTo>
                    <a:cubicBezTo>
                      <a:pt x="16" y="54"/>
                      <a:pt x="72" y="80"/>
                      <a:pt x="78" y="91"/>
                    </a:cubicBezTo>
                    <a:cubicBezTo>
                      <a:pt x="85" y="93"/>
                      <a:pt x="103" y="63"/>
                      <a:pt x="103" y="63"/>
                    </a:cubicBezTo>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82" name="Freeform 371"/>
              <p:cNvSpPr>
                <a:spLocks noEditPoints="1"/>
              </p:cNvSpPr>
              <p:nvPr/>
            </p:nvSpPr>
            <p:spPr bwMode="auto">
              <a:xfrm>
                <a:off x="9394826" y="285273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D4C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83" name="Freeform 372"/>
              <p:cNvSpPr>
                <a:spLocks/>
              </p:cNvSpPr>
              <p:nvPr/>
            </p:nvSpPr>
            <p:spPr bwMode="auto">
              <a:xfrm>
                <a:off x="9388476" y="2819400"/>
                <a:ext cx="204788" cy="144463"/>
              </a:xfrm>
              <a:custGeom>
                <a:avLst/>
                <a:gdLst>
                  <a:gd name="T0" fmla="*/ 4 w 98"/>
                  <a:gd name="T1" fmla="*/ 0 h 69"/>
                  <a:gd name="T2" fmla="*/ 3 w 98"/>
                  <a:gd name="T3" fmla="*/ 16 h 69"/>
                  <a:gd name="T4" fmla="*/ 3 w 98"/>
                  <a:gd name="T5" fmla="*/ 16 h 69"/>
                  <a:gd name="T6" fmla="*/ 3 w 98"/>
                  <a:gd name="T7" fmla="*/ 16 h 69"/>
                  <a:gd name="T8" fmla="*/ 3 w 98"/>
                  <a:gd name="T9" fmla="*/ 16 h 69"/>
                  <a:gd name="T10" fmla="*/ 3 w 98"/>
                  <a:gd name="T11" fmla="*/ 16 h 69"/>
                  <a:gd name="T12" fmla="*/ 73 w 98"/>
                  <a:gd name="T13" fmla="*/ 68 h 69"/>
                  <a:gd name="T14" fmla="*/ 74 w 98"/>
                  <a:gd name="T15" fmla="*/ 69 h 69"/>
                  <a:gd name="T16" fmla="*/ 98 w 98"/>
                  <a:gd name="T17" fmla="*/ 40 h 69"/>
                  <a:gd name="T18" fmla="*/ 98 w 98"/>
                  <a:gd name="T19" fmla="*/ 40 h 69"/>
                  <a:gd name="T20" fmla="*/ 97 w 98"/>
                  <a:gd name="T21" fmla="*/ 37 h 69"/>
                  <a:gd name="T22" fmla="*/ 76 w 98"/>
                  <a:gd name="T23" fmla="*/ 60 h 69"/>
                  <a:gd name="T24" fmla="*/ 76 w 98"/>
                  <a:gd name="T25" fmla="*/ 60 h 69"/>
                  <a:gd name="T26" fmla="*/ 5 w 98"/>
                  <a:gd name="T27" fmla="*/ 8 h 69"/>
                  <a:gd name="T28" fmla="*/ 4 w 98"/>
                  <a:gd name="T2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 h="69">
                    <a:moveTo>
                      <a:pt x="4" y="0"/>
                    </a:moveTo>
                    <a:cubicBezTo>
                      <a:pt x="1" y="5"/>
                      <a:pt x="0" y="11"/>
                      <a:pt x="3" y="16"/>
                    </a:cubicBezTo>
                    <a:cubicBezTo>
                      <a:pt x="3" y="16"/>
                      <a:pt x="3" y="16"/>
                      <a:pt x="3" y="16"/>
                    </a:cubicBezTo>
                    <a:cubicBezTo>
                      <a:pt x="3" y="16"/>
                      <a:pt x="3" y="16"/>
                      <a:pt x="3" y="16"/>
                    </a:cubicBezTo>
                    <a:cubicBezTo>
                      <a:pt x="3" y="16"/>
                      <a:pt x="3" y="16"/>
                      <a:pt x="3" y="16"/>
                    </a:cubicBezTo>
                    <a:cubicBezTo>
                      <a:pt x="3" y="16"/>
                      <a:pt x="3" y="16"/>
                      <a:pt x="3" y="16"/>
                    </a:cubicBezTo>
                    <a:cubicBezTo>
                      <a:pt x="11" y="31"/>
                      <a:pt x="67" y="57"/>
                      <a:pt x="73" y="68"/>
                    </a:cubicBezTo>
                    <a:cubicBezTo>
                      <a:pt x="74" y="69"/>
                      <a:pt x="74" y="69"/>
                      <a:pt x="74" y="69"/>
                    </a:cubicBezTo>
                    <a:cubicBezTo>
                      <a:pt x="81" y="69"/>
                      <a:pt x="98" y="40"/>
                      <a:pt x="98" y="40"/>
                    </a:cubicBezTo>
                    <a:cubicBezTo>
                      <a:pt x="98" y="40"/>
                      <a:pt x="98" y="40"/>
                      <a:pt x="98" y="40"/>
                    </a:cubicBezTo>
                    <a:cubicBezTo>
                      <a:pt x="98" y="39"/>
                      <a:pt x="97" y="38"/>
                      <a:pt x="97" y="37"/>
                    </a:cubicBezTo>
                    <a:cubicBezTo>
                      <a:pt x="91" y="46"/>
                      <a:pt x="81" y="60"/>
                      <a:pt x="76" y="60"/>
                    </a:cubicBezTo>
                    <a:cubicBezTo>
                      <a:pt x="76" y="60"/>
                      <a:pt x="76" y="60"/>
                      <a:pt x="76" y="60"/>
                    </a:cubicBezTo>
                    <a:cubicBezTo>
                      <a:pt x="69" y="49"/>
                      <a:pt x="14" y="23"/>
                      <a:pt x="5" y="8"/>
                    </a:cubicBezTo>
                    <a:cubicBezTo>
                      <a:pt x="4" y="5"/>
                      <a:pt x="3" y="3"/>
                      <a:pt x="4" y="0"/>
                    </a:cubicBezTo>
                  </a:path>
                </a:pathLst>
              </a:custGeom>
              <a:solidFill>
                <a:srgbClr val="D2AC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84" name="Freeform 373"/>
              <p:cNvSpPr>
                <a:spLocks/>
              </p:cNvSpPr>
              <p:nvPr/>
            </p:nvSpPr>
            <p:spPr bwMode="auto">
              <a:xfrm>
                <a:off x="9423401" y="2784475"/>
                <a:ext cx="92075" cy="66675"/>
              </a:xfrm>
              <a:custGeom>
                <a:avLst/>
                <a:gdLst>
                  <a:gd name="T0" fmla="*/ 43 w 44"/>
                  <a:gd name="T1" fmla="*/ 32 h 32"/>
                  <a:gd name="T2" fmla="*/ 38 w 44"/>
                  <a:gd name="T3" fmla="*/ 26 h 32"/>
                  <a:gd name="T4" fmla="*/ 23 w 44"/>
                  <a:gd name="T5" fmla="*/ 14 h 32"/>
                  <a:gd name="T6" fmla="*/ 15 w 44"/>
                  <a:gd name="T7" fmla="*/ 8 h 32"/>
                  <a:gd name="T8" fmla="*/ 8 w 44"/>
                  <a:gd name="T9" fmla="*/ 3 h 32"/>
                  <a:gd name="T10" fmla="*/ 2 w 44"/>
                  <a:gd name="T11" fmla="*/ 1 h 32"/>
                  <a:gd name="T12" fmla="*/ 1 w 44"/>
                  <a:gd name="T13" fmla="*/ 0 h 32"/>
                  <a:gd name="T14" fmla="*/ 2 w 44"/>
                  <a:gd name="T15" fmla="*/ 1 h 32"/>
                  <a:gd name="T16" fmla="*/ 7 w 44"/>
                  <a:gd name="T17" fmla="*/ 4 h 32"/>
                  <a:gd name="T18" fmla="*/ 14 w 44"/>
                  <a:gd name="T19" fmla="*/ 10 h 32"/>
                  <a:gd name="T20" fmla="*/ 22 w 44"/>
                  <a:gd name="T21" fmla="*/ 16 h 32"/>
                  <a:gd name="T22" fmla="*/ 37 w 44"/>
                  <a:gd name="T23" fmla="*/ 27 h 32"/>
                  <a:gd name="T24" fmla="*/ 43 w 44"/>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32">
                    <a:moveTo>
                      <a:pt x="43" y="32"/>
                    </a:moveTo>
                    <a:cubicBezTo>
                      <a:pt x="44" y="32"/>
                      <a:pt x="41" y="30"/>
                      <a:pt x="38" y="26"/>
                    </a:cubicBezTo>
                    <a:cubicBezTo>
                      <a:pt x="34" y="23"/>
                      <a:pt x="29" y="19"/>
                      <a:pt x="23" y="14"/>
                    </a:cubicBezTo>
                    <a:cubicBezTo>
                      <a:pt x="20" y="12"/>
                      <a:pt x="17" y="10"/>
                      <a:pt x="15" y="8"/>
                    </a:cubicBezTo>
                    <a:cubicBezTo>
                      <a:pt x="12" y="6"/>
                      <a:pt x="10" y="5"/>
                      <a:pt x="8" y="3"/>
                    </a:cubicBezTo>
                    <a:cubicBezTo>
                      <a:pt x="5" y="2"/>
                      <a:pt x="4" y="1"/>
                      <a:pt x="2" y="1"/>
                    </a:cubicBezTo>
                    <a:cubicBezTo>
                      <a:pt x="1" y="0"/>
                      <a:pt x="1" y="0"/>
                      <a:pt x="1" y="0"/>
                    </a:cubicBezTo>
                    <a:cubicBezTo>
                      <a:pt x="0" y="0"/>
                      <a:pt x="1" y="0"/>
                      <a:pt x="2" y="1"/>
                    </a:cubicBezTo>
                    <a:cubicBezTo>
                      <a:pt x="3" y="2"/>
                      <a:pt x="5" y="3"/>
                      <a:pt x="7" y="4"/>
                    </a:cubicBezTo>
                    <a:cubicBezTo>
                      <a:pt x="9" y="6"/>
                      <a:pt x="11" y="8"/>
                      <a:pt x="14" y="10"/>
                    </a:cubicBezTo>
                    <a:cubicBezTo>
                      <a:pt x="16" y="11"/>
                      <a:pt x="19" y="14"/>
                      <a:pt x="22" y="16"/>
                    </a:cubicBezTo>
                    <a:cubicBezTo>
                      <a:pt x="28" y="20"/>
                      <a:pt x="33" y="24"/>
                      <a:pt x="37" y="27"/>
                    </a:cubicBezTo>
                    <a:cubicBezTo>
                      <a:pt x="41" y="30"/>
                      <a:pt x="43" y="32"/>
                      <a:pt x="43" y="32"/>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85" name="Freeform 374"/>
              <p:cNvSpPr>
                <a:spLocks/>
              </p:cNvSpPr>
              <p:nvPr/>
            </p:nvSpPr>
            <p:spPr bwMode="auto">
              <a:xfrm>
                <a:off x="9404351" y="2801938"/>
                <a:ext cx="88900" cy="50800"/>
              </a:xfrm>
              <a:custGeom>
                <a:avLst/>
                <a:gdLst>
                  <a:gd name="T0" fmla="*/ 42 w 42"/>
                  <a:gd name="T1" fmla="*/ 24 h 24"/>
                  <a:gd name="T2" fmla="*/ 36 w 42"/>
                  <a:gd name="T3" fmla="*/ 20 h 24"/>
                  <a:gd name="T4" fmla="*/ 22 w 42"/>
                  <a:gd name="T5" fmla="*/ 11 h 24"/>
                  <a:gd name="T6" fmla="*/ 14 w 42"/>
                  <a:gd name="T7" fmla="*/ 6 h 24"/>
                  <a:gd name="T8" fmla="*/ 7 w 42"/>
                  <a:gd name="T9" fmla="*/ 3 h 24"/>
                  <a:gd name="T10" fmla="*/ 1 w 42"/>
                  <a:gd name="T11" fmla="*/ 0 h 24"/>
                  <a:gd name="T12" fmla="*/ 6 w 42"/>
                  <a:gd name="T13" fmla="*/ 4 h 24"/>
                  <a:gd name="T14" fmla="*/ 13 w 42"/>
                  <a:gd name="T15" fmla="*/ 8 h 24"/>
                  <a:gd name="T16" fmla="*/ 21 w 42"/>
                  <a:gd name="T17" fmla="*/ 13 h 24"/>
                  <a:gd name="T18" fmla="*/ 42 w 42"/>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24">
                    <a:moveTo>
                      <a:pt x="42" y="24"/>
                    </a:moveTo>
                    <a:cubicBezTo>
                      <a:pt x="42" y="24"/>
                      <a:pt x="40" y="22"/>
                      <a:pt x="36" y="20"/>
                    </a:cubicBezTo>
                    <a:cubicBezTo>
                      <a:pt x="33" y="18"/>
                      <a:pt x="28" y="14"/>
                      <a:pt x="22" y="11"/>
                    </a:cubicBezTo>
                    <a:cubicBezTo>
                      <a:pt x="19" y="9"/>
                      <a:pt x="16" y="8"/>
                      <a:pt x="14" y="6"/>
                    </a:cubicBezTo>
                    <a:cubicBezTo>
                      <a:pt x="11" y="5"/>
                      <a:pt x="9" y="4"/>
                      <a:pt x="7" y="3"/>
                    </a:cubicBezTo>
                    <a:cubicBezTo>
                      <a:pt x="3" y="1"/>
                      <a:pt x="1" y="0"/>
                      <a:pt x="1" y="0"/>
                    </a:cubicBezTo>
                    <a:cubicBezTo>
                      <a:pt x="0" y="1"/>
                      <a:pt x="3" y="2"/>
                      <a:pt x="6" y="4"/>
                    </a:cubicBezTo>
                    <a:cubicBezTo>
                      <a:pt x="8" y="5"/>
                      <a:pt x="11" y="6"/>
                      <a:pt x="13" y="8"/>
                    </a:cubicBezTo>
                    <a:cubicBezTo>
                      <a:pt x="15" y="9"/>
                      <a:pt x="18" y="11"/>
                      <a:pt x="21" y="13"/>
                    </a:cubicBezTo>
                    <a:cubicBezTo>
                      <a:pt x="33" y="19"/>
                      <a:pt x="42" y="24"/>
                      <a:pt x="42" y="24"/>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86" name="Freeform 375"/>
              <p:cNvSpPr>
                <a:spLocks/>
              </p:cNvSpPr>
              <p:nvPr/>
            </p:nvSpPr>
            <p:spPr bwMode="auto">
              <a:xfrm>
                <a:off x="9391651" y="2828925"/>
                <a:ext cx="80963" cy="36513"/>
              </a:xfrm>
              <a:custGeom>
                <a:avLst/>
                <a:gdLst>
                  <a:gd name="T0" fmla="*/ 38 w 38"/>
                  <a:gd name="T1" fmla="*/ 17 h 17"/>
                  <a:gd name="T2" fmla="*/ 20 w 38"/>
                  <a:gd name="T3" fmla="*/ 7 h 17"/>
                  <a:gd name="T4" fmla="*/ 6 w 38"/>
                  <a:gd name="T5" fmla="*/ 1 h 17"/>
                  <a:gd name="T6" fmla="*/ 2 w 38"/>
                  <a:gd name="T7" fmla="*/ 0 h 17"/>
                  <a:gd name="T8" fmla="*/ 0 w 38"/>
                  <a:gd name="T9" fmla="*/ 0 h 17"/>
                  <a:gd name="T10" fmla="*/ 2 w 38"/>
                  <a:gd name="T11" fmla="*/ 1 h 17"/>
                  <a:gd name="T12" fmla="*/ 6 w 38"/>
                  <a:gd name="T13" fmla="*/ 2 h 17"/>
                  <a:gd name="T14" fmla="*/ 19 w 38"/>
                  <a:gd name="T15" fmla="*/ 8 h 17"/>
                  <a:gd name="T16" fmla="*/ 38 w 38"/>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17">
                    <a:moveTo>
                      <a:pt x="38" y="17"/>
                    </a:moveTo>
                    <a:cubicBezTo>
                      <a:pt x="38" y="16"/>
                      <a:pt x="30" y="12"/>
                      <a:pt x="20" y="7"/>
                    </a:cubicBezTo>
                    <a:cubicBezTo>
                      <a:pt x="15" y="4"/>
                      <a:pt x="10" y="2"/>
                      <a:pt x="6" y="1"/>
                    </a:cubicBezTo>
                    <a:cubicBezTo>
                      <a:pt x="4" y="0"/>
                      <a:pt x="3" y="0"/>
                      <a:pt x="2" y="0"/>
                    </a:cubicBezTo>
                    <a:cubicBezTo>
                      <a:pt x="1" y="0"/>
                      <a:pt x="0" y="0"/>
                      <a:pt x="0" y="0"/>
                    </a:cubicBezTo>
                    <a:cubicBezTo>
                      <a:pt x="0" y="0"/>
                      <a:pt x="1" y="0"/>
                      <a:pt x="2" y="1"/>
                    </a:cubicBezTo>
                    <a:cubicBezTo>
                      <a:pt x="3" y="1"/>
                      <a:pt x="4" y="1"/>
                      <a:pt x="6" y="2"/>
                    </a:cubicBezTo>
                    <a:cubicBezTo>
                      <a:pt x="9" y="4"/>
                      <a:pt x="14" y="6"/>
                      <a:pt x="19" y="8"/>
                    </a:cubicBezTo>
                    <a:cubicBezTo>
                      <a:pt x="29" y="13"/>
                      <a:pt x="38" y="17"/>
                      <a:pt x="38" y="17"/>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87" name="Freeform 376"/>
              <p:cNvSpPr>
                <a:spLocks/>
              </p:cNvSpPr>
              <p:nvPr/>
            </p:nvSpPr>
            <p:spPr bwMode="auto">
              <a:xfrm>
                <a:off x="9534526" y="2887663"/>
                <a:ext cx="401638" cy="357188"/>
              </a:xfrm>
              <a:custGeom>
                <a:avLst/>
                <a:gdLst>
                  <a:gd name="T0" fmla="*/ 29 w 192"/>
                  <a:gd name="T1" fmla="*/ 3 h 171"/>
                  <a:gd name="T2" fmla="*/ 0 w 192"/>
                  <a:gd name="T3" fmla="*/ 32 h 171"/>
                  <a:gd name="T4" fmla="*/ 170 w 192"/>
                  <a:gd name="T5" fmla="*/ 170 h 171"/>
                  <a:gd name="T6" fmla="*/ 188 w 192"/>
                  <a:gd name="T7" fmla="*/ 125 h 171"/>
                  <a:gd name="T8" fmla="*/ 29 w 192"/>
                  <a:gd name="T9" fmla="*/ 3 h 171"/>
                </a:gdLst>
                <a:ahLst/>
                <a:cxnLst>
                  <a:cxn ang="0">
                    <a:pos x="T0" y="T1"/>
                  </a:cxn>
                  <a:cxn ang="0">
                    <a:pos x="T2" y="T3"/>
                  </a:cxn>
                  <a:cxn ang="0">
                    <a:pos x="T4" y="T5"/>
                  </a:cxn>
                  <a:cxn ang="0">
                    <a:pos x="T6" y="T7"/>
                  </a:cxn>
                  <a:cxn ang="0">
                    <a:pos x="T8" y="T9"/>
                  </a:cxn>
                </a:cxnLst>
                <a:rect l="0" t="0" r="r" b="b"/>
                <a:pathLst>
                  <a:path w="192" h="171">
                    <a:moveTo>
                      <a:pt x="29" y="3"/>
                    </a:moveTo>
                    <a:cubicBezTo>
                      <a:pt x="9" y="0"/>
                      <a:pt x="0" y="32"/>
                      <a:pt x="0" y="32"/>
                    </a:cubicBezTo>
                    <a:cubicBezTo>
                      <a:pt x="16" y="69"/>
                      <a:pt x="122" y="171"/>
                      <a:pt x="170" y="170"/>
                    </a:cubicBezTo>
                    <a:cubicBezTo>
                      <a:pt x="186" y="160"/>
                      <a:pt x="192" y="146"/>
                      <a:pt x="188" y="125"/>
                    </a:cubicBezTo>
                    <a:cubicBezTo>
                      <a:pt x="184" y="105"/>
                      <a:pt x="120" y="65"/>
                      <a:pt x="29" y="3"/>
                    </a:cubicBezTo>
                    <a:close/>
                  </a:path>
                </a:pathLst>
              </a:custGeom>
              <a:solidFill>
                <a:srgbClr val="DCD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88" name="Freeform 377"/>
              <p:cNvSpPr>
                <a:spLocks/>
              </p:cNvSpPr>
              <p:nvPr/>
            </p:nvSpPr>
            <p:spPr bwMode="auto">
              <a:xfrm>
                <a:off x="10099676" y="2520950"/>
                <a:ext cx="192088" cy="234950"/>
              </a:xfrm>
              <a:custGeom>
                <a:avLst/>
                <a:gdLst>
                  <a:gd name="T0" fmla="*/ 19 w 92"/>
                  <a:gd name="T1" fmla="*/ 0 h 113"/>
                  <a:gd name="T2" fmla="*/ 15 w 92"/>
                  <a:gd name="T3" fmla="*/ 54 h 113"/>
                  <a:gd name="T4" fmla="*/ 0 w 92"/>
                  <a:gd name="T5" fmla="*/ 67 h 113"/>
                  <a:gd name="T6" fmla="*/ 92 w 92"/>
                  <a:gd name="T7" fmla="*/ 69 h 113"/>
                  <a:gd name="T8" fmla="*/ 80 w 92"/>
                  <a:gd name="T9" fmla="*/ 44 h 113"/>
                  <a:gd name="T10" fmla="*/ 78 w 92"/>
                  <a:gd name="T11" fmla="*/ 2 h 113"/>
                  <a:gd name="T12" fmla="*/ 19 w 92"/>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92" h="113">
                    <a:moveTo>
                      <a:pt x="19" y="0"/>
                    </a:moveTo>
                    <a:cubicBezTo>
                      <a:pt x="19" y="17"/>
                      <a:pt x="23" y="47"/>
                      <a:pt x="15" y="54"/>
                    </a:cubicBezTo>
                    <a:cubicBezTo>
                      <a:pt x="7" y="61"/>
                      <a:pt x="0" y="67"/>
                      <a:pt x="0" y="67"/>
                    </a:cubicBezTo>
                    <a:cubicBezTo>
                      <a:pt x="21" y="105"/>
                      <a:pt x="43" y="113"/>
                      <a:pt x="92" y="69"/>
                    </a:cubicBezTo>
                    <a:cubicBezTo>
                      <a:pt x="81" y="66"/>
                      <a:pt x="80" y="51"/>
                      <a:pt x="80" y="44"/>
                    </a:cubicBezTo>
                    <a:cubicBezTo>
                      <a:pt x="79" y="38"/>
                      <a:pt x="78" y="2"/>
                      <a:pt x="78" y="2"/>
                    </a:cubicBezTo>
                    <a:cubicBezTo>
                      <a:pt x="19" y="0"/>
                      <a:pt x="19" y="0"/>
                      <a:pt x="19" y="0"/>
                    </a:cubicBezTo>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89" name="Freeform 378"/>
              <p:cNvSpPr>
                <a:spLocks noEditPoints="1"/>
              </p:cNvSpPr>
              <p:nvPr/>
            </p:nvSpPr>
            <p:spPr bwMode="auto">
              <a:xfrm>
                <a:off x="10139364" y="2520950"/>
                <a:ext cx="125413" cy="82550"/>
              </a:xfrm>
              <a:custGeom>
                <a:avLst/>
                <a:gdLst>
                  <a:gd name="T0" fmla="*/ 59 w 60"/>
                  <a:gd name="T1" fmla="*/ 2 h 40"/>
                  <a:gd name="T2" fmla="*/ 60 w 60"/>
                  <a:gd name="T3" fmla="*/ 24 h 40"/>
                  <a:gd name="T4" fmla="*/ 59 w 60"/>
                  <a:gd name="T5" fmla="*/ 2 h 40"/>
                  <a:gd name="T6" fmla="*/ 59 w 60"/>
                  <a:gd name="T7" fmla="*/ 2 h 40"/>
                  <a:gd name="T8" fmla="*/ 59 w 60"/>
                  <a:gd name="T9" fmla="*/ 2 h 40"/>
                  <a:gd name="T10" fmla="*/ 59 w 60"/>
                  <a:gd name="T11" fmla="*/ 2 h 40"/>
                  <a:gd name="T12" fmla="*/ 0 w 60"/>
                  <a:gd name="T13" fmla="*/ 0 h 40"/>
                  <a:gd name="T14" fmla="*/ 1 w 60"/>
                  <a:gd name="T15" fmla="*/ 40 h 40"/>
                  <a:gd name="T16" fmla="*/ 1 w 60"/>
                  <a:gd name="T17" fmla="*/ 40 h 40"/>
                  <a:gd name="T18" fmla="*/ 0 w 60"/>
                  <a:gd name="T19" fmla="*/ 0 h 40"/>
                  <a:gd name="T20" fmla="*/ 0 w 60"/>
                  <a:gd name="T21" fmla="*/ 0 h 40"/>
                  <a:gd name="T22" fmla="*/ 0 w 60"/>
                  <a:gd name="T23" fmla="*/ 0 h 40"/>
                  <a:gd name="T24" fmla="*/ 59 w 60"/>
                  <a:gd name="T25" fmla="*/ 2 h 40"/>
                  <a:gd name="T26" fmla="*/ 59 w 60"/>
                  <a:gd name="T27" fmla="*/ 2 h 40"/>
                  <a:gd name="T28" fmla="*/ 59 w 60"/>
                  <a:gd name="T29" fmla="*/ 2 h 40"/>
                  <a:gd name="T30" fmla="*/ 0 w 60"/>
                  <a:gd name="T3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40">
                    <a:moveTo>
                      <a:pt x="59" y="2"/>
                    </a:moveTo>
                    <a:cubicBezTo>
                      <a:pt x="59" y="2"/>
                      <a:pt x="60" y="13"/>
                      <a:pt x="60" y="24"/>
                    </a:cubicBezTo>
                    <a:cubicBezTo>
                      <a:pt x="60" y="13"/>
                      <a:pt x="59" y="2"/>
                      <a:pt x="59" y="2"/>
                    </a:cubicBezTo>
                    <a:moveTo>
                      <a:pt x="59" y="2"/>
                    </a:moveTo>
                    <a:cubicBezTo>
                      <a:pt x="59" y="2"/>
                      <a:pt x="59" y="2"/>
                      <a:pt x="59" y="2"/>
                    </a:cubicBezTo>
                    <a:cubicBezTo>
                      <a:pt x="59" y="2"/>
                      <a:pt x="59" y="2"/>
                      <a:pt x="59" y="2"/>
                    </a:cubicBezTo>
                    <a:moveTo>
                      <a:pt x="0" y="0"/>
                    </a:moveTo>
                    <a:cubicBezTo>
                      <a:pt x="0" y="11"/>
                      <a:pt x="2" y="28"/>
                      <a:pt x="1" y="40"/>
                    </a:cubicBezTo>
                    <a:cubicBezTo>
                      <a:pt x="1" y="40"/>
                      <a:pt x="1" y="40"/>
                      <a:pt x="1" y="40"/>
                    </a:cubicBezTo>
                    <a:cubicBezTo>
                      <a:pt x="2" y="28"/>
                      <a:pt x="0" y="11"/>
                      <a:pt x="0" y="0"/>
                    </a:cubicBezTo>
                    <a:moveTo>
                      <a:pt x="0" y="0"/>
                    </a:moveTo>
                    <a:cubicBezTo>
                      <a:pt x="0" y="0"/>
                      <a:pt x="0" y="0"/>
                      <a:pt x="0" y="0"/>
                    </a:cubicBezTo>
                    <a:cubicBezTo>
                      <a:pt x="59" y="2"/>
                      <a:pt x="59" y="2"/>
                      <a:pt x="59" y="2"/>
                    </a:cubicBezTo>
                    <a:cubicBezTo>
                      <a:pt x="59" y="2"/>
                      <a:pt x="59" y="2"/>
                      <a:pt x="59" y="2"/>
                    </a:cubicBezTo>
                    <a:cubicBezTo>
                      <a:pt x="59" y="2"/>
                      <a:pt x="59" y="2"/>
                      <a:pt x="59" y="2"/>
                    </a:cubicBezTo>
                    <a:cubicBezTo>
                      <a:pt x="0" y="0"/>
                      <a:pt x="0" y="0"/>
                      <a:pt x="0" y="0"/>
                    </a:cubicBezTo>
                  </a:path>
                </a:pathLst>
              </a:custGeom>
              <a:solidFill>
                <a:srgbClr val="D4C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90" name="Freeform 379"/>
              <p:cNvSpPr>
                <a:spLocks/>
              </p:cNvSpPr>
              <p:nvPr/>
            </p:nvSpPr>
            <p:spPr bwMode="auto">
              <a:xfrm>
                <a:off x="10139364" y="2520950"/>
                <a:ext cx="125413" cy="85725"/>
              </a:xfrm>
              <a:custGeom>
                <a:avLst/>
                <a:gdLst>
                  <a:gd name="T0" fmla="*/ 0 w 60"/>
                  <a:gd name="T1" fmla="*/ 0 h 41"/>
                  <a:gd name="T2" fmla="*/ 0 w 60"/>
                  <a:gd name="T3" fmla="*/ 0 h 41"/>
                  <a:gd name="T4" fmla="*/ 1 w 60"/>
                  <a:gd name="T5" fmla="*/ 40 h 41"/>
                  <a:gd name="T6" fmla="*/ 21 w 60"/>
                  <a:gd name="T7" fmla="*/ 41 h 41"/>
                  <a:gd name="T8" fmla="*/ 60 w 60"/>
                  <a:gd name="T9" fmla="*/ 36 h 41"/>
                  <a:gd name="T10" fmla="*/ 60 w 60"/>
                  <a:gd name="T11" fmla="*/ 24 h 41"/>
                  <a:gd name="T12" fmla="*/ 59 w 60"/>
                  <a:gd name="T13" fmla="*/ 2 h 41"/>
                  <a:gd name="T14" fmla="*/ 59 w 60"/>
                  <a:gd name="T15" fmla="*/ 2 h 41"/>
                  <a:gd name="T16" fmla="*/ 59 w 60"/>
                  <a:gd name="T17" fmla="*/ 2 h 41"/>
                  <a:gd name="T18" fmla="*/ 59 w 60"/>
                  <a:gd name="T19" fmla="*/ 2 h 41"/>
                  <a:gd name="T20" fmla="*/ 59 w 60"/>
                  <a:gd name="T21" fmla="*/ 2 h 41"/>
                  <a:gd name="T22" fmla="*/ 0 w 60"/>
                  <a:gd name="T2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41">
                    <a:moveTo>
                      <a:pt x="0" y="0"/>
                    </a:moveTo>
                    <a:cubicBezTo>
                      <a:pt x="0" y="0"/>
                      <a:pt x="0" y="0"/>
                      <a:pt x="0" y="0"/>
                    </a:cubicBezTo>
                    <a:cubicBezTo>
                      <a:pt x="0" y="11"/>
                      <a:pt x="2" y="28"/>
                      <a:pt x="1" y="40"/>
                    </a:cubicBezTo>
                    <a:cubicBezTo>
                      <a:pt x="7" y="41"/>
                      <a:pt x="14" y="41"/>
                      <a:pt x="21" y="41"/>
                    </a:cubicBezTo>
                    <a:cubicBezTo>
                      <a:pt x="34" y="41"/>
                      <a:pt x="47" y="40"/>
                      <a:pt x="60" y="36"/>
                    </a:cubicBezTo>
                    <a:cubicBezTo>
                      <a:pt x="60" y="33"/>
                      <a:pt x="60" y="28"/>
                      <a:pt x="60" y="24"/>
                    </a:cubicBezTo>
                    <a:cubicBezTo>
                      <a:pt x="60" y="13"/>
                      <a:pt x="59" y="2"/>
                      <a:pt x="59" y="2"/>
                    </a:cubicBezTo>
                    <a:cubicBezTo>
                      <a:pt x="59" y="2"/>
                      <a:pt x="59" y="2"/>
                      <a:pt x="59" y="2"/>
                    </a:cubicBezTo>
                    <a:cubicBezTo>
                      <a:pt x="59" y="2"/>
                      <a:pt x="59" y="2"/>
                      <a:pt x="59" y="2"/>
                    </a:cubicBezTo>
                    <a:cubicBezTo>
                      <a:pt x="59" y="2"/>
                      <a:pt x="59" y="2"/>
                      <a:pt x="59" y="2"/>
                    </a:cubicBezTo>
                    <a:cubicBezTo>
                      <a:pt x="59" y="2"/>
                      <a:pt x="59" y="2"/>
                      <a:pt x="59" y="2"/>
                    </a:cubicBezTo>
                    <a:cubicBezTo>
                      <a:pt x="0" y="0"/>
                      <a:pt x="0" y="0"/>
                      <a:pt x="0" y="0"/>
                    </a:cubicBezTo>
                  </a:path>
                </a:pathLst>
              </a:custGeom>
              <a:solidFill>
                <a:srgbClr val="D2AC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91" name="Freeform 380"/>
              <p:cNvSpPr>
                <a:spLocks/>
              </p:cNvSpPr>
              <p:nvPr/>
            </p:nvSpPr>
            <p:spPr bwMode="auto">
              <a:xfrm>
                <a:off x="10009189" y="2255838"/>
                <a:ext cx="74613" cy="173038"/>
              </a:xfrm>
              <a:custGeom>
                <a:avLst/>
                <a:gdLst>
                  <a:gd name="T0" fmla="*/ 29 w 36"/>
                  <a:gd name="T1" fmla="*/ 22 h 83"/>
                  <a:gd name="T2" fmla="*/ 2 w 36"/>
                  <a:gd name="T3" fmla="*/ 35 h 83"/>
                  <a:gd name="T4" fmla="*/ 36 w 36"/>
                  <a:gd name="T5" fmla="*/ 49 h 83"/>
                  <a:gd name="T6" fmla="*/ 29 w 36"/>
                  <a:gd name="T7" fmla="*/ 22 h 83"/>
                </a:gdLst>
                <a:ahLst/>
                <a:cxnLst>
                  <a:cxn ang="0">
                    <a:pos x="T0" y="T1"/>
                  </a:cxn>
                  <a:cxn ang="0">
                    <a:pos x="T2" y="T3"/>
                  </a:cxn>
                  <a:cxn ang="0">
                    <a:pos x="T4" y="T5"/>
                  </a:cxn>
                  <a:cxn ang="0">
                    <a:pos x="T6" y="T7"/>
                  </a:cxn>
                </a:cxnLst>
                <a:rect l="0" t="0" r="r" b="b"/>
                <a:pathLst>
                  <a:path w="36" h="83">
                    <a:moveTo>
                      <a:pt x="29" y="22"/>
                    </a:moveTo>
                    <a:cubicBezTo>
                      <a:pt x="20" y="0"/>
                      <a:pt x="0" y="9"/>
                      <a:pt x="2" y="35"/>
                    </a:cubicBezTo>
                    <a:cubicBezTo>
                      <a:pt x="4" y="62"/>
                      <a:pt x="20" y="83"/>
                      <a:pt x="36" y="49"/>
                    </a:cubicBezTo>
                    <a:cubicBezTo>
                      <a:pt x="31" y="28"/>
                      <a:pt x="29" y="22"/>
                      <a:pt x="29" y="22"/>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92" name="Freeform 381"/>
              <p:cNvSpPr>
                <a:spLocks/>
              </p:cNvSpPr>
              <p:nvPr/>
            </p:nvSpPr>
            <p:spPr bwMode="auto">
              <a:xfrm>
                <a:off x="10023476" y="2112963"/>
                <a:ext cx="39688" cy="236538"/>
              </a:xfrm>
              <a:custGeom>
                <a:avLst/>
                <a:gdLst>
                  <a:gd name="T0" fmla="*/ 6 w 19"/>
                  <a:gd name="T1" fmla="*/ 0 h 113"/>
                  <a:gd name="T2" fmla="*/ 18 w 19"/>
                  <a:gd name="T3" fmla="*/ 3 h 113"/>
                  <a:gd name="T4" fmla="*/ 19 w 19"/>
                  <a:gd name="T5" fmla="*/ 13 h 113"/>
                  <a:gd name="T6" fmla="*/ 15 w 19"/>
                  <a:gd name="T7" fmla="*/ 113 h 113"/>
                  <a:gd name="T8" fmla="*/ 8 w 19"/>
                  <a:gd name="T9" fmla="*/ 110 h 113"/>
                  <a:gd name="T10" fmla="*/ 7 w 19"/>
                  <a:gd name="T11" fmla="*/ 99 h 113"/>
                  <a:gd name="T12" fmla="*/ 6 w 19"/>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19" h="113">
                    <a:moveTo>
                      <a:pt x="6" y="0"/>
                    </a:moveTo>
                    <a:cubicBezTo>
                      <a:pt x="18" y="3"/>
                      <a:pt x="18" y="3"/>
                      <a:pt x="18" y="3"/>
                    </a:cubicBezTo>
                    <a:cubicBezTo>
                      <a:pt x="19" y="13"/>
                      <a:pt x="19" y="13"/>
                      <a:pt x="19" y="13"/>
                    </a:cubicBezTo>
                    <a:cubicBezTo>
                      <a:pt x="11" y="43"/>
                      <a:pt x="15" y="113"/>
                      <a:pt x="15" y="113"/>
                    </a:cubicBezTo>
                    <a:cubicBezTo>
                      <a:pt x="15" y="113"/>
                      <a:pt x="9" y="113"/>
                      <a:pt x="8" y="110"/>
                    </a:cubicBezTo>
                    <a:cubicBezTo>
                      <a:pt x="8" y="109"/>
                      <a:pt x="8" y="105"/>
                      <a:pt x="7" y="99"/>
                    </a:cubicBezTo>
                    <a:cubicBezTo>
                      <a:pt x="0" y="62"/>
                      <a:pt x="6" y="0"/>
                      <a:pt x="6" y="0"/>
                    </a:cubicBezTo>
                    <a:close/>
                  </a:path>
                </a:pathLst>
              </a:custGeom>
              <a:solidFill>
                <a:srgbClr val="8C4C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93" name="Freeform 382"/>
              <p:cNvSpPr>
                <a:spLocks/>
              </p:cNvSpPr>
              <p:nvPr/>
            </p:nvSpPr>
            <p:spPr bwMode="auto">
              <a:xfrm>
                <a:off x="10037764" y="2039938"/>
                <a:ext cx="347663" cy="574675"/>
              </a:xfrm>
              <a:custGeom>
                <a:avLst/>
                <a:gdLst>
                  <a:gd name="T0" fmla="*/ 13 w 166"/>
                  <a:gd name="T1" fmla="*/ 44 h 275"/>
                  <a:gd name="T2" fmla="*/ 4 w 166"/>
                  <a:gd name="T3" fmla="*/ 225 h 275"/>
                  <a:gd name="T4" fmla="*/ 144 w 166"/>
                  <a:gd name="T5" fmla="*/ 235 h 275"/>
                  <a:gd name="T6" fmla="*/ 154 w 166"/>
                  <a:gd name="T7" fmla="*/ 50 h 275"/>
                  <a:gd name="T8" fmla="*/ 13 w 166"/>
                  <a:gd name="T9" fmla="*/ 44 h 275"/>
                </a:gdLst>
                <a:ahLst/>
                <a:cxnLst>
                  <a:cxn ang="0">
                    <a:pos x="T0" y="T1"/>
                  </a:cxn>
                  <a:cxn ang="0">
                    <a:pos x="T2" y="T3"/>
                  </a:cxn>
                  <a:cxn ang="0">
                    <a:pos x="T4" y="T5"/>
                  </a:cxn>
                  <a:cxn ang="0">
                    <a:pos x="T6" y="T7"/>
                  </a:cxn>
                  <a:cxn ang="0">
                    <a:pos x="T8" y="T9"/>
                  </a:cxn>
                </a:cxnLst>
                <a:rect l="0" t="0" r="r" b="b"/>
                <a:pathLst>
                  <a:path w="166" h="275">
                    <a:moveTo>
                      <a:pt x="13" y="44"/>
                    </a:moveTo>
                    <a:cubicBezTo>
                      <a:pt x="0" y="80"/>
                      <a:pt x="10" y="124"/>
                      <a:pt x="4" y="225"/>
                    </a:cubicBezTo>
                    <a:cubicBezTo>
                      <a:pt x="3" y="242"/>
                      <a:pt x="82" y="275"/>
                      <a:pt x="144" y="235"/>
                    </a:cubicBezTo>
                    <a:cubicBezTo>
                      <a:pt x="150" y="226"/>
                      <a:pt x="166" y="68"/>
                      <a:pt x="154" y="50"/>
                    </a:cubicBezTo>
                    <a:cubicBezTo>
                      <a:pt x="141" y="31"/>
                      <a:pt x="51" y="0"/>
                      <a:pt x="13" y="44"/>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94" name="Freeform 383"/>
              <p:cNvSpPr>
                <a:spLocks/>
              </p:cNvSpPr>
              <p:nvPr/>
            </p:nvSpPr>
            <p:spPr bwMode="auto">
              <a:xfrm>
                <a:off x="10353676" y="2260600"/>
                <a:ext cx="76200" cy="182563"/>
              </a:xfrm>
              <a:custGeom>
                <a:avLst/>
                <a:gdLst>
                  <a:gd name="T0" fmla="*/ 8 w 36"/>
                  <a:gd name="T1" fmla="*/ 21 h 87"/>
                  <a:gd name="T2" fmla="*/ 35 w 36"/>
                  <a:gd name="T3" fmla="*/ 35 h 87"/>
                  <a:gd name="T4" fmla="*/ 0 w 36"/>
                  <a:gd name="T5" fmla="*/ 58 h 87"/>
                  <a:gd name="T6" fmla="*/ 8 w 36"/>
                  <a:gd name="T7" fmla="*/ 21 h 87"/>
                </a:gdLst>
                <a:ahLst/>
                <a:cxnLst>
                  <a:cxn ang="0">
                    <a:pos x="T0" y="T1"/>
                  </a:cxn>
                  <a:cxn ang="0">
                    <a:pos x="T2" y="T3"/>
                  </a:cxn>
                  <a:cxn ang="0">
                    <a:pos x="T4" y="T5"/>
                  </a:cxn>
                  <a:cxn ang="0">
                    <a:pos x="T6" y="T7"/>
                  </a:cxn>
                </a:cxnLst>
                <a:rect l="0" t="0" r="r" b="b"/>
                <a:pathLst>
                  <a:path w="36" h="87">
                    <a:moveTo>
                      <a:pt x="8" y="21"/>
                    </a:moveTo>
                    <a:cubicBezTo>
                      <a:pt x="17" y="0"/>
                      <a:pt x="36" y="8"/>
                      <a:pt x="35" y="35"/>
                    </a:cubicBezTo>
                    <a:cubicBezTo>
                      <a:pt x="33" y="61"/>
                      <a:pt x="8" y="87"/>
                      <a:pt x="0" y="58"/>
                    </a:cubicBezTo>
                    <a:cubicBezTo>
                      <a:pt x="6" y="37"/>
                      <a:pt x="8" y="21"/>
                      <a:pt x="8" y="21"/>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95" name="Freeform 384"/>
              <p:cNvSpPr>
                <a:spLocks/>
              </p:cNvSpPr>
              <p:nvPr/>
            </p:nvSpPr>
            <p:spPr bwMode="auto">
              <a:xfrm>
                <a:off x="10228264" y="2185988"/>
                <a:ext cx="98425" cy="85725"/>
              </a:xfrm>
              <a:custGeom>
                <a:avLst/>
                <a:gdLst>
                  <a:gd name="T0" fmla="*/ 41 w 47"/>
                  <a:gd name="T1" fmla="*/ 41 h 41"/>
                  <a:gd name="T2" fmla="*/ 6 w 47"/>
                  <a:gd name="T3" fmla="*/ 18 h 41"/>
                  <a:gd name="T4" fmla="*/ 5 w 47"/>
                  <a:gd name="T5" fmla="*/ 30 h 41"/>
                  <a:gd name="T6" fmla="*/ 41 w 47"/>
                  <a:gd name="T7" fmla="*/ 41 h 41"/>
                </a:gdLst>
                <a:ahLst/>
                <a:cxnLst>
                  <a:cxn ang="0">
                    <a:pos x="T0" y="T1"/>
                  </a:cxn>
                  <a:cxn ang="0">
                    <a:pos x="T2" y="T3"/>
                  </a:cxn>
                  <a:cxn ang="0">
                    <a:pos x="T4" y="T5"/>
                  </a:cxn>
                  <a:cxn ang="0">
                    <a:pos x="T6" y="T7"/>
                  </a:cxn>
                </a:cxnLst>
                <a:rect l="0" t="0" r="r" b="b"/>
                <a:pathLst>
                  <a:path w="47" h="41">
                    <a:moveTo>
                      <a:pt x="41" y="41"/>
                    </a:moveTo>
                    <a:cubicBezTo>
                      <a:pt x="47" y="23"/>
                      <a:pt x="19" y="0"/>
                      <a:pt x="6" y="18"/>
                    </a:cubicBezTo>
                    <a:cubicBezTo>
                      <a:pt x="1" y="27"/>
                      <a:pt x="0" y="32"/>
                      <a:pt x="5" y="30"/>
                    </a:cubicBezTo>
                    <a:cubicBezTo>
                      <a:pt x="10" y="29"/>
                      <a:pt x="21" y="28"/>
                      <a:pt x="41" y="41"/>
                    </a:cubicBezTo>
                    <a:close/>
                  </a:path>
                </a:pathLst>
              </a:custGeom>
              <a:solidFill>
                <a:srgbClr val="8C4C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96" name="Freeform 385"/>
              <p:cNvSpPr>
                <a:spLocks/>
              </p:cNvSpPr>
              <p:nvPr/>
            </p:nvSpPr>
            <p:spPr bwMode="auto">
              <a:xfrm>
                <a:off x="10061576" y="2171700"/>
                <a:ext cx="95250" cy="93663"/>
              </a:xfrm>
              <a:custGeom>
                <a:avLst/>
                <a:gdLst>
                  <a:gd name="T0" fmla="*/ 5 w 46"/>
                  <a:gd name="T1" fmla="*/ 45 h 45"/>
                  <a:gd name="T2" fmla="*/ 41 w 46"/>
                  <a:gd name="T3" fmla="*/ 20 h 45"/>
                  <a:gd name="T4" fmla="*/ 42 w 46"/>
                  <a:gd name="T5" fmla="*/ 35 h 45"/>
                  <a:gd name="T6" fmla="*/ 5 w 46"/>
                  <a:gd name="T7" fmla="*/ 45 h 45"/>
                </a:gdLst>
                <a:ahLst/>
                <a:cxnLst>
                  <a:cxn ang="0">
                    <a:pos x="T0" y="T1"/>
                  </a:cxn>
                  <a:cxn ang="0">
                    <a:pos x="T2" y="T3"/>
                  </a:cxn>
                  <a:cxn ang="0">
                    <a:pos x="T4" y="T5"/>
                  </a:cxn>
                  <a:cxn ang="0">
                    <a:pos x="T6" y="T7"/>
                  </a:cxn>
                </a:cxnLst>
                <a:rect l="0" t="0" r="r" b="b"/>
                <a:pathLst>
                  <a:path w="46" h="45">
                    <a:moveTo>
                      <a:pt x="5" y="45"/>
                    </a:moveTo>
                    <a:cubicBezTo>
                      <a:pt x="0" y="24"/>
                      <a:pt x="29" y="0"/>
                      <a:pt x="41" y="20"/>
                    </a:cubicBezTo>
                    <a:cubicBezTo>
                      <a:pt x="46" y="32"/>
                      <a:pt x="46" y="36"/>
                      <a:pt x="42" y="35"/>
                    </a:cubicBezTo>
                    <a:cubicBezTo>
                      <a:pt x="37" y="33"/>
                      <a:pt x="25" y="31"/>
                      <a:pt x="5" y="45"/>
                    </a:cubicBezTo>
                    <a:close/>
                  </a:path>
                </a:pathLst>
              </a:custGeom>
              <a:solidFill>
                <a:srgbClr val="8C4C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97" name="Freeform 386"/>
              <p:cNvSpPr>
                <a:spLocks/>
              </p:cNvSpPr>
              <p:nvPr/>
            </p:nvSpPr>
            <p:spPr bwMode="auto">
              <a:xfrm>
                <a:off x="10379076" y="2312988"/>
                <a:ext cx="31750" cy="63500"/>
              </a:xfrm>
              <a:custGeom>
                <a:avLst/>
                <a:gdLst>
                  <a:gd name="T0" fmla="*/ 0 w 15"/>
                  <a:gd name="T1" fmla="*/ 29 h 30"/>
                  <a:gd name="T2" fmla="*/ 2 w 15"/>
                  <a:gd name="T3" fmla="*/ 29 h 30"/>
                  <a:gd name="T4" fmla="*/ 7 w 15"/>
                  <a:gd name="T5" fmla="*/ 27 h 30"/>
                  <a:gd name="T6" fmla="*/ 9 w 15"/>
                  <a:gd name="T7" fmla="*/ 18 h 30"/>
                  <a:gd name="T8" fmla="*/ 6 w 15"/>
                  <a:gd name="T9" fmla="*/ 14 h 30"/>
                  <a:gd name="T10" fmla="*/ 5 w 15"/>
                  <a:gd name="T11" fmla="*/ 13 h 30"/>
                  <a:gd name="T12" fmla="*/ 5 w 15"/>
                  <a:gd name="T13" fmla="*/ 13 h 30"/>
                  <a:gd name="T14" fmla="*/ 5 w 15"/>
                  <a:gd name="T15" fmla="*/ 13 h 30"/>
                  <a:gd name="T16" fmla="*/ 5 w 15"/>
                  <a:gd name="T17" fmla="*/ 12 h 30"/>
                  <a:gd name="T18" fmla="*/ 8 w 15"/>
                  <a:gd name="T19" fmla="*/ 5 h 30"/>
                  <a:gd name="T20" fmla="*/ 10 w 15"/>
                  <a:gd name="T21" fmla="*/ 3 h 30"/>
                  <a:gd name="T22" fmla="*/ 12 w 15"/>
                  <a:gd name="T23" fmla="*/ 5 h 30"/>
                  <a:gd name="T24" fmla="*/ 13 w 15"/>
                  <a:gd name="T25" fmla="*/ 9 h 30"/>
                  <a:gd name="T26" fmla="*/ 14 w 15"/>
                  <a:gd name="T27" fmla="*/ 11 h 30"/>
                  <a:gd name="T28" fmla="*/ 15 w 15"/>
                  <a:gd name="T29" fmla="*/ 9 h 30"/>
                  <a:gd name="T30" fmla="*/ 15 w 15"/>
                  <a:gd name="T31" fmla="*/ 7 h 30"/>
                  <a:gd name="T32" fmla="*/ 14 w 15"/>
                  <a:gd name="T33" fmla="*/ 3 h 30"/>
                  <a:gd name="T34" fmla="*/ 13 w 15"/>
                  <a:gd name="T35" fmla="*/ 2 h 30"/>
                  <a:gd name="T36" fmla="*/ 11 w 15"/>
                  <a:gd name="T37" fmla="*/ 0 h 30"/>
                  <a:gd name="T38" fmla="*/ 6 w 15"/>
                  <a:gd name="T39" fmla="*/ 2 h 30"/>
                  <a:gd name="T40" fmla="*/ 1 w 15"/>
                  <a:gd name="T41" fmla="*/ 11 h 30"/>
                  <a:gd name="T42" fmla="*/ 1 w 15"/>
                  <a:gd name="T43" fmla="*/ 13 h 30"/>
                  <a:gd name="T44" fmla="*/ 1 w 15"/>
                  <a:gd name="T45" fmla="*/ 15 h 30"/>
                  <a:gd name="T46" fmla="*/ 1 w 15"/>
                  <a:gd name="T47" fmla="*/ 16 h 30"/>
                  <a:gd name="T48" fmla="*/ 1 w 15"/>
                  <a:gd name="T49" fmla="*/ 16 h 30"/>
                  <a:gd name="T50" fmla="*/ 2 w 15"/>
                  <a:gd name="T51" fmla="*/ 16 h 30"/>
                  <a:gd name="T52" fmla="*/ 3 w 15"/>
                  <a:gd name="T53" fmla="*/ 16 h 30"/>
                  <a:gd name="T54" fmla="*/ 3 w 15"/>
                  <a:gd name="T55" fmla="*/ 17 h 30"/>
                  <a:gd name="T56" fmla="*/ 3 w 15"/>
                  <a:gd name="T57" fmla="*/ 17 h 30"/>
                  <a:gd name="T58" fmla="*/ 4 w 15"/>
                  <a:gd name="T59" fmla="*/ 17 h 30"/>
                  <a:gd name="T60" fmla="*/ 6 w 15"/>
                  <a:gd name="T61" fmla="*/ 19 h 30"/>
                  <a:gd name="T62" fmla="*/ 5 w 15"/>
                  <a:gd name="T63" fmla="*/ 25 h 30"/>
                  <a:gd name="T64" fmla="*/ 0 w 15"/>
                  <a:gd name="T65"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 h="30">
                    <a:moveTo>
                      <a:pt x="0" y="29"/>
                    </a:moveTo>
                    <a:cubicBezTo>
                      <a:pt x="0" y="29"/>
                      <a:pt x="1" y="30"/>
                      <a:pt x="2" y="29"/>
                    </a:cubicBezTo>
                    <a:cubicBezTo>
                      <a:pt x="3" y="29"/>
                      <a:pt x="5" y="28"/>
                      <a:pt x="7" y="27"/>
                    </a:cubicBezTo>
                    <a:cubicBezTo>
                      <a:pt x="8" y="25"/>
                      <a:pt x="10" y="22"/>
                      <a:pt x="9" y="18"/>
                    </a:cubicBezTo>
                    <a:cubicBezTo>
                      <a:pt x="9" y="17"/>
                      <a:pt x="8" y="15"/>
                      <a:pt x="6" y="14"/>
                    </a:cubicBezTo>
                    <a:cubicBezTo>
                      <a:pt x="5" y="13"/>
                      <a:pt x="5" y="13"/>
                      <a:pt x="5" y="13"/>
                    </a:cubicBezTo>
                    <a:cubicBezTo>
                      <a:pt x="5" y="13"/>
                      <a:pt x="5" y="13"/>
                      <a:pt x="5" y="13"/>
                    </a:cubicBezTo>
                    <a:cubicBezTo>
                      <a:pt x="5" y="13"/>
                      <a:pt x="5" y="13"/>
                      <a:pt x="5" y="13"/>
                    </a:cubicBezTo>
                    <a:cubicBezTo>
                      <a:pt x="5" y="13"/>
                      <a:pt x="5" y="13"/>
                      <a:pt x="5" y="12"/>
                    </a:cubicBezTo>
                    <a:cubicBezTo>
                      <a:pt x="6" y="9"/>
                      <a:pt x="7" y="7"/>
                      <a:pt x="8" y="5"/>
                    </a:cubicBezTo>
                    <a:cubicBezTo>
                      <a:pt x="9" y="4"/>
                      <a:pt x="10" y="3"/>
                      <a:pt x="10" y="3"/>
                    </a:cubicBezTo>
                    <a:cubicBezTo>
                      <a:pt x="11" y="3"/>
                      <a:pt x="11" y="4"/>
                      <a:pt x="12" y="5"/>
                    </a:cubicBezTo>
                    <a:cubicBezTo>
                      <a:pt x="12" y="6"/>
                      <a:pt x="13" y="8"/>
                      <a:pt x="13" y="9"/>
                    </a:cubicBezTo>
                    <a:cubicBezTo>
                      <a:pt x="13" y="10"/>
                      <a:pt x="14" y="11"/>
                      <a:pt x="14" y="11"/>
                    </a:cubicBezTo>
                    <a:cubicBezTo>
                      <a:pt x="14" y="11"/>
                      <a:pt x="14" y="10"/>
                      <a:pt x="15" y="9"/>
                    </a:cubicBezTo>
                    <a:cubicBezTo>
                      <a:pt x="15" y="8"/>
                      <a:pt x="15" y="8"/>
                      <a:pt x="15" y="7"/>
                    </a:cubicBezTo>
                    <a:cubicBezTo>
                      <a:pt x="15" y="6"/>
                      <a:pt x="15" y="5"/>
                      <a:pt x="14" y="3"/>
                    </a:cubicBezTo>
                    <a:cubicBezTo>
                      <a:pt x="14" y="3"/>
                      <a:pt x="14" y="2"/>
                      <a:pt x="13" y="2"/>
                    </a:cubicBezTo>
                    <a:cubicBezTo>
                      <a:pt x="13" y="1"/>
                      <a:pt x="12" y="0"/>
                      <a:pt x="11" y="0"/>
                    </a:cubicBezTo>
                    <a:cubicBezTo>
                      <a:pt x="8" y="0"/>
                      <a:pt x="7" y="1"/>
                      <a:pt x="6" y="2"/>
                    </a:cubicBezTo>
                    <a:cubicBezTo>
                      <a:pt x="4" y="5"/>
                      <a:pt x="2" y="8"/>
                      <a:pt x="1" y="11"/>
                    </a:cubicBezTo>
                    <a:cubicBezTo>
                      <a:pt x="1" y="12"/>
                      <a:pt x="1" y="12"/>
                      <a:pt x="1" y="13"/>
                    </a:cubicBezTo>
                    <a:cubicBezTo>
                      <a:pt x="1" y="14"/>
                      <a:pt x="1" y="14"/>
                      <a:pt x="1" y="15"/>
                    </a:cubicBezTo>
                    <a:cubicBezTo>
                      <a:pt x="1" y="16"/>
                      <a:pt x="1" y="16"/>
                      <a:pt x="1" y="16"/>
                    </a:cubicBezTo>
                    <a:cubicBezTo>
                      <a:pt x="1" y="16"/>
                      <a:pt x="1" y="16"/>
                      <a:pt x="1" y="16"/>
                    </a:cubicBezTo>
                    <a:cubicBezTo>
                      <a:pt x="2" y="16"/>
                      <a:pt x="2" y="16"/>
                      <a:pt x="2" y="16"/>
                    </a:cubicBezTo>
                    <a:cubicBezTo>
                      <a:pt x="3" y="16"/>
                      <a:pt x="3" y="16"/>
                      <a:pt x="3" y="16"/>
                    </a:cubicBezTo>
                    <a:cubicBezTo>
                      <a:pt x="3" y="17"/>
                      <a:pt x="3" y="17"/>
                      <a:pt x="3" y="17"/>
                    </a:cubicBezTo>
                    <a:cubicBezTo>
                      <a:pt x="3" y="17"/>
                      <a:pt x="3" y="17"/>
                      <a:pt x="3" y="17"/>
                    </a:cubicBezTo>
                    <a:cubicBezTo>
                      <a:pt x="4" y="17"/>
                      <a:pt x="4" y="17"/>
                      <a:pt x="4" y="17"/>
                    </a:cubicBezTo>
                    <a:cubicBezTo>
                      <a:pt x="5" y="17"/>
                      <a:pt x="5" y="18"/>
                      <a:pt x="6" y="19"/>
                    </a:cubicBezTo>
                    <a:cubicBezTo>
                      <a:pt x="6" y="21"/>
                      <a:pt x="6" y="24"/>
                      <a:pt x="5" y="25"/>
                    </a:cubicBezTo>
                    <a:cubicBezTo>
                      <a:pt x="2" y="28"/>
                      <a:pt x="0" y="29"/>
                      <a:pt x="0" y="29"/>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98" name="Freeform 387"/>
              <p:cNvSpPr>
                <a:spLocks/>
              </p:cNvSpPr>
              <p:nvPr/>
            </p:nvSpPr>
            <p:spPr bwMode="auto">
              <a:xfrm>
                <a:off x="10153651" y="2322513"/>
                <a:ext cx="52388" cy="87313"/>
              </a:xfrm>
              <a:custGeom>
                <a:avLst/>
                <a:gdLst>
                  <a:gd name="T0" fmla="*/ 24 w 25"/>
                  <a:gd name="T1" fmla="*/ 0 h 42"/>
                  <a:gd name="T2" fmla="*/ 16 w 25"/>
                  <a:gd name="T3" fmla="*/ 6 h 42"/>
                  <a:gd name="T4" fmla="*/ 8 w 25"/>
                  <a:gd name="T5" fmla="*/ 14 h 42"/>
                  <a:gd name="T6" fmla="*/ 2 w 25"/>
                  <a:gd name="T7" fmla="*/ 24 h 42"/>
                  <a:gd name="T8" fmla="*/ 1 w 25"/>
                  <a:gd name="T9" fmla="*/ 31 h 42"/>
                  <a:gd name="T10" fmla="*/ 4 w 25"/>
                  <a:gd name="T11" fmla="*/ 38 h 42"/>
                  <a:gd name="T12" fmla="*/ 10 w 25"/>
                  <a:gd name="T13" fmla="*/ 41 h 42"/>
                  <a:gd name="T14" fmla="*/ 12 w 25"/>
                  <a:gd name="T15" fmla="*/ 42 h 42"/>
                  <a:gd name="T16" fmla="*/ 15 w 25"/>
                  <a:gd name="T17" fmla="*/ 42 h 42"/>
                  <a:gd name="T18" fmla="*/ 17 w 25"/>
                  <a:gd name="T19" fmla="*/ 42 h 42"/>
                  <a:gd name="T20" fmla="*/ 19 w 25"/>
                  <a:gd name="T21" fmla="*/ 42 h 42"/>
                  <a:gd name="T22" fmla="*/ 22 w 25"/>
                  <a:gd name="T23" fmla="*/ 41 h 42"/>
                  <a:gd name="T24" fmla="*/ 25 w 25"/>
                  <a:gd name="T25" fmla="*/ 41 h 42"/>
                  <a:gd name="T26" fmla="*/ 22 w 25"/>
                  <a:gd name="T27" fmla="*/ 40 h 42"/>
                  <a:gd name="T28" fmla="*/ 19 w 25"/>
                  <a:gd name="T29" fmla="*/ 40 h 42"/>
                  <a:gd name="T30" fmla="*/ 15 w 25"/>
                  <a:gd name="T31" fmla="*/ 39 h 42"/>
                  <a:gd name="T32" fmla="*/ 13 w 25"/>
                  <a:gd name="T33" fmla="*/ 38 h 42"/>
                  <a:gd name="T34" fmla="*/ 11 w 25"/>
                  <a:gd name="T35" fmla="*/ 37 h 42"/>
                  <a:gd name="T36" fmla="*/ 7 w 25"/>
                  <a:gd name="T37" fmla="*/ 35 h 42"/>
                  <a:gd name="T38" fmla="*/ 6 w 25"/>
                  <a:gd name="T39" fmla="*/ 31 h 42"/>
                  <a:gd name="T40" fmla="*/ 7 w 25"/>
                  <a:gd name="T41" fmla="*/ 26 h 42"/>
                  <a:gd name="T42" fmla="*/ 12 w 25"/>
                  <a:gd name="T43" fmla="*/ 17 h 42"/>
                  <a:gd name="T44" fmla="*/ 18 w 25"/>
                  <a:gd name="T45" fmla="*/ 8 h 42"/>
                  <a:gd name="T46" fmla="*/ 24 w 25"/>
                  <a:gd name="T4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 h="42">
                    <a:moveTo>
                      <a:pt x="24" y="0"/>
                    </a:moveTo>
                    <a:cubicBezTo>
                      <a:pt x="24" y="0"/>
                      <a:pt x="21" y="2"/>
                      <a:pt x="16" y="6"/>
                    </a:cubicBezTo>
                    <a:cubicBezTo>
                      <a:pt x="13" y="8"/>
                      <a:pt x="11" y="11"/>
                      <a:pt x="8" y="14"/>
                    </a:cubicBezTo>
                    <a:cubicBezTo>
                      <a:pt x="6" y="17"/>
                      <a:pt x="3" y="20"/>
                      <a:pt x="2" y="24"/>
                    </a:cubicBezTo>
                    <a:cubicBezTo>
                      <a:pt x="1" y="26"/>
                      <a:pt x="0" y="29"/>
                      <a:pt x="1" y="31"/>
                    </a:cubicBezTo>
                    <a:cubicBezTo>
                      <a:pt x="1" y="34"/>
                      <a:pt x="2" y="37"/>
                      <a:pt x="4" y="38"/>
                    </a:cubicBezTo>
                    <a:cubicBezTo>
                      <a:pt x="6" y="40"/>
                      <a:pt x="8" y="41"/>
                      <a:pt x="10" y="41"/>
                    </a:cubicBezTo>
                    <a:cubicBezTo>
                      <a:pt x="11" y="42"/>
                      <a:pt x="11" y="42"/>
                      <a:pt x="12" y="42"/>
                    </a:cubicBezTo>
                    <a:cubicBezTo>
                      <a:pt x="13" y="42"/>
                      <a:pt x="14" y="42"/>
                      <a:pt x="15" y="42"/>
                    </a:cubicBezTo>
                    <a:cubicBezTo>
                      <a:pt x="16" y="42"/>
                      <a:pt x="16" y="42"/>
                      <a:pt x="17" y="42"/>
                    </a:cubicBezTo>
                    <a:cubicBezTo>
                      <a:pt x="18" y="42"/>
                      <a:pt x="19" y="42"/>
                      <a:pt x="19" y="42"/>
                    </a:cubicBezTo>
                    <a:cubicBezTo>
                      <a:pt x="20" y="42"/>
                      <a:pt x="22" y="42"/>
                      <a:pt x="22" y="41"/>
                    </a:cubicBezTo>
                    <a:cubicBezTo>
                      <a:pt x="24" y="41"/>
                      <a:pt x="25" y="41"/>
                      <a:pt x="25" y="41"/>
                    </a:cubicBezTo>
                    <a:cubicBezTo>
                      <a:pt x="25" y="41"/>
                      <a:pt x="24" y="41"/>
                      <a:pt x="22" y="40"/>
                    </a:cubicBezTo>
                    <a:cubicBezTo>
                      <a:pt x="22" y="40"/>
                      <a:pt x="20" y="40"/>
                      <a:pt x="19" y="40"/>
                    </a:cubicBezTo>
                    <a:cubicBezTo>
                      <a:pt x="18" y="39"/>
                      <a:pt x="17" y="39"/>
                      <a:pt x="15" y="39"/>
                    </a:cubicBezTo>
                    <a:cubicBezTo>
                      <a:pt x="15" y="39"/>
                      <a:pt x="14" y="38"/>
                      <a:pt x="13" y="38"/>
                    </a:cubicBezTo>
                    <a:cubicBezTo>
                      <a:pt x="12" y="38"/>
                      <a:pt x="12" y="38"/>
                      <a:pt x="11" y="37"/>
                    </a:cubicBezTo>
                    <a:cubicBezTo>
                      <a:pt x="10" y="37"/>
                      <a:pt x="8" y="36"/>
                      <a:pt x="7" y="35"/>
                    </a:cubicBezTo>
                    <a:cubicBezTo>
                      <a:pt x="7" y="34"/>
                      <a:pt x="6" y="33"/>
                      <a:pt x="6" y="31"/>
                    </a:cubicBezTo>
                    <a:cubicBezTo>
                      <a:pt x="6" y="30"/>
                      <a:pt x="7" y="28"/>
                      <a:pt x="7" y="26"/>
                    </a:cubicBezTo>
                    <a:cubicBezTo>
                      <a:pt x="8" y="23"/>
                      <a:pt x="10" y="20"/>
                      <a:pt x="12" y="17"/>
                    </a:cubicBezTo>
                    <a:cubicBezTo>
                      <a:pt x="15" y="14"/>
                      <a:pt x="17" y="11"/>
                      <a:pt x="18" y="8"/>
                    </a:cubicBezTo>
                    <a:cubicBezTo>
                      <a:pt x="22" y="3"/>
                      <a:pt x="24" y="0"/>
                      <a:pt x="24" y="0"/>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99" name="Freeform 388"/>
              <p:cNvSpPr>
                <a:spLocks/>
              </p:cNvSpPr>
              <p:nvPr/>
            </p:nvSpPr>
            <p:spPr bwMode="auto">
              <a:xfrm>
                <a:off x="9990139" y="1981200"/>
                <a:ext cx="447675" cy="382588"/>
              </a:xfrm>
              <a:custGeom>
                <a:avLst/>
                <a:gdLst>
                  <a:gd name="T0" fmla="*/ 0 w 214"/>
                  <a:gd name="T1" fmla="*/ 52 h 183"/>
                  <a:gd name="T2" fmla="*/ 26 w 214"/>
                  <a:gd name="T3" fmla="*/ 26 h 183"/>
                  <a:gd name="T4" fmla="*/ 37 w 214"/>
                  <a:gd name="T5" fmla="*/ 29 h 183"/>
                  <a:gd name="T6" fmla="*/ 63 w 214"/>
                  <a:gd name="T7" fmla="*/ 8 h 183"/>
                  <a:gd name="T8" fmla="*/ 84 w 214"/>
                  <a:gd name="T9" fmla="*/ 18 h 183"/>
                  <a:gd name="T10" fmla="*/ 102 w 214"/>
                  <a:gd name="T11" fmla="*/ 10 h 183"/>
                  <a:gd name="T12" fmla="*/ 114 w 214"/>
                  <a:gd name="T13" fmla="*/ 13 h 183"/>
                  <a:gd name="T14" fmla="*/ 143 w 214"/>
                  <a:gd name="T15" fmla="*/ 0 h 183"/>
                  <a:gd name="T16" fmla="*/ 180 w 214"/>
                  <a:gd name="T17" fmla="*/ 29 h 183"/>
                  <a:gd name="T18" fmla="*/ 202 w 214"/>
                  <a:gd name="T19" fmla="*/ 55 h 183"/>
                  <a:gd name="T20" fmla="*/ 199 w 214"/>
                  <a:gd name="T21" fmla="*/ 67 h 183"/>
                  <a:gd name="T22" fmla="*/ 214 w 214"/>
                  <a:gd name="T23" fmla="*/ 90 h 183"/>
                  <a:gd name="T24" fmla="*/ 204 w 214"/>
                  <a:gd name="T25" fmla="*/ 111 h 183"/>
                  <a:gd name="T26" fmla="*/ 207 w 214"/>
                  <a:gd name="T27" fmla="*/ 120 h 183"/>
                  <a:gd name="T28" fmla="*/ 193 w 214"/>
                  <a:gd name="T29" fmla="*/ 136 h 183"/>
                  <a:gd name="T30" fmla="*/ 185 w 214"/>
                  <a:gd name="T31" fmla="*/ 151 h 183"/>
                  <a:gd name="T32" fmla="*/ 177 w 214"/>
                  <a:gd name="T33" fmla="*/ 182 h 183"/>
                  <a:gd name="T34" fmla="*/ 169 w 214"/>
                  <a:gd name="T35" fmla="*/ 181 h 183"/>
                  <a:gd name="T36" fmla="*/ 172 w 214"/>
                  <a:gd name="T37" fmla="*/ 150 h 183"/>
                  <a:gd name="T38" fmla="*/ 169 w 214"/>
                  <a:gd name="T39" fmla="*/ 134 h 183"/>
                  <a:gd name="T40" fmla="*/ 165 w 214"/>
                  <a:gd name="T41" fmla="*/ 117 h 183"/>
                  <a:gd name="T42" fmla="*/ 157 w 214"/>
                  <a:gd name="T43" fmla="*/ 101 h 183"/>
                  <a:gd name="T44" fmla="*/ 161 w 214"/>
                  <a:gd name="T45" fmla="*/ 88 h 183"/>
                  <a:gd name="T46" fmla="*/ 99 w 214"/>
                  <a:gd name="T47" fmla="*/ 91 h 183"/>
                  <a:gd name="T48" fmla="*/ 80 w 214"/>
                  <a:gd name="T49" fmla="*/ 100 h 183"/>
                  <a:gd name="T50" fmla="*/ 56 w 214"/>
                  <a:gd name="T51" fmla="*/ 84 h 183"/>
                  <a:gd name="T52" fmla="*/ 40 w 214"/>
                  <a:gd name="T53" fmla="*/ 74 h 183"/>
                  <a:gd name="T54" fmla="*/ 32 w 214"/>
                  <a:gd name="T55" fmla="*/ 78 h 183"/>
                  <a:gd name="T56" fmla="*/ 32 w 214"/>
                  <a:gd name="T57" fmla="*/ 78 h 183"/>
                  <a:gd name="T58" fmla="*/ 24 w 214"/>
                  <a:gd name="T59" fmla="*/ 87 h 183"/>
                  <a:gd name="T60" fmla="*/ 28 w 214"/>
                  <a:gd name="T61" fmla="*/ 95 h 183"/>
                  <a:gd name="T62" fmla="*/ 20 w 214"/>
                  <a:gd name="T63" fmla="*/ 107 h 183"/>
                  <a:gd name="T64" fmla="*/ 10 w 214"/>
                  <a:gd name="T65" fmla="*/ 97 h 183"/>
                  <a:gd name="T66" fmla="*/ 16 w 214"/>
                  <a:gd name="T67" fmla="*/ 85 h 183"/>
                  <a:gd name="T68" fmla="*/ 13 w 214"/>
                  <a:gd name="T69" fmla="*/ 78 h 183"/>
                  <a:gd name="T70" fmla="*/ 14 w 214"/>
                  <a:gd name="T71" fmla="*/ 75 h 183"/>
                  <a:gd name="T72" fmla="*/ 0 w 214"/>
                  <a:gd name="T73" fmla="*/ 5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4" h="183">
                    <a:moveTo>
                      <a:pt x="0" y="52"/>
                    </a:moveTo>
                    <a:cubicBezTo>
                      <a:pt x="0" y="38"/>
                      <a:pt x="12" y="26"/>
                      <a:pt x="26" y="26"/>
                    </a:cubicBezTo>
                    <a:cubicBezTo>
                      <a:pt x="30" y="26"/>
                      <a:pt x="34" y="27"/>
                      <a:pt x="37" y="29"/>
                    </a:cubicBezTo>
                    <a:cubicBezTo>
                      <a:pt x="40" y="17"/>
                      <a:pt x="50" y="8"/>
                      <a:pt x="63" y="8"/>
                    </a:cubicBezTo>
                    <a:cubicBezTo>
                      <a:pt x="72" y="8"/>
                      <a:pt x="79" y="12"/>
                      <a:pt x="84" y="18"/>
                    </a:cubicBezTo>
                    <a:cubicBezTo>
                      <a:pt x="89" y="13"/>
                      <a:pt x="95" y="10"/>
                      <a:pt x="102" y="10"/>
                    </a:cubicBezTo>
                    <a:cubicBezTo>
                      <a:pt x="106" y="10"/>
                      <a:pt x="110" y="11"/>
                      <a:pt x="114" y="13"/>
                    </a:cubicBezTo>
                    <a:cubicBezTo>
                      <a:pt x="121" y="5"/>
                      <a:pt x="131" y="0"/>
                      <a:pt x="143" y="0"/>
                    </a:cubicBezTo>
                    <a:cubicBezTo>
                      <a:pt x="161" y="0"/>
                      <a:pt x="176" y="12"/>
                      <a:pt x="180" y="29"/>
                    </a:cubicBezTo>
                    <a:cubicBezTo>
                      <a:pt x="192" y="31"/>
                      <a:pt x="202" y="42"/>
                      <a:pt x="202" y="55"/>
                    </a:cubicBezTo>
                    <a:cubicBezTo>
                      <a:pt x="202" y="59"/>
                      <a:pt x="201" y="63"/>
                      <a:pt x="199" y="67"/>
                    </a:cubicBezTo>
                    <a:cubicBezTo>
                      <a:pt x="208" y="71"/>
                      <a:pt x="214" y="80"/>
                      <a:pt x="214" y="90"/>
                    </a:cubicBezTo>
                    <a:cubicBezTo>
                      <a:pt x="214" y="99"/>
                      <a:pt x="210" y="106"/>
                      <a:pt x="204" y="111"/>
                    </a:cubicBezTo>
                    <a:cubicBezTo>
                      <a:pt x="206" y="114"/>
                      <a:pt x="207" y="117"/>
                      <a:pt x="207" y="120"/>
                    </a:cubicBezTo>
                    <a:cubicBezTo>
                      <a:pt x="207" y="128"/>
                      <a:pt x="200" y="135"/>
                      <a:pt x="193" y="136"/>
                    </a:cubicBezTo>
                    <a:cubicBezTo>
                      <a:pt x="189" y="143"/>
                      <a:pt x="187" y="149"/>
                      <a:pt x="185" y="151"/>
                    </a:cubicBezTo>
                    <a:cubicBezTo>
                      <a:pt x="180" y="159"/>
                      <a:pt x="177" y="182"/>
                      <a:pt x="177" y="182"/>
                    </a:cubicBezTo>
                    <a:cubicBezTo>
                      <a:pt x="177" y="182"/>
                      <a:pt x="170" y="183"/>
                      <a:pt x="169" y="181"/>
                    </a:cubicBezTo>
                    <a:cubicBezTo>
                      <a:pt x="167" y="178"/>
                      <a:pt x="170" y="159"/>
                      <a:pt x="172" y="150"/>
                    </a:cubicBezTo>
                    <a:cubicBezTo>
                      <a:pt x="174" y="145"/>
                      <a:pt x="170" y="139"/>
                      <a:pt x="169" y="134"/>
                    </a:cubicBezTo>
                    <a:cubicBezTo>
                      <a:pt x="169" y="132"/>
                      <a:pt x="166" y="125"/>
                      <a:pt x="165" y="117"/>
                    </a:cubicBezTo>
                    <a:cubicBezTo>
                      <a:pt x="160" y="113"/>
                      <a:pt x="157" y="107"/>
                      <a:pt x="157" y="101"/>
                    </a:cubicBezTo>
                    <a:cubicBezTo>
                      <a:pt x="157" y="96"/>
                      <a:pt x="158" y="91"/>
                      <a:pt x="161" y="88"/>
                    </a:cubicBezTo>
                    <a:cubicBezTo>
                      <a:pt x="143" y="93"/>
                      <a:pt x="114" y="99"/>
                      <a:pt x="99" y="91"/>
                    </a:cubicBezTo>
                    <a:cubicBezTo>
                      <a:pt x="94" y="96"/>
                      <a:pt x="87" y="100"/>
                      <a:pt x="80" y="100"/>
                    </a:cubicBezTo>
                    <a:cubicBezTo>
                      <a:pt x="69" y="100"/>
                      <a:pt x="60" y="93"/>
                      <a:pt x="56" y="84"/>
                    </a:cubicBezTo>
                    <a:cubicBezTo>
                      <a:pt x="50" y="82"/>
                      <a:pt x="45" y="79"/>
                      <a:pt x="40" y="74"/>
                    </a:cubicBezTo>
                    <a:cubicBezTo>
                      <a:pt x="38" y="76"/>
                      <a:pt x="35" y="77"/>
                      <a:pt x="32" y="78"/>
                    </a:cubicBezTo>
                    <a:cubicBezTo>
                      <a:pt x="32" y="78"/>
                      <a:pt x="32" y="78"/>
                      <a:pt x="32" y="78"/>
                    </a:cubicBezTo>
                    <a:cubicBezTo>
                      <a:pt x="32" y="83"/>
                      <a:pt x="28" y="87"/>
                      <a:pt x="24" y="87"/>
                    </a:cubicBezTo>
                    <a:cubicBezTo>
                      <a:pt x="26" y="89"/>
                      <a:pt x="27" y="92"/>
                      <a:pt x="28" y="95"/>
                    </a:cubicBezTo>
                    <a:cubicBezTo>
                      <a:pt x="28" y="101"/>
                      <a:pt x="25" y="107"/>
                      <a:pt x="20" y="107"/>
                    </a:cubicBezTo>
                    <a:cubicBezTo>
                      <a:pt x="16" y="108"/>
                      <a:pt x="11" y="103"/>
                      <a:pt x="10" y="97"/>
                    </a:cubicBezTo>
                    <a:cubicBezTo>
                      <a:pt x="10" y="92"/>
                      <a:pt x="12" y="87"/>
                      <a:pt x="16" y="85"/>
                    </a:cubicBezTo>
                    <a:cubicBezTo>
                      <a:pt x="14" y="84"/>
                      <a:pt x="13" y="81"/>
                      <a:pt x="13" y="78"/>
                    </a:cubicBezTo>
                    <a:cubicBezTo>
                      <a:pt x="13" y="77"/>
                      <a:pt x="13" y="76"/>
                      <a:pt x="14" y="75"/>
                    </a:cubicBezTo>
                    <a:cubicBezTo>
                      <a:pt x="6" y="71"/>
                      <a:pt x="0" y="62"/>
                      <a:pt x="0" y="52"/>
                    </a:cubicBezTo>
                    <a:close/>
                  </a:path>
                </a:pathLst>
              </a:custGeom>
              <a:solidFill>
                <a:srgbClr val="8C4C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00" name="Freeform 389"/>
              <p:cNvSpPr>
                <a:spLocks/>
              </p:cNvSpPr>
              <p:nvPr/>
            </p:nvSpPr>
            <p:spPr bwMode="auto">
              <a:xfrm>
                <a:off x="10133014" y="2476500"/>
                <a:ext cx="55563" cy="34925"/>
              </a:xfrm>
              <a:custGeom>
                <a:avLst/>
                <a:gdLst>
                  <a:gd name="T0" fmla="*/ 10 w 27"/>
                  <a:gd name="T1" fmla="*/ 4 h 17"/>
                  <a:gd name="T2" fmla="*/ 24 w 27"/>
                  <a:gd name="T3" fmla="*/ 9 h 17"/>
                  <a:gd name="T4" fmla="*/ 1 w 27"/>
                  <a:gd name="T5" fmla="*/ 1 h 17"/>
                  <a:gd name="T6" fmla="*/ 10 w 27"/>
                  <a:gd name="T7" fmla="*/ 4 h 17"/>
                </a:gdLst>
                <a:ahLst/>
                <a:cxnLst>
                  <a:cxn ang="0">
                    <a:pos x="T0" y="T1"/>
                  </a:cxn>
                  <a:cxn ang="0">
                    <a:pos x="T2" y="T3"/>
                  </a:cxn>
                  <a:cxn ang="0">
                    <a:pos x="T4" y="T5"/>
                  </a:cxn>
                  <a:cxn ang="0">
                    <a:pos x="T6" y="T7"/>
                  </a:cxn>
                </a:cxnLst>
                <a:rect l="0" t="0" r="r" b="b"/>
                <a:pathLst>
                  <a:path w="27" h="17">
                    <a:moveTo>
                      <a:pt x="10" y="4"/>
                    </a:moveTo>
                    <a:cubicBezTo>
                      <a:pt x="19" y="7"/>
                      <a:pt x="27" y="6"/>
                      <a:pt x="24" y="9"/>
                    </a:cubicBezTo>
                    <a:cubicBezTo>
                      <a:pt x="12" y="17"/>
                      <a:pt x="0" y="4"/>
                      <a:pt x="1" y="1"/>
                    </a:cubicBezTo>
                    <a:cubicBezTo>
                      <a:pt x="2" y="0"/>
                      <a:pt x="4" y="1"/>
                      <a:pt x="10" y="4"/>
                    </a:cubicBezTo>
                    <a:close/>
                  </a:path>
                </a:pathLst>
              </a:custGeom>
              <a:solidFill>
                <a:srgbClr val="A585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01" name="Freeform 390"/>
              <p:cNvSpPr>
                <a:spLocks/>
              </p:cNvSpPr>
              <p:nvPr/>
            </p:nvSpPr>
            <p:spPr bwMode="auto">
              <a:xfrm>
                <a:off x="10126664" y="2436813"/>
                <a:ext cx="127000" cy="58738"/>
              </a:xfrm>
              <a:custGeom>
                <a:avLst/>
                <a:gdLst>
                  <a:gd name="T0" fmla="*/ 59 w 61"/>
                  <a:gd name="T1" fmla="*/ 2 h 28"/>
                  <a:gd name="T2" fmla="*/ 3 w 61"/>
                  <a:gd name="T3" fmla="*/ 13 h 28"/>
                  <a:gd name="T4" fmla="*/ 5 w 61"/>
                  <a:gd name="T5" fmla="*/ 0 h 28"/>
                  <a:gd name="T6" fmla="*/ 59 w 61"/>
                  <a:gd name="T7" fmla="*/ 2 h 28"/>
                </a:gdLst>
                <a:ahLst/>
                <a:cxnLst>
                  <a:cxn ang="0">
                    <a:pos x="T0" y="T1"/>
                  </a:cxn>
                  <a:cxn ang="0">
                    <a:pos x="T2" y="T3"/>
                  </a:cxn>
                  <a:cxn ang="0">
                    <a:pos x="T4" y="T5"/>
                  </a:cxn>
                  <a:cxn ang="0">
                    <a:pos x="T6" y="T7"/>
                  </a:cxn>
                </a:cxnLst>
                <a:rect l="0" t="0" r="r" b="b"/>
                <a:pathLst>
                  <a:path w="61" h="28">
                    <a:moveTo>
                      <a:pt x="59" y="2"/>
                    </a:moveTo>
                    <a:cubicBezTo>
                      <a:pt x="61" y="21"/>
                      <a:pt x="37" y="28"/>
                      <a:pt x="3" y="13"/>
                    </a:cubicBezTo>
                    <a:cubicBezTo>
                      <a:pt x="0" y="12"/>
                      <a:pt x="7" y="2"/>
                      <a:pt x="5" y="0"/>
                    </a:cubicBezTo>
                    <a:cubicBezTo>
                      <a:pt x="21" y="1"/>
                      <a:pt x="46" y="5"/>
                      <a:pt x="59" y="2"/>
                    </a:cubicBezTo>
                    <a:close/>
                  </a:path>
                </a:pathLst>
              </a:custGeom>
              <a:solidFill>
                <a:srgbClr val="0C05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02" name="Freeform 391"/>
              <p:cNvSpPr>
                <a:spLocks/>
              </p:cNvSpPr>
              <p:nvPr/>
            </p:nvSpPr>
            <p:spPr bwMode="auto">
              <a:xfrm>
                <a:off x="10128251" y="2432050"/>
                <a:ext cx="119063" cy="39688"/>
              </a:xfrm>
              <a:custGeom>
                <a:avLst/>
                <a:gdLst>
                  <a:gd name="T0" fmla="*/ 36 w 57"/>
                  <a:gd name="T1" fmla="*/ 6 h 19"/>
                  <a:gd name="T2" fmla="*/ 57 w 57"/>
                  <a:gd name="T3" fmla="*/ 5 h 19"/>
                  <a:gd name="T4" fmla="*/ 1 w 57"/>
                  <a:gd name="T5" fmla="*/ 5 h 19"/>
                  <a:gd name="T6" fmla="*/ 2 w 57"/>
                  <a:gd name="T7" fmla="*/ 0 h 19"/>
                  <a:gd name="T8" fmla="*/ 36 w 57"/>
                  <a:gd name="T9" fmla="*/ 6 h 19"/>
                </a:gdLst>
                <a:ahLst/>
                <a:cxnLst>
                  <a:cxn ang="0">
                    <a:pos x="T0" y="T1"/>
                  </a:cxn>
                  <a:cxn ang="0">
                    <a:pos x="T2" y="T3"/>
                  </a:cxn>
                  <a:cxn ang="0">
                    <a:pos x="T4" y="T5"/>
                  </a:cxn>
                  <a:cxn ang="0">
                    <a:pos x="T6" y="T7"/>
                  </a:cxn>
                  <a:cxn ang="0">
                    <a:pos x="T8" y="T9"/>
                  </a:cxn>
                </a:cxnLst>
                <a:rect l="0" t="0" r="r" b="b"/>
                <a:pathLst>
                  <a:path w="57" h="19">
                    <a:moveTo>
                      <a:pt x="36" y="6"/>
                    </a:moveTo>
                    <a:cubicBezTo>
                      <a:pt x="57" y="5"/>
                      <a:pt x="57" y="5"/>
                      <a:pt x="57" y="5"/>
                    </a:cubicBezTo>
                    <a:cubicBezTo>
                      <a:pt x="55" y="19"/>
                      <a:pt x="0" y="9"/>
                      <a:pt x="1" y="5"/>
                    </a:cubicBezTo>
                    <a:cubicBezTo>
                      <a:pt x="1" y="2"/>
                      <a:pt x="1" y="5"/>
                      <a:pt x="2" y="0"/>
                    </a:cubicBezTo>
                    <a:lnTo>
                      <a:pt x="36" y="6"/>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03" name="Freeform 392"/>
              <p:cNvSpPr>
                <a:spLocks/>
              </p:cNvSpPr>
              <p:nvPr/>
            </p:nvSpPr>
            <p:spPr bwMode="auto">
              <a:xfrm>
                <a:off x="10126664" y="2401888"/>
                <a:ext cx="139700" cy="49213"/>
              </a:xfrm>
              <a:custGeom>
                <a:avLst/>
                <a:gdLst>
                  <a:gd name="T0" fmla="*/ 2 w 67"/>
                  <a:gd name="T1" fmla="*/ 16 h 24"/>
                  <a:gd name="T2" fmla="*/ 28 w 67"/>
                  <a:gd name="T3" fmla="*/ 23 h 24"/>
                  <a:gd name="T4" fmla="*/ 44 w 67"/>
                  <a:gd name="T5" fmla="*/ 23 h 24"/>
                  <a:gd name="T6" fmla="*/ 51 w 67"/>
                  <a:gd name="T7" fmla="*/ 23 h 24"/>
                  <a:gd name="T8" fmla="*/ 55 w 67"/>
                  <a:gd name="T9" fmla="*/ 22 h 24"/>
                  <a:gd name="T10" fmla="*/ 63 w 67"/>
                  <a:gd name="T11" fmla="*/ 16 h 24"/>
                  <a:gd name="T12" fmla="*/ 67 w 67"/>
                  <a:gd name="T13" fmla="*/ 6 h 24"/>
                  <a:gd name="T14" fmla="*/ 67 w 67"/>
                  <a:gd name="T15" fmla="*/ 2 h 24"/>
                  <a:gd name="T16" fmla="*/ 65 w 67"/>
                  <a:gd name="T17" fmla="*/ 0 h 24"/>
                  <a:gd name="T18" fmla="*/ 63 w 67"/>
                  <a:gd name="T19" fmla="*/ 2 h 24"/>
                  <a:gd name="T20" fmla="*/ 63 w 67"/>
                  <a:gd name="T21" fmla="*/ 5 h 24"/>
                  <a:gd name="T22" fmla="*/ 60 w 67"/>
                  <a:gd name="T23" fmla="*/ 13 h 24"/>
                  <a:gd name="T24" fmla="*/ 54 w 67"/>
                  <a:gd name="T25" fmla="*/ 19 h 24"/>
                  <a:gd name="T26" fmla="*/ 50 w 67"/>
                  <a:gd name="T27" fmla="*/ 19 h 24"/>
                  <a:gd name="T28" fmla="*/ 28 w 67"/>
                  <a:gd name="T29" fmla="*/ 19 h 24"/>
                  <a:gd name="T30" fmla="*/ 3 w 67"/>
                  <a:gd name="T31" fmla="*/ 13 h 24"/>
                  <a:gd name="T32" fmla="*/ 1 w 67"/>
                  <a:gd name="T33" fmla="*/ 14 h 24"/>
                  <a:gd name="T34" fmla="*/ 2 w 67"/>
                  <a:gd name="T35"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 h="24">
                    <a:moveTo>
                      <a:pt x="2" y="16"/>
                    </a:moveTo>
                    <a:cubicBezTo>
                      <a:pt x="9" y="20"/>
                      <a:pt x="19" y="22"/>
                      <a:pt x="28" y="23"/>
                    </a:cubicBezTo>
                    <a:cubicBezTo>
                      <a:pt x="34" y="23"/>
                      <a:pt x="40" y="24"/>
                      <a:pt x="44" y="23"/>
                    </a:cubicBezTo>
                    <a:cubicBezTo>
                      <a:pt x="47" y="23"/>
                      <a:pt x="49" y="23"/>
                      <a:pt x="51" y="23"/>
                    </a:cubicBezTo>
                    <a:cubicBezTo>
                      <a:pt x="52" y="23"/>
                      <a:pt x="54" y="23"/>
                      <a:pt x="55" y="22"/>
                    </a:cubicBezTo>
                    <a:cubicBezTo>
                      <a:pt x="58" y="21"/>
                      <a:pt x="61" y="18"/>
                      <a:pt x="63" y="16"/>
                    </a:cubicBezTo>
                    <a:cubicBezTo>
                      <a:pt x="65" y="13"/>
                      <a:pt x="66" y="9"/>
                      <a:pt x="67" y="6"/>
                    </a:cubicBezTo>
                    <a:cubicBezTo>
                      <a:pt x="67" y="4"/>
                      <a:pt x="67" y="3"/>
                      <a:pt x="67" y="2"/>
                    </a:cubicBezTo>
                    <a:cubicBezTo>
                      <a:pt x="67" y="1"/>
                      <a:pt x="66" y="0"/>
                      <a:pt x="65" y="0"/>
                    </a:cubicBezTo>
                    <a:cubicBezTo>
                      <a:pt x="64" y="0"/>
                      <a:pt x="63" y="1"/>
                      <a:pt x="63" y="2"/>
                    </a:cubicBezTo>
                    <a:cubicBezTo>
                      <a:pt x="63" y="3"/>
                      <a:pt x="63" y="4"/>
                      <a:pt x="63" y="5"/>
                    </a:cubicBezTo>
                    <a:cubicBezTo>
                      <a:pt x="62" y="8"/>
                      <a:pt x="61" y="11"/>
                      <a:pt x="60" y="13"/>
                    </a:cubicBezTo>
                    <a:cubicBezTo>
                      <a:pt x="58" y="16"/>
                      <a:pt x="56" y="17"/>
                      <a:pt x="54" y="19"/>
                    </a:cubicBezTo>
                    <a:cubicBezTo>
                      <a:pt x="53" y="19"/>
                      <a:pt x="52" y="19"/>
                      <a:pt x="50" y="19"/>
                    </a:cubicBezTo>
                    <a:cubicBezTo>
                      <a:pt x="45" y="20"/>
                      <a:pt x="37" y="20"/>
                      <a:pt x="28" y="19"/>
                    </a:cubicBezTo>
                    <a:cubicBezTo>
                      <a:pt x="20" y="18"/>
                      <a:pt x="10" y="16"/>
                      <a:pt x="3" y="13"/>
                    </a:cubicBezTo>
                    <a:cubicBezTo>
                      <a:pt x="2" y="12"/>
                      <a:pt x="1" y="13"/>
                      <a:pt x="1" y="14"/>
                    </a:cubicBezTo>
                    <a:cubicBezTo>
                      <a:pt x="0" y="15"/>
                      <a:pt x="1" y="16"/>
                      <a:pt x="2" y="16"/>
                    </a:cubicBezTo>
                    <a:close/>
                  </a:path>
                </a:pathLst>
              </a:custGeom>
              <a:solidFill>
                <a:srgbClr val="A585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04" name="Freeform 393"/>
              <p:cNvSpPr>
                <a:spLocks/>
              </p:cNvSpPr>
              <p:nvPr/>
            </p:nvSpPr>
            <p:spPr bwMode="auto">
              <a:xfrm>
                <a:off x="10233026" y="2286000"/>
                <a:ext cx="53975" cy="44450"/>
              </a:xfrm>
              <a:custGeom>
                <a:avLst/>
                <a:gdLst>
                  <a:gd name="T0" fmla="*/ 25 w 26"/>
                  <a:gd name="T1" fmla="*/ 21 h 21"/>
                  <a:gd name="T2" fmla="*/ 24 w 26"/>
                  <a:gd name="T3" fmla="*/ 14 h 21"/>
                  <a:gd name="T4" fmla="*/ 20 w 26"/>
                  <a:gd name="T5" fmla="*/ 8 h 21"/>
                  <a:gd name="T6" fmla="*/ 13 w 26"/>
                  <a:gd name="T7" fmla="*/ 1 h 21"/>
                  <a:gd name="T8" fmla="*/ 6 w 26"/>
                  <a:gd name="T9" fmla="*/ 1 h 21"/>
                  <a:gd name="T10" fmla="*/ 2 w 26"/>
                  <a:gd name="T11" fmla="*/ 5 h 21"/>
                  <a:gd name="T12" fmla="*/ 0 w 26"/>
                  <a:gd name="T13" fmla="*/ 12 h 21"/>
                  <a:gd name="T14" fmla="*/ 2 w 26"/>
                  <a:gd name="T15" fmla="*/ 19 h 21"/>
                  <a:gd name="T16" fmla="*/ 5 w 26"/>
                  <a:gd name="T17" fmla="*/ 13 h 21"/>
                  <a:gd name="T18" fmla="*/ 7 w 26"/>
                  <a:gd name="T19" fmla="*/ 8 h 21"/>
                  <a:gd name="T20" fmla="*/ 8 w 26"/>
                  <a:gd name="T21" fmla="*/ 7 h 21"/>
                  <a:gd name="T22" fmla="*/ 10 w 26"/>
                  <a:gd name="T23" fmla="*/ 8 h 21"/>
                  <a:gd name="T24" fmla="*/ 15 w 26"/>
                  <a:gd name="T25" fmla="*/ 12 h 21"/>
                  <a:gd name="T26" fmla="*/ 20 w 26"/>
                  <a:gd name="T27" fmla="*/ 17 h 21"/>
                  <a:gd name="T28" fmla="*/ 25 w 26"/>
                  <a:gd name="T2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21">
                    <a:moveTo>
                      <a:pt x="25" y="21"/>
                    </a:moveTo>
                    <a:cubicBezTo>
                      <a:pt x="26" y="20"/>
                      <a:pt x="25" y="18"/>
                      <a:pt x="24" y="14"/>
                    </a:cubicBezTo>
                    <a:cubicBezTo>
                      <a:pt x="23" y="12"/>
                      <a:pt x="22" y="10"/>
                      <a:pt x="20" y="8"/>
                    </a:cubicBezTo>
                    <a:cubicBezTo>
                      <a:pt x="19" y="6"/>
                      <a:pt x="17" y="3"/>
                      <a:pt x="13" y="1"/>
                    </a:cubicBezTo>
                    <a:cubicBezTo>
                      <a:pt x="11" y="0"/>
                      <a:pt x="9" y="0"/>
                      <a:pt x="6" y="1"/>
                    </a:cubicBezTo>
                    <a:cubicBezTo>
                      <a:pt x="4" y="2"/>
                      <a:pt x="3" y="3"/>
                      <a:pt x="2" y="5"/>
                    </a:cubicBezTo>
                    <a:cubicBezTo>
                      <a:pt x="0" y="8"/>
                      <a:pt x="0" y="10"/>
                      <a:pt x="0" y="12"/>
                    </a:cubicBezTo>
                    <a:cubicBezTo>
                      <a:pt x="0" y="17"/>
                      <a:pt x="1" y="19"/>
                      <a:pt x="2" y="19"/>
                    </a:cubicBezTo>
                    <a:cubicBezTo>
                      <a:pt x="3" y="19"/>
                      <a:pt x="3" y="17"/>
                      <a:pt x="5" y="13"/>
                    </a:cubicBezTo>
                    <a:cubicBezTo>
                      <a:pt x="5" y="12"/>
                      <a:pt x="6" y="10"/>
                      <a:pt x="7" y="8"/>
                    </a:cubicBezTo>
                    <a:cubicBezTo>
                      <a:pt x="8" y="8"/>
                      <a:pt x="8" y="7"/>
                      <a:pt x="8" y="7"/>
                    </a:cubicBezTo>
                    <a:cubicBezTo>
                      <a:pt x="9" y="7"/>
                      <a:pt x="9" y="7"/>
                      <a:pt x="10" y="8"/>
                    </a:cubicBezTo>
                    <a:cubicBezTo>
                      <a:pt x="12" y="8"/>
                      <a:pt x="14" y="10"/>
                      <a:pt x="15" y="12"/>
                    </a:cubicBezTo>
                    <a:cubicBezTo>
                      <a:pt x="17" y="14"/>
                      <a:pt x="18" y="15"/>
                      <a:pt x="20" y="17"/>
                    </a:cubicBezTo>
                    <a:cubicBezTo>
                      <a:pt x="22" y="19"/>
                      <a:pt x="24" y="21"/>
                      <a:pt x="25" y="21"/>
                    </a:cubicBezTo>
                    <a:close/>
                  </a:path>
                </a:pathLst>
              </a:custGeom>
              <a:solidFill>
                <a:srgbClr val="2B18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05" name="Freeform 394"/>
              <p:cNvSpPr>
                <a:spLocks/>
              </p:cNvSpPr>
              <p:nvPr/>
            </p:nvSpPr>
            <p:spPr bwMode="auto">
              <a:xfrm>
                <a:off x="10099676" y="2279650"/>
                <a:ext cx="55563" cy="42863"/>
              </a:xfrm>
              <a:custGeom>
                <a:avLst/>
                <a:gdLst>
                  <a:gd name="T0" fmla="*/ 26 w 27"/>
                  <a:gd name="T1" fmla="*/ 19 h 20"/>
                  <a:gd name="T2" fmla="*/ 24 w 27"/>
                  <a:gd name="T3" fmla="*/ 13 h 20"/>
                  <a:gd name="T4" fmla="*/ 20 w 27"/>
                  <a:gd name="T5" fmla="*/ 7 h 20"/>
                  <a:gd name="T6" fmla="*/ 12 w 27"/>
                  <a:gd name="T7" fmla="*/ 1 h 20"/>
                  <a:gd name="T8" fmla="*/ 6 w 27"/>
                  <a:gd name="T9" fmla="*/ 1 h 20"/>
                  <a:gd name="T10" fmla="*/ 1 w 27"/>
                  <a:gd name="T11" fmla="*/ 5 h 20"/>
                  <a:gd name="T12" fmla="*/ 0 w 27"/>
                  <a:gd name="T13" fmla="*/ 13 h 20"/>
                  <a:gd name="T14" fmla="*/ 3 w 27"/>
                  <a:gd name="T15" fmla="*/ 20 h 20"/>
                  <a:gd name="T16" fmla="*/ 5 w 27"/>
                  <a:gd name="T17" fmla="*/ 13 h 20"/>
                  <a:gd name="T18" fmla="*/ 7 w 27"/>
                  <a:gd name="T19" fmla="*/ 8 h 20"/>
                  <a:gd name="T20" fmla="*/ 8 w 27"/>
                  <a:gd name="T21" fmla="*/ 7 h 20"/>
                  <a:gd name="T22" fmla="*/ 10 w 27"/>
                  <a:gd name="T23" fmla="*/ 8 h 20"/>
                  <a:gd name="T24" fmla="*/ 16 w 27"/>
                  <a:gd name="T25" fmla="*/ 11 h 20"/>
                  <a:gd name="T26" fmla="*/ 20 w 27"/>
                  <a:gd name="T27" fmla="*/ 15 h 20"/>
                  <a:gd name="T28" fmla="*/ 26 w 27"/>
                  <a:gd name="T29"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0">
                    <a:moveTo>
                      <a:pt x="26" y="19"/>
                    </a:moveTo>
                    <a:cubicBezTo>
                      <a:pt x="27" y="19"/>
                      <a:pt x="26" y="16"/>
                      <a:pt x="24" y="13"/>
                    </a:cubicBezTo>
                    <a:cubicBezTo>
                      <a:pt x="23" y="11"/>
                      <a:pt x="22" y="9"/>
                      <a:pt x="20" y="7"/>
                    </a:cubicBezTo>
                    <a:cubicBezTo>
                      <a:pt x="18" y="5"/>
                      <a:pt x="16" y="2"/>
                      <a:pt x="12" y="1"/>
                    </a:cubicBezTo>
                    <a:cubicBezTo>
                      <a:pt x="10" y="0"/>
                      <a:pt x="8" y="0"/>
                      <a:pt x="6" y="1"/>
                    </a:cubicBezTo>
                    <a:cubicBezTo>
                      <a:pt x="4" y="2"/>
                      <a:pt x="2" y="4"/>
                      <a:pt x="1" y="5"/>
                    </a:cubicBezTo>
                    <a:cubicBezTo>
                      <a:pt x="0" y="8"/>
                      <a:pt x="0" y="11"/>
                      <a:pt x="0" y="13"/>
                    </a:cubicBezTo>
                    <a:cubicBezTo>
                      <a:pt x="1" y="17"/>
                      <a:pt x="2" y="20"/>
                      <a:pt x="3" y="20"/>
                    </a:cubicBezTo>
                    <a:cubicBezTo>
                      <a:pt x="4" y="19"/>
                      <a:pt x="4" y="17"/>
                      <a:pt x="5" y="13"/>
                    </a:cubicBezTo>
                    <a:cubicBezTo>
                      <a:pt x="5" y="12"/>
                      <a:pt x="6" y="10"/>
                      <a:pt x="7" y="8"/>
                    </a:cubicBezTo>
                    <a:cubicBezTo>
                      <a:pt x="7" y="8"/>
                      <a:pt x="8" y="7"/>
                      <a:pt x="8" y="7"/>
                    </a:cubicBezTo>
                    <a:cubicBezTo>
                      <a:pt x="9" y="7"/>
                      <a:pt x="9" y="7"/>
                      <a:pt x="10" y="8"/>
                    </a:cubicBezTo>
                    <a:cubicBezTo>
                      <a:pt x="12" y="8"/>
                      <a:pt x="14" y="10"/>
                      <a:pt x="16" y="11"/>
                    </a:cubicBezTo>
                    <a:cubicBezTo>
                      <a:pt x="17" y="13"/>
                      <a:pt x="19" y="14"/>
                      <a:pt x="20" y="15"/>
                    </a:cubicBezTo>
                    <a:cubicBezTo>
                      <a:pt x="23" y="18"/>
                      <a:pt x="25" y="20"/>
                      <a:pt x="26" y="19"/>
                    </a:cubicBezTo>
                    <a:close/>
                  </a:path>
                </a:pathLst>
              </a:custGeom>
              <a:solidFill>
                <a:srgbClr val="2B18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06" name="Freeform 395"/>
              <p:cNvSpPr>
                <a:spLocks noEditPoints="1"/>
              </p:cNvSpPr>
              <p:nvPr/>
            </p:nvSpPr>
            <p:spPr bwMode="auto">
              <a:xfrm>
                <a:off x="10031414" y="2252663"/>
                <a:ext cx="341313" cy="117475"/>
              </a:xfrm>
              <a:custGeom>
                <a:avLst/>
                <a:gdLst>
                  <a:gd name="T0" fmla="*/ 146 w 163"/>
                  <a:gd name="T1" fmla="*/ 7 h 56"/>
                  <a:gd name="T2" fmla="*/ 140 w 163"/>
                  <a:gd name="T3" fmla="*/ 51 h 56"/>
                  <a:gd name="T4" fmla="*/ 129 w 163"/>
                  <a:gd name="T5" fmla="*/ 53 h 56"/>
                  <a:gd name="T6" fmla="*/ 99 w 163"/>
                  <a:gd name="T7" fmla="*/ 40 h 56"/>
                  <a:gd name="T8" fmla="*/ 93 w 163"/>
                  <a:gd name="T9" fmla="*/ 20 h 56"/>
                  <a:gd name="T10" fmla="*/ 104 w 163"/>
                  <a:gd name="T11" fmla="*/ 7 h 56"/>
                  <a:gd name="T12" fmla="*/ 143 w 163"/>
                  <a:gd name="T13" fmla="*/ 6 h 56"/>
                  <a:gd name="T14" fmla="*/ 60 w 163"/>
                  <a:gd name="T15" fmla="*/ 44 h 56"/>
                  <a:gd name="T16" fmla="*/ 58 w 163"/>
                  <a:gd name="T17" fmla="*/ 47 h 56"/>
                  <a:gd name="T18" fmla="*/ 41 w 163"/>
                  <a:gd name="T19" fmla="*/ 53 h 56"/>
                  <a:gd name="T20" fmla="*/ 13 w 163"/>
                  <a:gd name="T21" fmla="*/ 40 h 56"/>
                  <a:gd name="T22" fmla="*/ 13 w 163"/>
                  <a:gd name="T23" fmla="*/ 12 h 56"/>
                  <a:gd name="T24" fmla="*/ 64 w 163"/>
                  <a:gd name="T25" fmla="*/ 9 h 56"/>
                  <a:gd name="T26" fmla="*/ 68 w 163"/>
                  <a:gd name="T27" fmla="*/ 12 h 56"/>
                  <a:gd name="T28" fmla="*/ 68 w 163"/>
                  <a:gd name="T29" fmla="*/ 29 h 56"/>
                  <a:gd name="T30" fmla="*/ 137 w 163"/>
                  <a:gd name="T31" fmla="*/ 1 h 56"/>
                  <a:gd name="T32" fmla="*/ 100 w 163"/>
                  <a:gd name="T33" fmla="*/ 3 h 56"/>
                  <a:gd name="T34" fmla="*/ 70 w 163"/>
                  <a:gd name="T35" fmla="*/ 5 h 56"/>
                  <a:gd name="T36" fmla="*/ 25 w 163"/>
                  <a:gd name="T37" fmla="*/ 1 h 56"/>
                  <a:gd name="T38" fmla="*/ 1 w 163"/>
                  <a:gd name="T39" fmla="*/ 5 h 56"/>
                  <a:gd name="T40" fmla="*/ 5 w 163"/>
                  <a:gd name="T41" fmla="*/ 19 h 56"/>
                  <a:gd name="T42" fmla="*/ 14 w 163"/>
                  <a:gd name="T43" fmla="*/ 48 h 56"/>
                  <a:gd name="T44" fmla="*/ 34 w 163"/>
                  <a:gd name="T45" fmla="*/ 56 h 56"/>
                  <a:gd name="T46" fmla="*/ 66 w 163"/>
                  <a:gd name="T47" fmla="*/ 43 h 56"/>
                  <a:gd name="T48" fmla="*/ 75 w 163"/>
                  <a:gd name="T49" fmla="*/ 22 h 56"/>
                  <a:gd name="T50" fmla="*/ 88 w 163"/>
                  <a:gd name="T51" fmla="*/ 23 h 56"/>
                  <a:gd name="T52" fmla="*/ 108 w 163"/>
                  <a:gd name="T53" fmla="*/ 52 h 56"/>
                  <a:gd name="T54" fmla="*/ 144 w 163"/>
                  <a:gd name="T55" fmla="*/ 52 h 56"/>
                  <a:gd name="T56" fmla="*/ 149 w 163"/>
                  <a:gd name="T57" fmla="*/ 48 h 56"/>
                  <a:gd name="T58" fmla="*/ 155 w 163"/>
                  <a:gd name="T59" fmla="*/ 34 h 56"/>
                  <a:gd name="T60" fmla="*/ 158 w 163"/>
                  <a:gd name="T61" fmla="*/ 22 h 56"/>
                  <a:gd name="T62" fmla="*/ 162 w 163"/>
                  <a:gd name="T63" fmla="*/ 15 h 56"/>
                  <a:gd name="T64" fmla="*/ 163 w 163"/>
                  <a:gd name="T65" fmla="*/ 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3" h="56">
                    <a:moveTo>
                      <a:pt x="143" y="6"/>
                    </a:moveTo>
                    <a:cubicBezTo>
                      <a:pt x="144" y="6"/>
                      <a:pt x="145" y="7"/>
                      <a:pt x="146" y="7"/>
                    </a:cubicBezTo>
                    <a:cubicBezTo>
                      <a:pt x="154" y="13"/>
                      <a:pt x="153" y="31"/>
                      <a:pt x="150" y="40"/>
                    </a:cubicBezTo>
                    <a:cubicBezTo>
                      <a:pt x="148" y="45"/>
                      <a:pt x="145" y="48"/>
                      <a:pt x="140" y="51"/>
                    </a:cubicBezTo>
                    <a:cubicBezTo>
                      <a:pt x="138" y="52"/>
                      <a:pt x="135" y="53"/>
                      <a:pt x="132" y="53"/>
                    </a:cubicBezTo>
                    <a:cubicBezTo>
                      <a:pt x="131" y="53"/>
                      <a:pt x="130" y="53"/>
                      <a:pt x="129" y="53"/>
                    </a:cubicBezTo>
                    <a:cubicBezTo>
                      <a:pt x="122" y="53"/>
                      <a:pt x="122" y="53"/>
                      <a:pt x="122" y="53"/>
                    </a:cubicBezTo>
                    <a:cubicBezTo>
                      <a:pt x="112" y="52"/>
                      <a:pt x="105" y="47"/>
                      <a:pt x="99" y="40"/>
                    </a:cubicBezTo>
                    <a:cubicBezTo>
                      <a:pt x="99" y="38"/>
                      <a:pt x="97" y="36"/>
                      <a:pt x="97" y="34"/>
                    </a:cubicBezTo>
                    <a:cubicBezTo>
                      <a:pt x="95" y="30"/>
                      <a:pt x="93" y="25"/>
                      <a:pt x="93" y="20"/>
                    </a:cubicBezTo>
                    <a:cubicBezTo>
                      <a:pt x="93" y="17"/>
                      <a:pt x="93" y="16"/>
                      <a:pt x="94" y="14"/>
                    </a:cubicBezTo>
                    <a:cubicBezTo>
                      <a:pt x="96" y="10"/>
                      <a:pt x="100" y="8"/>
                      <a:pt x="104" y="7"/>
                    </a:cubicBezTo>
                    <a:cubicBezTo>
                      <a:pt x="112" y="3"/>
                      <a:pt x="120" y="4"/>
                      <a:pt x="129" y="4"/>
                    </a:cubicBezTo>
                    <a:cubicBezTo>
                      <a:pt x="133" y="4"/>
                      <a:pt x="139" y="4"/>
                      <a:pt x="143" y="6"/>
                    </a:cubicBezTo>
                    <a:close/>
                    <a:moveTo>
                      <a:pt x="68" y="29"/>
                    </a:moveTo>
                    <a:cubicBezTo>
                      <a:pt x="67" y="34"/>
                      <a:pt x="64" y="40"/>
                      <a:pt x="60" y="44"/>
                    </a:cubicBezTo>
                    <a:cubicBezTo>
                      <a:pt x="60" y="45"/>
                      <a:pt x="60" y="45"/>
                      <a:pt x="60" y="45"/>
                    </a:cubicBezTo>
                    <a:cubicBezTo>
                      <a:pt x="58" y="47"/>
                      <a:pt x="58" y="47"/>
                      <a:pt x="58" y="47"/>
                    </a:cubicBezTo>
                    <a:cubicBezTo>
                      <a:pt x="54" y="50"/>
                      <a:pt x="50" y="51"/>
                      <a:pt x="45" y="52"/>
                    </a:cubicBezTo>
                    <a:cubicBezTo>
                      <a:pt x="44" y="53"/>
                      <a:pt x="42" y="53"/>
                      <a:pt x="41" y="53"/>
                    </a:cubicBezTo>
                    <a:cubicBezTo>
                      <a:pt x="38" y="53"/>
                      <a:pt x="33" y="53"/>
                      <a:pt x="31" y="53"/>
                    </a:cubicBezTo>
                    <a:cubicBezTo>
                      <a:pt x="22" y="52"/>
                      <a:pt x="16" y="48"/>
                      <a:pt x="13" y="40"/>
                    </a:cubicBezTo>
                    <a:cubicBezTo>
                      <a:pt x="12" y="35"/>
                      <a:pt x="11" y="27"/>
                      <a:pt x="11" y="21"/>
                    </a:cubicBezTo>
                    <a:cubicBezTo>
                      <a:pt x="12" y="17"/>
                      <a:pt x="11" y="16"/>
                      <a:pt x="13" y="12"/>
                    </a:cubicBezTo>
                    <a:cubicBezTo>
                      <a:pt x="17" y="5"/>
                      <a:pt x="28" y="4"/>
                      <a:pt x="36" y="4"/>
                    </a:cubicBezTo>
                    <a:cubicBezTo>
                      <a:pt x="45" y="4"/>
                      <a:pt x="56" y="4"/>
                      <a:pt x="64" y="9"/>
                    </a:cubicBezTo>
                    <a:cubicBezTo>
                      <a:pt x="64" y="9"/>
                      <a:pt x="65" y="9"/>
                      <a:pt x="65" y="10"/>
                    </a:cubicBezTo>
                    <a:cubicBezTo>
                      <a:pt x="67" y="11"/>
                      <a:pt x="67" y="11"/>
                      <a:pt x="68" y="12"/>
                    </a:cubicBezTo>
                    <a:cubicBezTo>
                      <a:pt x="70" y="15"/>
                      <a:pt x="70" y="17"/>
                      <a:pt x="70" y="20"/>
                    </a:cubicBezTo>
                    <a:cubicBezTo>
                      <a:pt x="70" y="23"/>
                      <a:pt x="69" y="27"/>
                      <a:pt x="68" y="29"/>
                    </a:cubicBezTo>
                    <a:close/>
                    <a:moveTo>
                      <a:pt x="156" y="3"/>
                    </a:moveTo>
                    <a:cubicBezTo>
                      <a:pt x="137" y="1"/>
                      <a:pt x="137" y="1"/>
                      <a:pt x="137" y="1"/>
                    </a:cubicBezTo>
                    <a:cubicBezTo>
                      <a:pt x="127" y="0"/>
                      <a:pt x="120" y="0"/>
                      <a:pt x="110" y="1"/>
                    </a:cubicBezTo>
                    <a:cubicBezTo>
                      <a:pt x="107" y="2"/>
                      <a:pt x="104" y="3"/>
                      <a:pt x="100" y="3"/>
                    </a:cubicBezTo>
                    <a:cubicBezTo>
                      <a:pt x="93" y="5"/>
                      <a:pt x="88" y="7"/>
                      <a:pt x="81" y="7"/>
                    </a:cubicBezTo>
                    <a:cubicBezTo>
                      <a:pt x="77" y="6"/>
                      <a:pt x="74" y="6"/>
                      <a:pt x="70" y="5"/>
                    </a:cubicBezTo>
                    <a:cubicBezTo>
                      <a:pt x="63" y="4"/>
                      <a:pt x="59" y="3"/>
                      <a:pt x="51" y="1"/>
                    </a:cubicBezTo>
                    <a:cubicBezTo>
                      <a:pt x="43" y="0"/>
                      <a:pt x="33" y="0"/>
                      <a:pt x="25" y="1"/>
                    </a:cubicBezTo>
                    <a:cubicBezTo>
                      <a:pt x="7" y="4"/>
                      <a:pt x="7" y="4"/>
                      <a:pt x="7" y="4"/>
                    </a:cubicBezTo>
                    <a:cubicBezTo>
                      <a:pt x="5" y="4"/>
                      <a:pt x="1" y="4"/>
                      <a:pt x="1" y="5"/>
                    </a:cubicBezTo>
                    <a:cubicBezTo>
                      <a:pt x="0" y="6"/>
                      <a:pt x="0" y="13"/>
                      <a:pt x="0" y="15"/>
                    </a:cubicBezTo>
                    <a:cubicBezTo>
                      <a:pt x="0" y="17"/>
                      <a:pt x="3" y="14"/>
                      <a:pt x="5" y="19"/>
                    </a:cubicBezTo>
                    <a:cubicBezTo>
                      <a:pt x="7" y="24"/>
                      <a:pt x="7" y="34"/>
                      <a:pt x="11" y="42"/>
                    </a:cubicBezTo>
                    <a:cubicBezTo>
                      <a:pt x="11" y="44"/>
                      <a:pt x="13" y="47"/>
                      <a:pt x="14" y="48"/>
                    </a:cubicBezTo>
                    <a:cubicBezTo>
                      <a:pt x="16" y="50"/>
                      <a:pt x="15" y="49"/>
                      <a:pt x="17" y="50"/>
                    </a:cubicBezTo>
                    <a:cubicBezTo>
                      <a:pt x="21" y="54"/>
                      <a:pt x="28" y="56"/>
                      <a:pt x="34" y="56"/>
                    </a:cubicBezTo>
                    <a:cubicBezTo>
                      <a:pt x="43" y="56"/>
                      <a:pt x="48" y="56"/>
                      <a:pt x="56" y="52"/>
                    </a:cubicBezTo>
                    <a:cubicBezTo>
                      <a:pt x="60" y="50"/>
                      <a:pt x="64" y="46"/>
                      <a:pt x="66" y="43"/>
                    </a:cubicBezTo>
                    <a:cubicBezTo>
                      <a:pt x="69" y="38"/>
                      <a:pt x="72" y="31"/>
                      <a:pt x="74" y="26"/>
                    </a:cubicBezTo>
                    <a:cubicBezTo>
                      <a:pt x="74" y="25"/>
                      <a:pt x="75" y="23"/>
                      <a:pt x="75" y="22"/>
                    </a:cubicBezTo>
                    <a:cubicBezTo>
                      <a:pt x="77" y="18"/>
                      <a:pt x="79" y="18"/>
                      <a:pt x="83" y="18"/>
                    </a:cubicBezTo>
                    <a:cubicBezTo>
                      <a:pt x="85" y="18"/>
                      <a:pt x="87" y="21"/>
                      <a:pt x="88" y="23"/>
                    </a:cubicBezTo>
                    <a:cubicBezTo>
                      <a:pt x="89" y="24"/>
                      <a:pt x="89" y="25"/>
                      <a:pt x="90" y="26"/>
                    </a:cubicBezTo>
                    <a:cubicBezTo>
                      <a:pt x="93" y="36"/>
                      <a:pt x="98" y="47"/>
                      <a:pt x="108" y="52"/>
                    </a:cubicBezTo>
                    <a:cubicBezTo>
                      <a:pt x="115" y="55"/>
                      <a:pt x="121" y="56"/>
                      <a:pt x="129" y="56"/>
                    </a:cubicBezTo>
                    <a:cubicBezTo>
                      <a:pt x="134" y="56"/>
                      <a:pt x="140" y="54"/>
                      <a:pt x="144" y="52"/>
                    </a:cubicBezTo>
                    <a:cubicBezTo>
                      <a:pt x="147" y="50"/>
                      <a:pt x="146" y="50"/>
                      <a:pt x="148" y="49"/>
                    </a:cubicBezTo>
                    <a:cubicBezTo>
                      <a:pt x="148" y="48"/>
                      <a:pt x="149" y="48"/>
                      <a:pt x="149" y="48"/>
                    </a:cubicBezTo>
                    <a:cubicBezTo>
                      <a:pt x="150" y="47"/>
                      <a:pt x="151" y="46"/>
                      <a:pt x="151" y="45"/>
                    </a:cubicBezTo>
                    <a:cubicBezTo>
                      <a:pt x="153" y="42"/>
                      <a:pt x="154" y="38"/>
                      <a:pt x="155" y="34"/>
                    </a:cubicBezTo>
                    <a:cubicBezTo>
                      <a:pt x="156" y="32"/>
                      <a:pt x="156" y="29"/>
                      <a:pt x="157" y="27"/>
                    </a:cubicBezTo>
                    <a:cubicBezTo>
                      <a:pt x="157" y="25"/>
                      <a:pt x="157" y="24"/>
                      <a:pt x="158" y="22"/>
                    </a:cubicBezTo>
                    <a:cubicBezTo>
                      <a:pt x="158" y="20"/>
                      <a:pt x="158" y="18"/>
                      <a:pt x="160" y="16"/>
                    </a:cubicBezTo>
                    <a:cubicBezTo>
                      <a:pt x="161" y="15"/>
                      <a:pt x="161" y="15"/>
                      <a:pt x="162" y="15"/>
                    </a:cubicBezTo>
                    <a:cubicBezTo>
                      <a:pt x="163" y="15"/>
                      <a:pt x="163" y="15"/>
                      <a:pt x="163" y="14"/>
                    </a:cubicBezTo>
                    <a:cubicBezTo>
                      <a:pt x="163" y="7"/>
                      <a:pt x="163" y="7"/>
                      <a:pt x="163" y="7"/>
                    </a:cubicBezTo>
                    <a:cubicBezTo>
                      <a:pt x="163" y="2"/>
                      <a:pt x="161" y="4"/>
                      <a:pt x="156" y="3"/>
                    </a:cubicBezTo>
                    <a:close/>
                  </a:path>
                </a:pathLst>
              </a:custGeom>
              <a:solidFill>
                <a:srgbClr val="2B18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407" name="กลุ่ม 674"/>
            <p:cNvGrpSpPr/>
            <p:nvPr/>
          </p:nvGrpSpPr>
          <p:grpSpPr>
            <a:xfrm>
              <a:off x="11414517" y="2465258"/>
              <a:ext cx="3338120" cy="1649542"/>
              <a:chOff x="3321051" y="12895263"/>
              <a:chExt cx="542925" cy="268288"/>
            </a:xfrm>
          </p:grpSpPr>
          <p:sp>
            <p:nvSpPr>
              <p:cNvPr id="408" name="Freeform 1558"/>
              <p:cNvSpPr>
                <a:spLocks/>
              </p:cNvSpPr>
              <p:nvPr/>
            </p:nvSpPr>
            <p:spPr bwMode="auto">
              <a:xfrm>
                <a:off x="3557588" y="13103226"/>
                <a:ext cx="306388" cy="60325"/>
              </a:xfrm>
              <a:custGeom>
                <a:avLst/>
                <a:gdLst>
                  <a:gd name="T0" fmla="*/ 115 w 147"/>
                  <a:gd name="T1" fmla="*/ 29 h 29"/>
                  <a:gd name="T2" fmla="*/ 6 w 147"/>
                  <a:gd name="T3" fmla="*/ 29 h 29"/>
                  <a:gd name="T4" fmla="*/ 0 w 147"/>
                  <a:gd name="T5" fmla="*/ 24 h 29"/>
                  <a:gd name="T6" fmla="*/ 6 w 147"/>
                  <a:gd name="T7" fmla="*/ 18 h 29"/>
                  <a:gd name="T8" fmla="*/ 115 w 147"/>
                  <a:gd name="T9" fmla="*/ 18 h 29"/>
                  <a:gd name="T10" fmla="*/ 136 w 147"/>
                  <a:gd name="T11" fmla="*/ 6 h 29"/>
                  <a:gd name="T12" fmla="*/ 141 w 147"/>
                  <a:gd name="T13" fmla="*/ 0 h 29"/>
                  <a:gd name="T14" fmla="*/ 147 w 147"/>
                  <a:gd name="T15" fmla="*/ 6 h 29"/>
                  <a:gd name="T16" fmla="*/ 115 w 147"/>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29">
                    <a:moveTo>
                      <a:pt x="115" y="29"/>
                    </a:moveTo>
                    <a:cubicBezTo>
                      <a:pt x="6" y="29"/>
                      <a:pt x="6" y="29"/>
                      <a:pt x="6" y="29"/>
                    </a:cubicBezTo>
                    <a:cubicBezTo>
                      <a:pt x="3" y="29"/>
                      <a:pt x="0" y="27"/>
                      <a:pt x="0" y="24"/>
                    </a:cubicBezTo>
                    <a:cubicBezTo>
                      <a:pt x="0" y="20"/>
                      <a:pt x="3" y="18"/>
                      <a:pt x="6" y="18"/>
                    </a:cubicBezTo>
                    <a:cubicBezTo>
                      <a:pt x="115" y="18"/>
                      <a:pt x="115" y="18"/>
                      <a:pt x="115" y="18"/>
                    </a:cubicBezTo>
                    <a:cubicBezTo>
                      <a:pt x="123" y="18"/>
                      <a:pt x="136" y="16"/>
                      <a:pt x="136" y="6"/>
                    </a:cubicBezTo>
                    <a:cubicBezTo>
                      <a:pt x="136" y="2"/>
                      <a:pt x="138" y="0"/>
                      <a:pt x="141" y="0"/>
                    </a:cubicBezTo>
                    <a:cubicBezTo>
                      <a:pt x="144" y="0"/>
                      <a:pt x="147" y="2"/>
                      <a:pt x="147" y="6"/>
                    </a:cubicBezTo>
                    <a:cubicBezTo>
                      <a:pt x="147" y="23"/>
                      <a:pt x="130" y="29"/>
                      <a:pt x="115" y="29"/>
                    </a:cubicBezTo>
                    <a:close/>
                  </a:path>
                </a:pathLst>
              </a:custGeom>
              <a:solidFill>
                <a:srgbClr val="484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09" name="Freeform 1559"/>
              <p:cNvSpPr>
                <a:spLocks/>
              </p:cNvSpPr>
              <p:nvPr/>
            </p:nvSpPr>
            <p:spPr bwMode="auto">
              <a:xfrm>
                <a:off x="3717926" y="13093701"/>
                <a:ext cx="44450" cy="58738"/>
              </a:xfrm>
              <a:custGeom>
                <a:avLst/>
                <a:gdLst>
                  <a:gd name="T0" fmla="*/ 14 w 28"/>
                  <a:gd name="T1" fmla="*/ 37 h 37"/>
                  <a:gd name="T2" fmla="*/ 0 w 28"/>
                  <a:gd name="T3" fmla="*/ 37 h 37"/>
                  <a:gd name="T4" fmla="*/ 13 w 28"/>
                  <a:gd name="T5" fmla="*/ 0 h 37"/>
                  <a:gd name="T6" fmla="*/ 28 w 28"/>
                  <a:gd name="T7" fmla="*/ 0 h 37"/>
                  <a:gd name="T8" fmla="*/ 14 w 28"/>
                  <a:gd name="T9" fmla="*/ 37 h 37"/>
                </a:gdLst>
                <a:ahLst/>
                <a:cxnLst>
                  <a:cxn ang="0">
                    <a:pos x="T0" y="T1"/>
                  </a:cxn>
                  <a:cxn ang="0">
                    <a:pos x="T2" y="T3"/>
                  </a:cxn>
                  <a:cxn ang="0">
                    <a:pos x="T4" y="T5"/>
                  </a:cxn>
                  <a:cxn ang="0">
                    <a:pos x="T6" y="T7"/>
                  </a:cxn>
                  <a:cxn ang="0">
                    <a:pos x="T8" y="T9"/>
                  </a:cxn>
                </a:cxnLst>
                <a:rect l="0" t="0" r="r" b="b"/>
                <a:pathLst>
                  <a:path w="28" h="37">
                    <a:moveTo>
                      <a:pt x="14" y="37"/>
                    </a:moveTo>
                    <a:lnTo>
                      <a:pt x="0" y="37"/>
                    </a:lnTo>
                    <a:lnTo>
                      <a:pt x="13" y="0"/>
                    </a:lnTo>
                    <a:lnTo>
                      <a:pt x="28" y="0"/>
                    </a:lnTo>
                    <a:lnTo>
                      <a:pt x="14" y="37"/>
                    </a:lnTo>
                    <a:close/>
                  </a:path>
                </a:pathLst>
              </a:custGeom>
              <a:solidFill>
                <a:srgbClr val="484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10" name="Freeform 1560"/>
              <p:cNvSpPr>
                <a:spLocks/>
              </p:cNvSpPr>
              <p:nvPr/>
            </p:nvSpPr>
            <p:spPr bwMode="auto">
              <a:xfrm>
                <a:off x="3630613" y="13093701"/>
                <a:ext cx="41275" cy="58738"/>
              </a:xfrm>
              <a:custGeom>
                <a:avLst/>
                <a:gdLst>
                  <a:gd name="T0" fmla="*/ 13 w 26"/>
                  <a:gd name="T1" fmla="*/ 37 h 37"/>
                  <a:gd name="T2" fmla="*/ 0 w 26"/>
                  <a:gd name="T3" fmla="*/ 37 h 37"/>
                  <a:gd name="T4" fmla="*/ 13 w 26"/>
                  <a:gd name="T5" fmla="*/ 0 h 37"/>
                  <a:gd name="T6" fmla="*/ 26 w 26"/>
                  <a:gd name="T7" fmla="*/ 0 h 37"/>
                  <a:gd name="T8" fmla="*/ 13 w 26"/>
                  <a:gd name="T9" fmla="*/ 37 h 37"/>
                </a:gdLst>
                <a:ahLst/>
                <a:cxnLst>
                  <a:cxn ang="0">
                    <a:pos x="T0" y="T1"/>
                  </a:cxn>
                  <a:cxn ang="0">
                    <a:pos x="T2" y="T3"/>
                  </a:cxn>
                  <a:cxn ang="0">
                    <a:pos x="T4" y="T5"/>
                  </a:cxn>
                  <a:cxn ang="0">
                    <a:pos x="T6" y="T7"/>
                  </a:cxn>
                  <a:cxn ang="0">
                    <a:pos x="T8" y="T9"/>
                  </a:cxn>
                </a:cxnLst>
                <a:rect l="0" t="0" r="r" b="b"/>
                <a:pathLst>
                  <a:path w="26" h="37">
                    <a:moveTo>
                      <a:pt x="13" y="37"/>
                    </a:moveTo>
                    <a:lnTo>
                      <a:pt x="0" y="37"/>
                    </a:lnTo>
                    <a:lnTo>
                      <a:pt x="13" y="0"/>
                    </a:lnTo>
                    <a:lnTo>
                      <a:pt x="26" y="0"/>
                    </a:lnTo>
                    <a:lnTo>
                      <a:pt x="13" y="37"/>
                    </a:lnTo>
                    <a:close/>
                  </a:path>
                </a:pathLst>
              </a:custGeom>
              <a:solidFill>
                <a:srgbClr val="484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11" name="Freeform 1561"/>
              <p:cNvSpPr>
                <a:spLocks/>
              </p:cNvSpPr>
              <p:nvPr/>
            </p:nvSpPr>
            <p:spPr bwMode="auto">
              <a:xfrm>
                <a:off x="3468688" y="12906376"/>
                <a:ext cx="349250" cy="14288"/>
              </a:xfrm>
              <a:custGeom>
                <a:avLst/>
                <a:gdLst>
                  <a:gd name="T0" fmla="*/ 167 w 167"/>
                  <a:gd name="T1" fmla="*/ 4 h 7"/>
                  <a:gd name="T2" fmla="*/ 164 w 167"/>
                  <a:gd name="T3" fmla="*/ 7 h 7"/>
                  <a:gd name="T4" fmla="*/ 3 w 167"/>
                  <a:gd name="T5" fmla="*/ 7 h 7"/>
                  <a:gd name="T6" fmla="*/ 0 w 167"/>
                  <a:gd name="T7" fmla="*/ 4 h 7"/>
                  <a:gd name="T8" fmla="*/ 3 w 167"/>
                  <a:gd name="T9" fmla="*/ 0 h 7"/>
                  <a:gd name="T10" fmla="*/ 164 w 167"/>
                  <a:gd name="T11" fmla="*/ 0 h 7"/>
                  <a:gd name="T12" fmla="*/ 167 w 167"/>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67" h="7">
                    <a:moveTo>
                      <a:pt x="167" y="4"/>
                    </a:moveTo>
                    <a:cubicBezTo>
                      <a:pt x="167" y="6"/>
                      <a:pt x="166" y="7"/>
                      <a:pt x="164" y="7"/>
                    </a:cubicBezTo>
                    <a:cubicBezTo>
                      <a:pt x="3" y="7"/>
                      <a:pt x="3" y="7"/>
                      <a:pt x="3" y="7"/>
                    </a:cubicBezTo>
                    <a:cubicBezTo>
                      <a:pt x="1" y="7"/>
                      <a:pt x="0" y="6"/>
                      <a:pt x="0" y="4"/>
                    </a:cubicBezTo>
                    <a:cubicBezTo>
                      <a:pt x="0" y="2"/>
                      <a:pt x="1" y="0"/>
                      <a:pt x="3" y="0"/>
                    </a:cubicBezTo>
                    <a:cubicBezTo>
                      <a:pt x="164" y="0"/>
                      <a:pt x="164" y="0"/>
                      <a:pt x="164" y="0"/>
                    </a:cubicBezTo>
                    <a:cubicBezTo>
                      <a:pt x="166" y="0"/>
                      <a:pt x="167" y="2"/>
                      <a:pt x="167" y="4"/>
                    </a:cubicBezTo>
                    <a:close/>
                  </a:path>
                </a:pathLst>
              </a:custGeom>
              <a:solidFill>
                <a:srgbClr val="484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12" name="Freeform 1562"/>
              <p:cNvSpPr>
                <a:spLocks/>
              </p:cNvSpPr>
              <p:nvPr/>
            </p:nvSpPr>
            <p:spPr bwMode="auto">
              <a:xfrm>
                <a:off x="3636963" y="12895263"/>
                <a:ext cx="14288" cy="82550"/>
              </a:xfrm>
              <a:custGeom>
                <a:avLst/>
                <a:gdLst>
                  <a:gd name="T0" fmla="*/ 7 w 7"/>
                  <a:gd name="T1" fmla="*/ 35 h 39"/>
                  <a:gd name="T2" fmla="*/ 3 w 7"/>
                  <a:gd name="T3" fmla="*/ 39 h 39"/>
                  <a:gd name="T4" fmla="*/ 0 w 7"/>
                  <a:gd name="T5" fmla="*/ 35 h 39"/>
                  <a:gd name="T6" fmla="*/ 0 w 7"/>
                  <a:gd name="T7" fmla="*/ 3 h 39"/>
                  <a:gd name="T8" fmla="*/ 3 w 7"/>
                  <a:gd name="T9" fmla="*/ 0 h 39"/>
                  <a:gd name="T10" fmla="*/ 7 w 7"/>
                  <a:gd name="T11" fmla="*/ 3 h 39"/>
                  <a:gd name="T12" fmla="*/ 7 w 7"/>
                  <a:gd name="T13" fmla="*/ 35 h 39"/>
                </a:gdLst>
                <a:ahLst/>
                <a:cxnLst>
                  <a:cxn ang="0">
                    <a:pos x="T0" y="T1"/>
                  </a:cxn>
                  <a:cxn ang="0">
                    <a:pos x="T2" y="T3"/>
                  </a:cxn>
                  <a:cxn ang="0">
                    <a:pos x="T4" y="T5"/>
                  </a:cxn>
                  <a:cxn ang="0">
                    <a:pos x="T6" y="T7"/>
                  </a:cxn>
                  <a:cxn ang="0">
                    <a:pos x="T8" y="T9"/>
                  </a:cxn>
                  <a:cxn ang="0">
                    <a:pos x="T10" y="T11"/>
                  </a:cxn>
                  <a:cxn ang="0">
                    <a:pos x="T12" y="T13"/>
                  </a:cxn>
                </a:cxnLst>
                <a:rect l="0" t="0" r="r" b="b"/>
                <a:pathLst>
                  <a:path w="7" h="39">
                    <a:moveTo>
                      <a:pt x="7" y="35"/>
                    </a:moveTo>
                    <a:cubicBezTo>
                      <a:pt x="7" y="37"/>
                      <a:pt x="5" y="39"/>
                      <a:pt x="3" y="39"/>
                    </a:cubicBezTo>
                    <a:cubicBezTo>
                      <a:pt x="2" y="39"/>
                      <a:pt x="0" y="37"/>
                      <a:pt x="0" y="35"/>
                    </a:cubicBezTo>
                    <a:cubicBezTo>
                      <a:pt x="0" y="3"/>
                      <a:pt x="0" y="3"/>
                      <a:pt x="0" y="3"/>
                    </a:cubicBezTo>
                    <a:cubicBezTo>
                      <a:pt x="0" y="1"/>
                      <a:pt x="2" y="0"/>
                      <a:pt x="3" y="0"/>
                    </a:cubicBezTo>
                    <a:cubicBezTo>
                      <a:pt x="5" y="0"/>
                      <a:pt x="7" y="1"/>
                      <a:pt x="7" y="3"/>
                    </a:cubicBezTo>
                    <a:lnTo>
                      <a:pt x="7" y="35"/>
                    </a:lnTo>
                    <a:close/>
                  </a:path>
                </a:pathLst>
              </a:custGeom>
              <a:solidFill>
                <a:srgbClr val="8B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13" name="Freeform 1563"/>
              <p:cNvSpPr>
                <a:spLocks/>
              </p:cNvSpPr>
              <p:nvPr/>
            </p:nvSpPr>
            <p:spPr bwMode="auto">
              <a:xfrm>
                <a:off x="3597276" y="12933363"/>
                <a:ext cx="90488" cy="28575"/>
              </a:xfrm>
              <a:custGeom>
                <a:avLst/>
                <a:gdLst>
                  <a:gd name="T0" fmla="*/ 32 w 44"/>
                  <a:gd name="T1" fmla="*/ 0 h 14"/>
                  <a:gd name="T2" fmla="*/ 22 w 44"/>
                  <a:gd name="T3" fmla="*/ 0 h 14"/>
                  <a:gd name="T4" fmla="*/ 13 w 44"/>
                  <a:gd name="T5" fmla="*/ 0 h 14"/>
                  <a:gd name="T6" fmla="*/ 0 w 44"/>
                  <a:gd name="T7" fmla="*/ 14 h 14"/>
                  <a:gd name="T8" fmla="*/ 22 w 44"/>
                  <a:gd name="T9" fmla="*/ 14 h 14"/>
                  <a:gd name="T10" fmla="*/ 44 w 44"/>
                  <a:gd name="T11" fmla="*/ 14 h 14"/>
                  <a:gd name="T12" fmla="*/ 32 w 4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4" h="14">
                    <a:moveTo>
                      <a:pt x="32" y="0"/>
                    </a:moveTo>
                    <a:cubicBezTo>
                      <a:pt x="29" y="0"/>
                      <a:pt x="22" y="0"/>
                      <a:pt x="22" y="0"/>
                    </a:cubicBezTo>
                    <a:cubicBezTo>
                      <a:pt x="22" y="0"/>
                      <a:pt x="16" y="0"/>
                      <a:pt x="13" y="0"/>
                    </a:cubicBezTo>
                    <a:cubicBezTo>
                      <a:pt x="10" y="0"/>
                      <a:pt x="3" y="7"/>
                      <a:pt x="0" y="14"/>
                    </a:cubicBezTo>
                    <a:cubicBezTo>
                      <a:pt x="22" y="14"/>
                      <a:pt x="22" y="14"/>
                      <a:pt x="22" y="14"/>
                    </a:cubicBezTo>
                    <a:cubicBezTo>
                      <a:pt x="44" y="14"/>
                      <a:pt x="44" y="14"/>
                      <a:pt x="44" y="14"/>
                    </a:cubicBezTo>
                    <a:cubicBezTo>
                      <a:pt x="41" y="7"/>
                      <a:pt x="35" y="0"/>
                      <a:pt x="32" y="0"/>
                    </a:cubicBezTo>
                    <a:close/>
                  </a:path>
                </a:pathLst>
              </a:custGeom>
              <a:solidFill>
                <a:srgbClr val="484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14" name="Freeform 1564"/>
              <p:cNvSpPr>
                <a:spLocks/>
              </p:cNvSpPr>
              <p:nvPr/>
            </p:nvSpPr>
            <p:spPr bwMode="auto">
              <a:xfrm>
                <a:off x="3321051" y="12901613"/>
                <a:ext cx="117475" cy="65088"/>
              </a:xfrm>
              <a:custGeom>
                <a:avLst/>
                <a:gdLst>
                  <a:gd name="T0" fmla="*/ 56 w 56"/>
                  <a:gd name="T1" fmla="*/ 30 h 31"/>
                  <a:gd name="T2" fmla="*/ 55 w 56"/>
                  <a:gd name="T3" fmla="*/ 28 h 31"/>
                  <a:gd name="T4" fmla="*/ 24 w 56"/>
                  <a:gd name="T5" fmla="*/ 0 h 31"/>
                  <a:gd name="T6" fmla="*/ 23 w 56"/>
                  <a:gd name="T7" fmla="*/ 0 h 31"/>
                  <a:gd name="T8" fmla="*/ 2 w 56"/>
                  <a:gd name="T9" fmla="*/ 0 h 31"/>
                  <a:gd name="T10" fmla="*/ 1 w 56"/>
                  <a:gd name="T11" fmla="*/ 1 h 31"/>
                  <a:gd name="T12" fmla="*/ 1 w 56"/>
                  <a:gd name="T13" fmla="*/ 3 h 31"/>
                  <a:gd name="T14" fmla="*/ 19 w 56"/>
                  <a:gd name="T15" fmla="*/ 30 h 31"/>
                  <a:gd name="T16" fmla="*/ 21 w 56"/>
                  <a:gd name="T17" fmla="*/ 31 h 31"/>
                  <a:gd name="T18" fmla="*/ 54 w 56"/>
                  <a:gd name="T19" fmla="*/ 31 h 31"/>
                  <a:gd name="T20" fmla="*/ 56 w 56"/>
                  <a:gd name="T21"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31">
                    <a:moveTo>
                      <a:pt x="56" y="30"/>
                    </a:moveTo>
                    <a:cubicBezTo>
                      <a:pt x="56" y="29"/>
                      <a:pt x="56" y="28"/>
                      <a:pt x="55" y="28"/>
                    </a:cubicBezTo>
                    <a:cubicBezTo>
                      <a:pt x="24" y="0"/>
                      <a:pt x="24" y="0"/>
                      <a:pt x="24" y="0"/>
                    </a:cubicBezTo>
                    <a:cubicBezTo>
                      <a:pt x="24" y="0"/>
                      <a:pt x="23" y="0"/>
                      <a:pt x="23" y="0"/>
                    </a:cubicBezTo>
                    <a:cubicBezTo>
                      <a:pt x="2" y="0"/>
                      <a:pt x="2" y="0"/>
                      <a:pt x="2" y="0"/>
                    </a:cubicBezTo>
                    <a:cubicBezTo>
                      <a:pt x="2" y="0"/>
                      <a:pt x="1" y="0"/>
                      <a:pt x="1" y="1"/>
                    </a:cubicBezTo>
                    <a:cubicBezTo>
                      <a:pt x="0" y="1"/>
                      <a:pt x="0" y="2"/>
                      <a:pt x="1" y="3"/>
                    </a:cubicBezTo>
                    <a:cubicBezTo>
                      <a:pt x="19" y="30"/>
                      <a:pt x="19" y="30"/>
                      <a:pt x="19" y="30"/>
                    </a:cubicBezTo>
                    <a:cubicBezTo>
                      <a:pt x="19" y="31"/>
                      <a:pt x="20" y="31"/>
                      <a:pt x="21" y="31"/>
                    </a:cubicBezTo>
                    <a:cubicBezTo>
                      <a:pt x="54" y="31"/>
                      <a:pt x="54" y="31"/>
                      <a:pt x="54" y="31"/>
                    </a:cubicBezTo>
                    <a:cubicBezTo>
                      <a:pt x="55" y="31"/>
                      <a:pt x="56" y="31"/>
                      <a:pt x="56" y="30"/>
                    </a:cubicBezTo>
                    <a:close/>
                  </a:path>
                </a:pathLst>
              </a:custGeom>
              <a:solidFill>
                <a:srgbClr val="F15A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15" name="Freeform 1565"/>
              <p:cNvSpPr>
                <a:spLocks/>
              </p:cNvSpPr>
              <p:nvPr/>
            </p:nvSpPr>
            <p:spPr bwMode="auto">
              <a:xfrm>
                <a:off x="3340101" y="12977813"/>
                <a:ext cx="85725" cy="57150"/>
              </a:xfrm>
              <a:custGeom>
                <a:avLst/>
                <a:gdLst>
                  <a:gd name="T0" fmla="*/ 16 w 41"/>
                  <a:gd name="T1" fmla="*/ 28 h 28"/>
                  <a:gd name="T2" fmla="*/ 40 w 41"/>
                  <a:gd name="T3" fmla="*/ 4 h 28"/>
                  <a:gd name="T4" fmla="*/ 41 w 41"/>
                  <a:gd name="T5" fmla="*/ 1 h 28"/>
                  <a:gd name="T6" fmla="*/ 39 w 41"/>
                  <a:gd name="T7" fmla="*/ 0 h 28"/>
                  <a:gd name="T8" fmla="*/ 17 w 41"/>
                  <a:gd name="T9" fmla="*/ 0 h 28"/>
                  <a:gd name="T10" fmla="*/ 15 w 41"/>
                  <a:gd name="T11" fmla="*/ 1 h 28"/>
                  <a:gd name="T12" fmla="*/ 1 w 41"/>
                  <a:gd name="T13" fmla="*/ 25 h 28"/>
                  <a:gd name="T14" fmla="*/ 1 w 41"/>
                  <a:gd name="T15" fmla="*/ 27 h 28"/>
                  <a:gd name="T16" fmla="*/ 2 w 41"/>
                  <a:gd name="T17" fmla="*/ 28 h 28"/>
                  <a:gd name="T18" fmla="*/ 15 w 41"/>
                  <a:gd name="T19" fmla="*/ 28 h 28"/>
                  <a:gd name="T20" fmla="*/ 16 w 41"/>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28">
                    <a:moveTo>
                      <a:pt x="16" y="28"/>
                    </a:moveTo>
                    <a:cubicBezTo>
                      <a:pt x="40" y="4"/>
                      <a:pt x="40" y="4"/>
                      <a:pt x="40" y="4"/>
                    </a:cubicBezTo>
                    <a:cubicBezTo>
                      <a:pt x="41" y="3"/>
                      <a:pt x="41" y="2"/>
                      <a:pt x="41" y="1"/>
                    </a:cubicBezTo>
                    <a:cubicBezTo>
                      <a:pt x="41" y="1"/>
                      <a:pt x="40" y="0"/>
                      <a:pt x="39" y="0"/>
                    </a:cubicBezTo>
                    <a:cubicBezTo>
                      <a:pt x="17" y="0"/>
                      <a:pt x="17" y="0"/>
                      <a:pt x="17" y="0"/>
                    </a:cubicBezTo>
                    <a:cubicBezTo>
                      <a:pt x="16" y="0"/>
                      <a:pt x="15" y="1"/>
                      <a:pt x="15" y="1"/>
                    </a:cubicBezTo>
                    <a:cubicBezTo>
                      <a:pt x="1" y="25"/>
                      <a:pt x="1" y="25"/>
                      <a:pt x="1" y="25"/>
                    </a:cubicBezTo>
                    <a:cubicBezTo>
                      <a:pt x="0" y="26"/>
                      <a:pt x="0" y="27"/>
                      <a:pt x="1" y="27"/>
                    </a:cubicBezTo>
                    <a:cubicBezTo>
                      <a:pt x="1" y="28"/>
                      <a:pt x="2" y="28"/>
                      <a:pt x="2" y="28"/>
                    </a:cubicBezTo>
                    <a:cubicBezTo>
                      <a:pt x="15" y="28"/>
                      <a:pt x="15" y="28"/>
                      <a:pt x="15" y="28"/>
                    </a:cubicBezTo>
                    <a:cubicBezTo>
                      <a:pt x="15" y="28"/>
                      <a:pt x="16" y="28"/>
                      <a:pt x="16" y="28"/>
                    </a:cubicBezTo>
                    <a:close/>
                  </a:path>
                </a:pathLst>
              </a:custGeom>
              <a:solidFill>
                <a:srgbClr val="F15A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16" name="Freeform 1566"/>
              <p:cNvSpPr>
                <a:spLocks/>
              </p:cNvSpPr>
              <p:nvPr/>
            </p:nvSpPr>
            <p:spPr bwMode="auto">
              <a:xfrm>
                <a:off x="3333751" y="12954001"/>
                <a:ext cx="517525" cy="157163"/>
              </a:xfrm>
              <a:custGeom>
                <a:avLst/>
                <a:gdLst>
                  <a:gd name="T0" fmla="*/ 248 w 248"/>
                  <a:gd name="T1" fmla="*/ 46 h 75"/>
                  <a:gd name="T2" fmla="*/ 172 w 248"/>
                  <a:gd name="T3" fmla="*/ 0 h 75"/>
                  <a:gd name="T4" fmla="*/ 2 w 248"/>
                  <a:gd name="T5" fmla="*/ 0 h 75"/>
                  <a:gd name="T6" fmla="*/ 0 w 248"/>
                  <a:gd name="T7" fmla="*/ 1 h 75"/>
                  <a:gd name="T8" fmla="*/ 0 w 248"/>
                  <a:gd name="T9" fmla="*/ 2 h 75"/>
                  <a:gd name="T10" fmla="*/ 4 w 248"/>
                  <a:gd name="T11" fmla="*/ 13 h 75"/>
                  <a:gd name="T12" fmla="*/ 5 w 248"/>
                  <a:gd name="T13" fmla="*/ 14 h 75"/>
                  <a:gd name="T14" fmla="*/ 92 w 248"/>
                  <a:gd name="T15" fmla="*/ 37 h 75"/>
                  <a:gd name="T16" fmla="*/ 126 w 248"/>
                  <a:gd name="T17" fmla="*/ 74 h 75"/>
                  <a:gd name="T18" fmla="*/ 127 w 248"/>
                  <a:gd name="T19" fmla="*/ 75 h 75"/>
                  <a:gd name="T20" fmla="*/ 206 w 248"/>
                  <a:gd name="T21" fmla="*/ 75 h 75"/>
                  <a:gd name="T22" fmla="*/ 248 w 248"/>
                  <a:gd name="T23" fmla="*/ 4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8" h="75">
                    <a:moveTo>
                      <a:pt x="248" y="46"/>
                    </a:moveTo>
                    <a:cubicBezTo>
                      <a:pt x="248" y="27"/>
                      <a:pt x="219" y="0"/>
                      <a:pt x="172" y="0"/>
                    </a:cubicBezTo>
                    <a:cubicBezTo>
                      <a:pt x="2" y="0"/>
                      <a:pt x="2" y="0"/>
                      <a:pt x="2" y="0"/>
                    </a:cubicBezTo>
                    <a:cubicBezTo>
                      <a:pt x="1" y="0"/>
                      <a:pt x="1" y="0"/>
                      <a:pt x="0" y="1"/>
                    </a:cubicBezTo>
                    <a:cubicBezTo>
                      <a:pt x="0" y="1"/>
                      <a:pt x="0" y="2"/>
                      <a:pt x="0" y="2"/>
                    </a:cubicBezTo>
                    <a:cubicBezTo>
                      <a:pt x="4" y="13"/>
                      <a:pt x="4" y="13"/>
                      <a:pt x="4" y="13"/>
                    </a:cubicBezTo>
                    <a:cubicBezTo>
                      <a:pt x="4" y="14"/>
                      <a:pt x="5" y="14"/>
                      <a:pt x="5" y="14"/>
                    </a:cubicBezTo>
                    <a:cubicBezTo>
                      <a:pt x="92" y="37"/>
                      <a:pt x="92" y="37"/>
                      <a:pt x="92" y="37"/>
                    </a:cubicBezTo>
                    <a:cubicBezTo>
                      <a:pt x="126" y="74"/>
                      <a:pt x="126" y="74"/>
                      <a:pt x="126" y="74"/>
                    </a:cubicBezTo>
                    <a:cubicBezTo>
                      <a:pt x="126" y="75"/>
                      <a:pt x="127" y="75"/>
                      <a:pt x="127" y="75"/>
                    </a:cubicBezTo>
                    <a:cubicBezTo>
                      <a:pt x="206" y="75"/>
                      <a:pt x="206" y="75"/>
                      <a:pt x="206" y="75"/>
                    </a:cubicBezTo>
                    <a:cubicBezTo>
                      <a:pt x="232" y="75"/>
                      <a:pt x="248" y="64"/>
                      <a:pt x="248" y="46"/>
                    </a:cubicBezTo>
                    <a:close/>
                  </a:path>
                </a:pathLst>
              </a:custGeom>
              <a:solidFill>
                <a:srgbClr val="F15A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17" name="Freeform 1567"/>
              <p:cNvSpPr>
                <a:spLocks/>
              </p:cNvSpPr>
              <p:nvPr/>
            </p:nvSpPr>
            <p:spPr bwMode="auto">
              <a:xfrm>
                <a:off x="3694113" y="12973051"/>
                <a:ext cx="141288" cy="90488"/>
              </a:xfrm>
              <a:custGeom>
                <a:avLst/>
                <a:gdLst>
                  <a:gd name="T0" fmla="*/ 66 w 67"/>
                  <a:gd name="T1" fmla="*/ 42 h 43"/>
                  <a:gd name="T2" fmla="*/ 66 w 67"/>
                  <a:gd name="T3" fmla="*/ 41 h 43"/>
                  <a:gd name="T4" fmla="*/ 55 w 67"/>
                  <a:gd name="T5" fmla="*/ 20 h 43"/>
                  <a:gd name="T6" fmla="*/ 2 w 67"/>
                  <a:gd name="T7" fmla="*/ 0 h 43"/>
                  <a:gd name="T8" fmla="*/ 0 w 67"/>
                  <a:gd name="T9" fmla="*/ 2 h 43"/>
                  <a:gd name="T10" fmla="*/ 0 w 67"/>
                  <a:gd name="T11" fmla="*/ 30 h 43"/>
                  <a:gd name="T12" fmla="*/ 1 w 67"/>
                  <a:gd name="T13" fmla="*/ 32 h 43"/>
                  <a:gd name="T14" fmla="*/ 28 w 67"/>
                  <a:gd name="T15" fmla="*/ 43 h 43"/>
                  <a:gd name="T16" fmla="*/ 29 w 67"/>
                  <a:gd name="T17" fmla="*/ 43 h 43"/>
                  <a:gd name="T18" fmla="*/ 65 w 67"/>
                  <a:gd name="T19" fmla="*/ 43 h 43"/>
                  <a:gd name="T20" fmla="*/ 66 w 67"/>
                  <a:gd name="T21"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43">
                    <a:moveTo>
                      <a:pt x="66" y="42"/>
                    </a:moveTo>
                    <a:cubicBezTo>
                      <a:pt x="66" y="42"/>
                      <a:pt x="67" y="41"/>
                      <a:pt x="66" y="41"/>
                    </a:cubicBezTo>
                    <a:cubicBezTo>
                      <a:pt x="66" y="40"/>
                      <a:pt x="64" y="30"/>
                      <a:pt x="55" y="20"/>
                    </a:cubicBezTo>
                    <a:cubicBezTo>
                      <a:pt x="47" y="11"/>
                      <a:pt x="31" y="0"/>
                      <a:pt x="2" y="0"/>
                    </a:cubicBezTo>
                    <a:cubicBezTo>
                      <a:pt x="1" y="0"/>
                      <a:pt x="0" y="1"/>
                      <a:pt x="0" y="2"/>
                    </a:cubicBezTo>
                    <a:cubicBezTo>
                      <a:pt x="0" y="30"/>
                      <a:pt x="0" y="30"/>
                      <a:pt x="0" y="30"/>
                    </a:cubicBezTo>
                    <a:cubicBezTo>
                      <a:pt x="0" y="31"/>
                      <a:pt x="0" y="32"/>
                      <a:pt x="1" y="32"/>
                    </a:cubicBezTo>
                    <a:cubicBezTo>
                      <a:pt x="28" y="43"/>
                      <a:pt x="28" y="43"/>
                      <a:pt x="28" y="43"/>
                    </a:cubicBezTo>
                    <a:cubicBezTo>
                      <a:pt x="28" y="43"/>
                      <a:pt x="28" y="43"/>
                      <a:pt x="29" y="43"/>
                    </a:cubicBezTo>
                    <a:cubicBezTo>
                      <a:pt x="65" y="43"/>
                      <a:pt x="65" y="43"/>
                      <a:pt x="65" y="43"/>
                    </a:cubicBezTo>
                    <a:cubicBezTo>
                      <a:pt x="65" y="43"/>
                      <a:pt x="66" y="43"/>
                      <a:pt x="66" y="42"/>
                    </a:cubicBezTo>
                    <a:close/>
                  </a:path>
                </a:pathLst>
              </a:custGeom>
              <a:solidFill>
                <a:srgbClr val="FBE4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18" name="Freeform 1568"/>
              <p:cNvSpPr>
                <a:spLocks/>
              </p:cNvSpPr>
              <p:nvPr/>
            </p:nvSpPr>
            <p:spPr bwMode="auto">
              <a:xfrm>
                <a:off x="3581401" y="12998451"/>
                <a:ext cx="69850" cy="66675"/>
              </a:xfrm>
              <a:custGeom>
                <a:avLst/>
                <a:gdLst>
                  <a:gd name="T0" fmla="*/ 44 w 44"/>
                  <a:gd name="T1" fmla="*/ 14 h 42"/>
                  <a:gd name="T2" fmla="*/ 29 w 44"/>
                  <a:gd name="T3" fmla="*/ 14 h 42"/>
                  <a:gd name="T4" fmla="*/ 29 w 44"/>
                  <a:gd name="T5" fmla="*/ 0 h 42"/>
                  <a:gd name="T6" fmla="*/ 15 w 44"/>
                  <a:gd name="T7" fmla="*/ 0 h 42"/>
                  <a:gd name="T8" fmla="*/ 15 w 44"/>
                  <a:gd name="T9" fmla="*/ 14 h 42"/>
                  <a:gd name="T10" fmla="*/ 0 w 44"/>
                  <a:gd name="T11" fmla="*/ 14 h 42"/>
                  <a:gd name="T12" fmla="*/ 0 w 44"/>
                  <a:gd name="T13" fmla="*/ 29 h 42"/>
                  <a:gd name="T14" fmla="*/ 15 w 44"/>
                  <a:gd name="T15" fmla="*/ 29 h 42"/>
                  <a:gd name="T16" fmla="*/ 15 w 44"/>
                  <a:gd name="T17" fmla="*/ 42 h 42"/>
                  <a:gd name="T18" fmla="*/ 29 w 44"/>
                  <a:gd name="T19" fmla="*/ 42 h 42"/>
                  <a:gd name="T20" fmla="*/ 29 w 44"/>
                  <a:gd name="T21" fmla="*/ 29 h 42"/>
                  <a:gd name="T22" fmla="*/ 44 w 44"/>
                  <a:gd name="T23" fmla="*/ 29 h 42"/>
                  <a:gd name="T24" fmla="*/ 44 w 44"/>
                  <a:gd name="T25"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42">
                    <a:moveTo>
                      <a:pt x="44" y="14"/>
                    </a:moveTo>
                    <a:lnTo>
                      <a:pt x="29" y="14"/>
                    </a:lnTo>
                    <a:lnTo>
                      <a:pt x="29" y="0"/>
                    </a:lnTo>
                    <a:lnTo>
                      <a:pt x="15" y="0"/>
                    </a:lnTo>
                    <a:lnTo>
                      <a:pt x="15" y="14"/>
                    </a:lnTo>
                    <a:lnTo>
                      <a:pt x="0" y="14"/>
                    </a:lnTo>
                    <a:lnTo>
                      <a:pt x="0" y="29"/>
                    </a:lnTo>
                    <a:lnTo>
                      <a:pt x="15" y="29"/>
                    </a:lnTo>
                    <a:lnTo>
                      <a:pt x="15" y="42"/>
                    </a:lnTo>
                    <a:lnTo>
                      <a:pt x="29" y="42"/>
                    </a:lnTo>
                    <a:lnTo>
                      <a:pt x="29" y="29"/>
                    </a:lnTo>
                    <a:lnTo>
                      <a:pt x="44" y="29"/>
                    </a:lnTo>
                    <a:lnTo>
                      <a:pt x="44" y="14"/>
                    </a:lnTo>
                    <a:close/>
                  </a:path>
                </a:pathLst>
              </a:custGeom>
              <a:solidFill>
                <a:srgbClr val="FBE4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sp>
        <p:nvSpPr>
          <p:cNvPr id="421" name="Title 1"/>
          <p:cNvSpPr txBox="1">
            <a:spLocks/>
          </p:cNvSpPr>
          <p:nvPr/>
        </p:nvSpPr>
        <p:spPr>
          <a:xfrm>
            <a:off x="5069425" y="5235492"/>
            <a:ext cx="2056753" cy="461665"/>
          </a:xfrm>
          <a:prstGeom prst="rect">
            <a:avLst/>
          </a:prstGeom>
          <a:noFill/>
        </p:spPr>
        <p:txBody>
          <a:bodyPr wrap="square">
            <a:spAutoFit/>
          </a:bodyPr>
          <a:lstStyle>
            <a:defPPr>
              <a:defRPr lang="en-US"/>
            </a:defPPr>
            <a:lvl1pPr>
              <a:defRPr sz="1600" b="1">
                <a:solidFill>
                  <a:schemeClr val="tx1">
                    <a:lumMod val="85000"/>
                    <a:lumOff val="15000"/>
                  </a:schemeClr>
                </a:solidFill>
                <a:latin typeface="Raleway" panose="020B0503030101060003" pitchFamily="34" charset="0"/>
                <a:ea typeface="Roboto Light" panose="02000000000000000000" pitchFamily="2" charset="0"/>
                <a:cs typeface="Open Sans" panose="020B0606030504020204" pitchFamily="34" charset="0"/>
              </a:defRPr>
            </a:lvl1pPr>
          </a:lstStyle>
          <a:p>
            <a:pPr algn="ctr"/>
            <a:r>
              <a:rPr lang="en-US" sz="2400" dirty="0">
                <a:solidFill>
                  <a:srgbClr val="01678C"/>
                </a:solidFill>
                <a:latin typeface="Montserrat" panose="00000500000000000000" pitchFamily="2" charset="0"/>
              </a:rPr>
              <a:t>Emergency</a:t>
            </a:r>
          </a:p>
        </p:txBody>
      </p:sp>
      <p:sp>
        <p:nvSpPr>
          <p:cNvPr id="422" name="Rectangle 421"/>
          <p:cNvSpPr/>
          <p:nvPr/>
        </p:nvSpPr>
        <p:spPr>
          <a:xfrm>
            <a:off x="2453893" y="5687565"/>
            <a:ext cx="7291419" cy="646331"/>
          </a:xfrm>
          <a:prstGeom prst="rect">
            <a:avLst/>
          </a:prstGeom>
        </p:spPr>
        <p:txBody>
          <a:bodyPr wrap="square">
            <a:spAutoFit/>
          </a:bodyPr>
          <a:lstStyle/>
          <a:p>
            <a:pPr algn="ctr">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A wonderful serenity has taken possession of my entire soul, like these sweet mornings of spring which I enjoy with my whole heart.</a:t>
            </a:r>
          </a:p>
        </p:txBody>
      </p:sp>
    </p:spTree>
    <p:extLst>
      <p:ext uri="{BB962C8B-B14F-4D97-AF65-F5344CB8AC3E}">
        <p14:creationId xmlns:p14="http://schemas.microsoft.com/office/powerpoint/2010/main" val="1567368094"/>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1678C"/>
        </a:solidFill>
        <a:effectLst/>
      </p:bgPr>
    </p:bg>
    <p:spTree>
      <p:nvGrpSpPr>
        <p:cNvPr id="1" name=""/>
        <p:cNvGrpSpPr/>
        <p:nvPr/>
      </p:nvGrpSpPr>
      <p:grpSpPr>
        <a:xfrm>
          <a:off x="0" y="0"/>
          <a:ext cx="0" cy="0"/>
          <a:chOff x="0" y="0"/>
          <a:chExt cx="0" cy="0"/>
        </a:xfrm>
      </p:grpSpPr>
      <p:sp>
        <p:nvSpPr>
          <p:cNvPr id="2" name="Rectangle 1"/>
          <p:cNvSpPr/>
          <p:nvPr/>
        </p:nvSpPr>
        <p:spPr>
          <a:xfrm>
            <a:off x="2023" y="6664283"/>
            <a:ext cx="12189983" cy="206419"/>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
          <p:cNvSpPr/>
          <p:nvPr/>
        </p:nvSpPr>
        <p:spPr>
          <a:xfrm>
            <a:off x="5056966" y="6530678"/>
            <a:ext cx="2078068" cy="222924"/>
          </a:xfrm>
          <a:prstGeom prst="roundRect">
            <a:avLst>
              <a:gd name="adj" fmla="val 50000"/>
            </a:avLst>
          </a:prstGeom>
          <a:solidFill>
            <a:srgbClr val="018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effectLst>
                <a:outerShdw blurRad="63500" sx="102000" sy="102000" algn="ctr" rotWithShape="0">
                  <a:prstClr val="black">
                    <a:alpha val="40000"/>
                  </a:prstClr>
                </a:outerShdw>
              </a:effectLst>
              <a:latin typeface="+mj-lt"/>
            </a:endParaRPr>
          </a:p>
        </p:txBody>
      </p:sp>
      <p:cxnSp>
        <p:nvCxnSpPr>
          <p:cNvPr id="4" name="Straight Connector 3"/>
          <p:cNvCxnSpPr/>
          <p:nvPr/>
        </p:nvCxnSpPr>
        <p:spPr>
          <a:xfrm>
            <a:off x="6512721" y="6567488"/>
            <a:ext cx="0" cy="154781"/>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6665393" y="6505535"/>
            <a:ext cx="335348" cy="261610"/>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10</a:t>
            </a:r>
          </a:p>
        </p:txBody>
      </p:sp>
      <p:sp>
        <p:nvSpPr>
          <p:cNvPr id="6" name="Date Placeholder 1"/>
          <p:cNvSpPr txBox="1">
            <a:spLocks/>
          </p:cNvSpPr>
          <p:nvPr>
            <p:custDataLst>
              <p:tags r:id="rId1"/>
            </p:custDataLst>
          </p:nvPr>
        </p:nvSpPr>
        <p:spPr>
          <a:xfrm>
            <a:off x="5006809" y="6498189"/>
            <a:ext cx="1530941"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Segoe UI" panose="020B0502040204020203" pitchFamily="34" charset="0"/>
                <a:ea typeface="Open Sans Light" panose="020B0306030504020204" pitchFamily="34" charset="0"/>
                <a:cs typeface="Segoe UI" panose="020B0502040204020203" pitchFamily="34" charset="0"/>
              </a:rPr>
              <a:t>www.yourcompanyname.com</a:t>
            </a:r>
          </a:p>
        </p:txBody>
      </p:sp>
      <p:sp>
        <p:nvSpPr>
          <p:cNvPr id="7" name="Freeform: Shape 21">
            <a:extLst>
              <a:ext uri="{FF2B5EF4-FFF2-40B4-BE49-F238E27FC236}">
                <a16:creationId xmlns:a16="http://schemas.microsoft.com/office/drawing/2014/main" id="{67C41435-3C26-4A13-B120-57F7150B67F3}"/>
              </a:ext>
            </a:extLst>
          </p:cNvPr>
          <p:cNvSpPr/>
          <p:nvPr/>
        </p:nvSpPr>
        <p:spPr>
          <a:xfrm>
            <a:off x="381745" y="505287"/>
            <a:ext cx="11428511" cy="5610360"/>
          </a:xfrm>
          <a:prstGeom prst="rect">
            <a:avLst/>
          </a:prstGeom>
          <a:solidFill>
            <a:srgbClr val="018ABB"/>
          </a:solidFill>
          <a:ln>
            <a:noFill/>
          </a:ln>
          <a:effectLst>
            <a:outerShdw blurRad="698500" sx="102000" sy="102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pic>
        <p:nvPicPr>
          <p:cNvPr id="8" name="Picture 7">
            <a:extLst>
              <a:ext uri="{FF2B5EF4-FFF2-40B4-BE49-F238E27FC236}">
                <a16:creationId xmlns:a16="http://schemas.microsoft.com/office/drawing/2014/main" id="{3227F92D-6A48-4061-AC97-242576FED19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7897" y="1085152"/>
            <a:ext cx="5771570" cy="4328677"/>
          </a:xfrm>
          <a:prstGeom prst="rect">
            <a:avLst/>
          </a:prstGeom>
        </p:spPr>
      </p:pic>
      <p:sp>
        <p:nvSpPr>
          <p:cNvPr id="9" name="Rounded Rectangle 8"/>
          <p:cNvSpPr/>
          <p:nvPr/>
        </p:nvSpPr>
        <p:spPr>
          <a:xfrm>
            <a:off x="6855374" y="1242857"/>
            <a:ext cx="4580616" cy="4872790"/>
          </a:xfrm>
          <a:prstGeom prst="roundRect">
            <a:avLst>
              <a:gd name="adj" fmla="val 0"/>
            </a:avLst>
          </a:prstGeom>
          <a:solidFill>
            <a:schemeClr val="bg1"/>
          </a:solidFill>
          <a:ln>
            <a:noFill/>
          </a:ln>
          <a:effectLst>
            <a:outerShdw blurRad="342900" dist="304800" dir="2700000" algn="tl"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nvGrpSpPr>
          <p:cNvPr id="17" name="Group 16"/>
          <p:cNvGrpSpPr/>
          <p:nvPr/>
        </p:nvGrpSpPr>
        <p:grpSpPr>
          <a:xfrm>
            <a:off x="7538633" y="1913268"/>
            <a:ext cx="3214097" cy="3531968"/>
            <a:chOff x="7439390" y="1773058"/>
            <a:chExt cx="3214097" cy="3531968"/>
          </a:xfrm>
        </p:grpSpPr>
        <p:grpSp>
          <p:nvGrpSpPr>
            <p:cNvPr id="10" name="Group 9"/>
            <p:cNvGrpSpPr/>
            <p:nvPr/>
          </p:nvGrpSpPr>
          <p:grpSpPr>
            <a:xfrm>
              <a:off x="7439390" y="3063354"/>
              <a:ext cx="2017487" cy="45720"/>
              <a:chOff x="4886324" y="1149215"/>
              <a:chExt cx="2017487" cy="45720"/>
            </a:xfrm>
            <a:solidFill>
              <a:srgbClr val="01678C"/>
            </a:solidFill>
          </p:grpSpPr>
          <p:sp>
            <p:nvSpPr>
              <p:cNvPr id="11" name="Rectangle 10"/>
              <p:cNvSpPr/>
              <p:nvPr/>
            </p:nvSpPr>
            <p:spPr>
              <a:xfrm>
                <a:off x="4886325" y="1149216"/>
                <a:ext cx="2017486"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4886324" y="1149215"/>
                <a:ext cx="1039699"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64F6D"/>
                  </a:solidFill>
                </a:endParaRPr>
              </a:p>
            </p:txBody>
          </p:sp>
        </p:grpSp>
        <p:sp>
          <p:nvSpPr>
            <p:cNvPr id="13" name="Rectangle 12"/>
            <p:cNvSpPr/>
            <p:nvPr/>
          </p:nvSpPr>
          <p:spPr>
            <a:xfrm>
              <a:off x="7442930" y="3309840"/>
              <a:ext cx="3048042" cy="1446550"/>
            </a:xfrm>
            <a:prstGeom prst="rect">
              <a:avLst/>
            </a:prstGeom>
          </p:spPr>
          <p:txBody>
            <a:bodyPr wrap="square" anchor="ctr">
              <a:spAutoFit/>
            </a:bodyPr>
            <a:lstStyle/>
            <a:p>
              <a:pPr>
                <a:buClr>
                  <a:srgbClr val="E24848"/>
                </a:buClr>
                <a:defRPr/>
              </a:pPr>
              <a:r>
                <a:rPr lang="en-US" sz="1100" noProof="1">
                  <a:solidFill>
                    <a:schemeClr val="tx1">
                      <a:lumMod val="65000"/>
                      <a:lumOff val="35000"/>
                    </a:schemeClr>
                  </a:solidFill>
                  <a:latin typeface="Montserrat" panose="00000500000000000000" pitchFamily="50" charset="0"/>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A wonderful serenity has taken possession of my entire soul, like these sweet mornings of spring which I enjoy with my whole heart.</a:t>
              </a:r>
            </a:p>
          </p:txBody>
        </p:sp>
        <p:sp>
          <p:nvSpPr>
            <p:cNvPr id="14" name="Rectangle 13"/>
            <p:cNvSpPr/>
            <p:nvPr/>
          </p:nvSpPr>
          <p:spPr>
            <a:xfrm>
              <a:off x="7439390" y="4843361"/>
              <a:ext cx="1152160" cy="461665"/>
            </a:xfrm>
            <a:prstGeom prst="rect">
              <a:avLst/>
            </a:prstGeom>
            <a:noFill/>
          </p:spPr>
          <p:txBody>
            <a:bodyPr wrap="square">
              <a:spAutoFit/>
            </a:bodyPr>
            <a:lstStyle/>
            <a:p>
              <a:pPr>
                <a:buClr>
                  <a:srgbClr val="E24848"/>
                </a:buClr>
                <a:defRPr/>
              </a:pPr>
              <a:r>
                <a:rPr lang="en-US" sz="1200" b="1" noProof="1">
                  <a:solidFill>
                    <a:schemeClr val="tx1">
                      <a:lumMod val="85000"/>
                      <a:lumOff val="15000"/>
                    </a:schemeClr>
                  </a:solidFill>
                  <a:latin typeface="Lato" panose="020F0502020204030203" pitchFamily="34" charset="0"/>
                  <a:ea typeface="Open Sans" panose="020B0606030504020204" pitchFamily="34" charset="0"/>
                  <a:cs typeface="Lato" panose="020F0502020204030203" pitchFamily="34" charset="0"/>
                </a:rPr>
                <a:t>CEO, Founder</a:t>
              </a:r>
            </a:p>
            <a:p>
              <a:pPr>
                <a:buClr>
                  <a:srgbClr val="E24848"/>
                </a:buClr>
                <a:defRPr/>
              </a:pPr>
              <a:r>
                <a:rPr lang="en-US" sz="1200" b="1" noProof="1">
                  <a:solidFill>
                    <a:schemeClr val="tx1">
                      <a:lumMod val="85000"/>
                      <a:lumOff val="15000"/>
                    </a:schemeClr>
                  </a:solidFill>
                  <a:latin typeface="Lato" panose="020F0502020204030203" pitchFamily="34" charset="0"/>
                  <a:ea typeface="Open Sans" panose="020B0606030504020204" pitchFamily="34" charset="0"/>
                  <a:cs typeface="Lato" panose="020F0502020204030203" pitchFamily="34" charset="0"/>
                </a:rPr>
                <a:t>Doctor</a:t>
              </a:r>
            </a:p>
          </p:txBody>
        </p:sp>
        <p:sp>
          <p:nvSpPr>
            <p:cNvPr id="15" name="Title 1"/>
            <p:cNvSpPr txBox="1">
              <a:spLocks/>
            </p:cNvSpPr>
            <p:nvPr/>
          </p:nvSpPr>
          <p:spPr>
            <a:xfrm>
              <a:off x="7439391" y="1773058"/>
              <a:ext cx="3214096" cy="1089529"/>
            </a:xfrm>
            <a:prstGeom prst="rect">
              <a:avLst/>
            </a:prstGeom>
            <a:noFill/>
          </p:spPr>
          <p:txBody>
            <a:bodyPr vert="horz" wrap="square" lIns="91416" tIns="45708" rIns="91416" bIns="45708" rtlCol="0" anchor="ctr">
              <a:noAutofit/>
            </a:bodyPr>
            <a:lstStyle>
              <a:defPPr>
                <a:defRPr lang="en-US"/>
              </a:defPPr>
              <a:lvl1pPr algn="ctr">
                <a:lnSpc>
                  <a:spcPct val="90000"/>
                </a:lnSpc>
                <a:spcBef>
                  <a:spcPct val="0"/>
                </a:spcBef>
                <a:buNone/>
                <a:defRPr sz="3600" b="1" spc="-150">
                  <a:solidFill>
                    <a:schemeClr val="accent1"/>
                  </a:solidFill>
                  <a:latin typeface="Montserrat" panose="00000500000000000000" pitchFamily="2" charset="0"/>
                  <a:ea typeface="Roboto" panose="02000000000000000000" pitchFamily="2" charset="0"/>
                  <a:cs typeface="Times New Roman" panose="02020603050405020304" pitchFamily="18" charset="0"/>
                </a:defRPr>
              </a:lvl1pPr>
            </a:lstStyle>
            <a:p>
              <a:pPr algn="l"/>
              <a:r>
                <a:rPr lang="en-US" sz="4000" dirty="0">
                  <a:solidFill>
                    <a:srgbClr val="01678C"/>
                  </a:solidFill>
                </a:rPr>
                <a:t>Smart </a:t>
              </a:r>
            </a:p>
            <a:p>
              <a:pPr algn="l"/>
              <a:r>
                <a:rPr lang="en-US" sz="4000" b="0" dirty="0">
                  <a:solidFill>
                    <a:schemeClr val="tx1"/>
                  </a:solidFill>
                </a:rPr>
                <a:t>Technology</a:t>
              </a:r>
            </a:p>
          </p:txBody>
        </p:sp>
      </p:grpSp>
      <p:pic>
        <p:nvPicPr>
          <p:cNvPr id="18" name="Picture Placeholder 17"/>
          <p:cNvPicPr>
            <a:picLocks noGrp="1" noChangeAspect="1"/>
          </p:cNvPicPr>
          <p:nvPr>
            <p:ph type="pic" sz="quarter" idx="15"/>
          </p:nvPr>
        </p:nvPicPr>
        <p:blipFill>
          <a:blip r:embed="rId4" cstate="print">
            <a:extLst>
              <a:ext uri="{28A0092B-C50C-407E-A947-70E740481C1C}">
                <a14:useLocalDpi xmlns:a14="http://schemas.microsoft.com/office/drawing/2010/main" val="0"/>
              </a:ext>
            </a:extLst>
          </a:blip>
          <a:srcRect t="9491" b="9491"/>
          <a:stretch>
            <a:fillRect/>
          </a:stretch>
        </p:blipFill>
        <p:spPr/>
      </p:pic>
    </p:spTree>
    <p:extLst>
      <p:ext uri="{BB962C8B-B14F-4D97-AF65-F5344CB8AC3E}">
        <p14:creationId xmlns:p14="http://schemas.microsoft.com/office/powerpoint/2010/main" val="2490223322"/>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23" y="6664283"/>
            <a:ext cx="12189983" cy="206419"/>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
          <p:cNvSpPr/>
          <p:nvPr/>
        </p:nvSpPr>
        <p:spPr>
          <a:xfrm>
            <a:off x="5056966" y="6530678"/>
            <a:ext cx="2078068" cy="222924"/>
          </a:xfrm>
          <a:prstGeom prst="roundRect">
            <a:avLst>
              <a:gd name="adj" fmla="val 50000"/>
            </a:avLst>
          </a:prstGeom>
          <a:solidFill>
            <a:srgbClr val="018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effectLst>
                <a:outerShdw blurRad="63500" sx="102000" sy="102000" algn="ctr" rotWithShape="0">
                  <a:prstClr val="black">
                    <a:alpha val="40000"/>
                  </a:prstClr>
                </a:outerShdw>
              </a:effectLst>
              <a:latin typeface="+mj-lt"/>
            </a:endParaRPr>
          </a:p>
        </p:txBody>
      </p:sp>
      <p:cxnSp>
        <p:nvCxnSpPr>
          <p:cNvPr id="4" name="Straight Connector 3"/>
          <p:cNvCxnSpPr/>
          <p:nvPr/>
        </p:nvCxnSpPr>
        <p:spPr>
          <a:xfrm>
            <a:off x="6512721" y="6567488"/>
            <a:ext cx="0" cy="154781"/>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6665393" y="6505535"/>
            <a:ext cx="335348" cy="261610"/>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11</a:t>
            </a:r>
          </a:p>
        </p:txBody>
      </p:sp>
      <p:sp>
        <p:nvSpPr>
          <p:cNvPr id="6" name="Date Placeholder 1"/>
          <p:cNvSpPr txBox="1">
            <a:spLocks/>
          </p:cNvSpPr>
          <p:nvPr>
            <p:custDataLst>
              <p:tags r:id="rId1"/>
            </p:custDataLst>
          </p:nvPr>
        </p:nvSpPr>
        <p:spPr>
          <a:xfrm>
            <a:off x="5006809" y="6498189"/>
            <a:ext cx="1530941"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Segoe UI" panose="020B0502040204020203" pitchFamily="34" charset="0"/>
                <a:ea typeface="Open Sans Light" panose="020B0306030504020204" pitchFamily="34" charset="0"/>
                <a:cs typeface="Segoe UI" panose="020B0502040204020203" pitchFamily="34" charset="0"/>
              </a:rPr>
              <a:t>www.yourcompanyname.com</a:t>
            </a:r>
          </a:p>
        </p:txBody>
      </p:sp>
      <p:sp>
        <p:nvSpPr>
          <p:cNvPr id="7" name="Freeform 11">
            <a:extLst>
              <a:ext uri="{FF2B5EF4-FFF2-40B4-BE49-F238E27FC236}">
                <a16:creationId xmlns:a16="http://schemas.microsoft.com/office/drawing/2014/main" id="{492CA400-7F5E-4706-8A73-B789C5212860}"/>
              </a:ext>
            </a:extLst>
          </p:cNvPr>
          <p:cNvSpPr>
            <a:spLocks/>
          </p:cNvSpPr>
          <p:nvPr/>
        </p:nvSpPr>
        <p:spPr bwMode="auto">
          <a:xfrm rot="9900000" flipH="1">
            <a:off x="1718848" y="1707190"/>
            <a:ext cx="2275478" cy="1729219"/>
          </a:xfrm>
          <a:custGeom>
            <a:avLst/>
            <a:gdLst>
              <a:gd name="T0" fmla="*/ 109 w 253"/>
              <a:gd name="T1" fmla="*/ 120 h 142"/>
              <a:gd name="T2" fmla="*/ 24 w 253"/>
              <a:gd name="T3" fmla="*/ 14 h 142"/>
              <a:gd name="T4" fmla="*/ 25 w 253"/>
              <a:gd name="T5" fmla="*/ 14 h 142"/>
              <a:gd name="T6" fmla="*/ 43 w 253"/>
              <a:gd name="T7" fmla="*/ 36 h 142"/>
              <a:gd name="T8" fmla="*/ 47 w 253"/>
              <a:gd name="T9" fmla="*/ 29 h 142"/>
              <a:gd name="T10" fmla="*/ 33 w 253"/>
              <a:gd name="T11" fmla="*/ 12 h 142"/>
              <a:gd name="T12" fmla="*/ 23 w 253"/>
              <a:gd name="T13" fmla="*/ 0 h 142"/>
              <a:gd name="T14" fmla="*/ 14 w 253"/>
              <a:gd name="T15" fmla="*/ 8 h 142"/>
              <a:gd name="T16" fmla="*/ 1 w 253"/>
              <a:gd name="T17" fmla="*/ 34 h 142"/>
              <a:gd name="T18" fmla="*/ 7 w 253"/>
              <a:gd name="T19" fmla="*/ 37 h 142"/>
              <a:gd name="T20" fmla="*/ 17 w 253"/>
              <a:gd name="T21" fmla="*/ 19 h 142"/>
              <a:gd name="T22" fmla="*/ 19 w 253"/>
              <a:gd name="T23" fmla="*/ 17 h 142"/>
              <a:gd name="T24" fmla="*/ 98 w 253"/>
              <a:gd name="T25" fmla="*/ 126 h 142"/>
              <a:gd name="T26" fmla="*/ 250 w 253"/>
              <a:gd name="T27" fmla="*/ 70 h 142"/>
              <a:gd name="T28" fmla="*/ 244 w 253"/>
              <a:gd name="T29" fmla="*/ 64 h 142"/>
              <a:gd name="T30" fmla="*/ 109 w 253"/>
              <a:gd name="T31" fmla="*/ 12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3" h="142">
                <a:moveTo>
                  <a:pt x="109" y="120"/>
                </a:moveTo>
                <a:cubicBezTo>
                  <a:pt x="56" y="110"/>
                  <a:pt x="24" y="66"/>
                  <a:pt x="24" y="14"/>
                </a:cubicBezTo>
                <a:cubicBezTo>
                  <a:pt x="24" y="14"/>
                  <a:pt x="25" y="14"/>
                  <a:pt x="25" y="14"/>
                </a:cubicBezTo>
                <a:cubicBezTo>
                  <a:pt x="29" y="22"/>
                  <a:pt x="34" y="32"/>
                  <a:pt x="43" y="36"/>
                </a:cubicBezTo>
                <a:cubicBezTo>
                  <a:pt x="48" y="39"/>
                  <a:pt x="51" y="32"/>
                  <a:pt x="47" y="29"/>
                </a:cubicBezTo>
                <a:cubicBezTo>
                  <a:pt x="41" y="24"/>
                  <a:pt x="37" y="18"/>
                  <a:pt x="33" y="12"/>
                </a:cubicBezTo>
                <a:cubicBezTo>
                  <a:pt x="31" y="8"/>
                  <a:pt x="28" y="1"/>
                  <a:pt x="23" y="0"/>
                </a:cubicBezTo>
                <a:cubicBezTo>
                  <a:pt x="18" y="0"/>
                  <a:pt x="16" y="5"/>
                  <a:pt x="14" y="8"/>
                </a:cubicBezTo>
                <a:cubicBezTo>
                  <a:pt x="10" y="17"/>
                  <a:pt x="5" y="25"/>
                  <a:pt x="1" y="34"/>
                </a:cubicBezTo>
                <a:cubicBezTo>
                  <a:pt x="0" y="37"/>
                  <a:pt x="4" y="40"/>
                  <a:pt x="7" y="37"/>
                </a:cubicBezTo>
                <a:cubicBezTo>
                  <a:pt x="11" y="31"/>
                  <a:pt x="14" y="25"/>
                  <a:pt x="17" y="19"/>
                </a:cubicBezTo>
                <a:cubicBezTo>
                  <a:pt x="18" y="18"/>
                  <a:pt x="18" y="17"/>
                  <a:pt x="19" y="17"/>
                </a:cubicBezTo>
                <a:cubicBezTo>
                  <a:pt x="11" y="67"/>
                  <a:pt x="51" y="113"/>
                  <a:pt x="98" y="126"/>
                </a:cubicBezTo>
                <a:cubicBezTo>
                  <a:pt x="156" y="142"/>
                  <a:pt x="213" y="114"/>
                  <a:pt x="250" y="70"/>
                </a:cubicBezTo>
                <a:cubicBezTo>
                  <a:pt x="253" y="65"/>
                  <a:pt x="247" y="59"/>
                  <a:pt x="244" y="64"/>
                </a:cubicBezTo>
                <a:cubicBezTo>
                  <a:pt x="211" y="103"/>
                  <a:pt x="162" y="130"/>
                  <a:pt x="109" y="120"/>
                </a:cubicBezTo>
                <a:close/>
              </a:path>
            </a:pathLst>
          </a:custGeom>
          <a:solidFill>
            <a:srgbClr val="01678C"/>
          </a:solidFill>
          <a:ln>
            <a:noFill/>
          </a:ln>
        </p:spPr>
        <p:txBody>
          <a:bodyPr vert="horz" wrap="square" lIns="45714" tIns="22857" rIns="45714" bIns="22857" numCol="1" anchor="t" anchorCtr="0" compatLnSpc="1">
            <a:prstTxWarp prst="textNoShape">
              <a:avLst/>
            </a:prstTxWarp>
          </a:bodyPr>
          <a:lstStyle/>
          <a:p>
            <a:endParaRPr lang="vi-VN" sz="900"/>
          </a:p>
        </p:txBody>
      </p:sp>
      <p:sp>
        <p:nvSpPr>
          <p:cNvPr id="8" name="Freeform 11">
            <a:extLst>
              <a:ext uri="{FF2B5EF4-FFF2-40B4-BE49-F238E27FC236}">
                <a16:creationId xmlns:a16="http://schemas.microsoft.com/office/drawing/2014/main" id="{492CA400-7F5E-4706-8A73-B789C5212860}"/>
              </a:ext>
            </a:extLst>
          </p:cNvPr>
          <p:cNvSpPr>
            <a:spLocks/>
          </p:cNvSpPr>
          <p:nvPr/>
        </p:nvSpPr>
        <p:spPr bwMode="auto">
          <a:xfrm rot="8405187" flipH="1">
            <a:off x="2867309" y="2746373"/>
            <a:ext cx="1397487" cy="1062002"/>
          </a:xfrm>
          <a:custGeom>
            <a:avLst/>
            <a:gdLst>
              <a:gd name="T0" fmla="*/ 109 w 253"/>
              <a:gd name="T1" fmla="*/ 120 h 142"/>
              <a:gd name="T2" fmla="*/ 24 w 253"/>
              <a:gd name="T3" fmla="*/ 14 h 142"/>
              <a:gd name="T4" fmla="*/ 25 w 253"/>
              <a:gd name="T5" fmla="*/ 14 h 142"/>
              <a:gd name="T6" fmla="*/ 43 w 253"/>
              <a:gd name="T7" fmla="*/ 36 h 142"/>
              <a:gd name="T8" fmla="*/ 47 w 253"/>
              <a:gd name="T9" fmla="*/ 29 h 142"/>
              <a:gd name="T10" fmla="*/ 33 w 253"/>
              <a:gd name="T11" fmla="*/ 12 h 142"/>
              <a:gd name="T12" fmla="*/ 23 w 253"/>
              <a:gd name="T13" fmla="*/ 0 h 142"/>
              <a:gd name="T14" fmla="*/ 14 w 253"/>
              <a:gd name="T15" fmla="*/ 8 h 142"/>
              <a:gd name="T16" fmla="*/ 1 w 253"/>
              <a:gd name="T17" fmla="*/ 34 h 142"/>
              <a:gd name="T18" fmla="*/ 7 w 253"/>
              <a:gd name="T19" fmla="*/ 37 h 142"/>
              <a:gd name="T20" fmla="*/ 17 w 253"/>
              <a:gd name="T21" fmla="*/ 19 h 142"/>
              <a:gd name="T22" fmla="*/ 19 w 253"/>
              <a:gd name="T23" fmla="*/ 17 h 142"/>
              <a:gd name="T24" fmla="*/ 98 w 253"/>
              <a:gd name="T25" fmla="*/ 126 h 142"/>
              <a:gd name="T26" fmla="*/ 250 w 253"/>
              <a:gd name="T27" fmla="*/ 70 h 142"/>
              <a:gd name="T28" fmla="*/ 244 w 253"/>
              <a:gd name="T29" fmla="*/ 64 h 142"/>
              <a:gd name="T30" fmla="*/ 109 w 253"/>
              <a:gd name="T31" fmla="*/ 12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3" h="142">
                <a:moveTo>
                  <a:pt x="109" y="120"/>
                </a:moveTo>
                <a:cubicBezTo>
                  <a:pt x="56" y="110"/>
                  <a:pt x="24" y="66"/>
                  <a:pt x="24" y="14"/>
                </a:cubicBezTo>
                <a:cubicBezTo>
                  <a:pt x="24" y="14"/>
                  <a:pt x="25" y="14"/>
                  <a:pt x="25" y="14"/>
                </a:cubicBezTo>
                <a:cubicBezTo>
                  <a:pt x="29" y="22"/>
                  <a:pt x="34" y="32"/>
                  <a:pt x="43" y="36"/>
                </a:cubicBezTo>
                <a:cubicBezTo>
                  <a:pt x="48" y="39"/>
                  <a:pt x="51" y="32"/>
                  <a:pt x="47" y="29"/>
                </a:cubicBezTo>
                <a:cubicBezTo>
                  <a:pt x="41" y="24"/>
                  <a:pt x="37" y="18"/>
                  <a:pt x="33" y="12"/>
                </a:cubicBezTo>
                <a:cubicBezTo>
                  <a:pt x="31" y="8"/>
                  <a:pt x="28" y="1"/>
                  <a:pt x="23" y="0"/>
                </a:cubicBezTo>
                <a:cubicBezTo>
                  <a:pt x="18" y="0"/>
                  <a:pt x="16" y="5"/>
                  <a:pt x="14" y="8"/>
                </a:cubicBezTo>
                <a:cubicBezTo>
                  <a:pt x="10" y="17"/>
                  <a:pt x="5" y="25"/>
                  <a:pt x="1" y="34"/>
                </a:cubicBezTo>
                <a:cubicBezTo>
                  <a:pt x="0" y="37"/>
                  <a:pt x="4" y="40"/>
                  <a:pt x="7" y="37"/>
                </a:cubicBezTo>
                <a:cubicBezTo>
                  <a:pt x="11" y="31"/>
                  <a:pt x="14" y="25"/>
                  <a:pt x="17" y="19"/>
                </a:cubicBezTo>
                <a:cubicBezTo>
                  <a:pt x="18" y="18"/>
                  <a:pt x="18" y="17"/>
                  <a:pt x="19" y="17"/>
                </a:cubicBezTo>
                <a:cubicBezTo>
                  <a:pt x="11" y="67"/>
                  <a:pt x="51" y="113"/>
                  <a:pt x="98" y="126"/>
                </a:cubicBezTo>
                <a:cubicBezTo>
                  <a:pt x="156" y="142"/>
                  <a:pt x="213" y="114"/>
                  <a:pt x="250" y="70"/>
                </a:cubicBezTo>
                <a:cubicBezTo>
                  <a:pt x="253" y="65"/>
                  <a:pt x="247" y="59"/>
                  <a:pt x="244" y="64"/>
                </a:cubicBezTo>
                <a:cubicBezTo>
                  <a:pt x="211" y="103"/>
                  <a:pt x="162" y="130"/>
                  <a:pt x="109" y="120"/>
                </a:cubicBezTo>
                <a:close/>
              </a:path>
            </a:pathLst>
          </a:custGeom>
          <a:solidFill>
            <a:srgbClr val="01678C"/>
          </a:solidFill>
          <a:ln>
            <a:noFill/>
          </a:ln>
        </p:spPr>
        <p:txBody>
          <a:bodyPr vert="horz" wrap="square" lIns="45714" tIns="22857" rIns="45714" bIns="22857" numCol="1" anchor="t" anchorCtr="0" compatLnSpc="1">
            <a:prstTxWarp prst="textNoShape">
              <a:avLst/>
            </a:prstTxWarp>
          </a:bodyPr>
          <a:lstStyle/>
          <a:p>
            <a:endParaRPr lang="vi-VN" sz="900"/>
          </a:p>
        </p:txBody>
      </p:sp>
      <p:sp>
        <p:nvSpPr>
          <p:cNvPr id="9" name="Freeform 11">
            <a:extLst>
              <a:ext uri="{FF2B5EF4-FFF2-40B4-BE49-F238E27FC236}">
                <a16:creationId xmlns:a16="http://schemas.microsoft.com/office/drawing/2014/main" id="{492CA400-7F5E-4706-8A73-B789C5212860}"/>
              </a:ext>
            </a:extLst>
          </p:cNvPr>
          <p:cNvSpPr>
            <a:spLocks/>
          </p:cNvSpPr>
          <p:nvPr/>
        </p:nvSpPr>
        <p:spPr bwMode="auto">
          <a:xfrm rot="11700000">
            <a:off x="8150683" y="1707190"/>
            <a:ext cx="2275478" cy="1729219"/>
          </a:xfrm>
          <a:custGeom>
            <a:avLst/>
            <a:gdLst>
              <a:gd name="T0" fmla="*/ 109 w 253"/>
              <a:gd name="T1" fmla="*/ 120 h 142"/>
              <a:gd name="T2" fmla="*/ 24 w 253"/>
              <a:gd name="T3" fmla="*/ 14 h 142"/>
              <a:gd name="T4" fmla="*/ 25 w 253"/>
              <a:gd name="T5" fmla="*/ 14 h 142"/>
              <a:gd name="T6" fmla="*/ 43 w 253"/>
              <a:gd name="T7" fmla="*/ 36 h 142"/>
              <a:gd name="T8" fmla="*/ 47 w 253"/>
              <a:gd name="T9" fmla="*/ 29 h 142"/>
              <a:gd name="T10" fmla="*/ 33 w 253"/>
              <a:gd name="T11" fmla="*/ 12 h 142"/>
              <a:gd name="T12" fmla="*/ 23 w 253"/>
              <a:gd name="T13" fmla="*/ 0 h 142"/>
              <a:gd name="T14" fmla="*/ 14 w 253"/>
              <a:gd name="T15" fmla="*/ 8 h 142"/>
              <a:gd name="T16" fmla="*/ 1 w 253"/>
              <a:gd name="T17" fmla="*/ 34 h 142"/>
              <a:gd name="T18" fmla="*/ 7 w 253"/>
              <a:gd name="T19" fmla="*/ 37 h 142"/>
              <a:gd name="T20" fmla="*/ 17 w 253"/>
              <a:gd name="T21" fmla="*/ 19 h 142"/>
              <a:gd name="T22" fmla="*/ 19 w 253"/>
              <a:gd name="T23" fmla="*/ 17 h 142"/>
              <a:gd name="T24" fmla="*/ 98 w 253"/>
              <a:gd name="T25" fmla="*/ 126 h 142"/>
              <a:gd name="T26" fmla="*/ 250 w 253"/>
              <a:gd name="T27" fmla="*/ 70 h 142"/>
              <a:gd name="T28" fmla="*/ 244 w 253"/>
              <a:gd name="T29" fmla="*/ 64 h 142"/>
              <a:gd name="T30" fmla="*/ 109 w 253"/>
              <a:gd name="T31" fmla="*/ 12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3" h="142">
                <a:moveTo>
                  <a:pt x="109" y="120"/>
                </a:moveTo>
                <a:cubicBezTo>
                  <a:pt x="56" y="110"/>
                  <a:pt x="24" y="66"/>
                  <a:pt x="24" y="14"/>
                </a:cubicBezTo>
                <a:cubicBezTo>
                  <a:pt x="24" y="14"/>
                  <a:pt x="25" y="14"/>
                  <a:pt x="25" y="14"/>
                </a:cubicBezTo>
                <a:cubicBezTo>
                  <a:pt x="29" y="22"/>
                  <a:pt x="34" y="32"/>
                  <a:pt x="43" y="36"/>
                </a:cubicBezTo>
                <a:cubicBezTo>
                  <a:pt x="48" y="39"/>
                  <a:pt x="51" y="32"/>
                  <a:pt x="47" y="29"/>
                </a:cubicBezTo>
                <a:cubicBezTo>
                  <a:pt x="41" y="24"/>
                  <a:pt x="37" y="18"/>
                  <a:pt x="33" y="12"/>
                </a:cubicBezTo>
                <a:cubicBezTo>
                  <a:pt x="31" y="8"/>
                  <a:pt x="28" y="1"/>
                  <a:pt x="23" y="0"/>
                </a:cubicBezTo>
                <a:cubicBezTo>
                  <a:pt x="18" y="0"/>
                  <a:pt x="16" y="5"/>
                  <a:pt x="14" y="8"/>
                </a:cubicBezTo>
                <a:cubicBezTo>
                  <a:pt x="10" y="17"/>
                  <a:pt x="5" y="25"/>
                  <a:pt x="1" y="34"/>
                </a:cubicBezTo>
                <a:cubicBezTo>
                  <a:pt x="0" y="37"/>
                  <a:pt x="4" y="40"/>
                  <a:pt x="7" y="37"/>
                </a:cubicBezTo>
                <a:cubicBezTo>
                  <a:pt x="11" y="31"/>
                  <a:pt x="14" y="25"/>
                  <a:pt x="17" y="19"/>
                </a:cubicBezTo>
                <a:cubicBezTo>
                  <a:pt x="18" y="18"/>
                  <a:pt x="18" y="17"/>
                  <a:pt x="19" y="17"/>
                </a:cubicBezTo>
                <a:cubicBezTo>
                  <a:pt x="11" y="67"/>
                  <a:pt x="51" y="113"/>
                  <a:pt x="98" y="126"/>
                </a:cubicBezTo>
                <a:cubicBezTo>
                  <a:pt x="156" y="142"/>
                  <a:pt x="213" y="114"/>
                  <a:pt x="250" y="70"/>
                </a:cubicBezTo>
                <a:cubicBezTo>
                  <a:pt x="253" y="65"/>
                  <a:pt x="247" y="59"/>
                  <a:pt x="244" y="64"/>
                </a:cubicBezTo>
                <a:cubicBezTo>
                  <a:pt x="211" y="103"/>
                  <a:pt x="162" y="130"/>
                  <a:pt x="109" y="120"/>
                </a:cubicBezTo>
                <a:close/>
              </a:path>
            </a:pathLst>
          </a:custGeom>
          <a:solidFill>
            <a:srgbClr val="01678C"/>
          </a:solidFill>
          <a:ln>
            <a:noFill/>
          </a:ln>
        </p:spPr>
        <p:txBody>
          <a:bodyPr vert="horz" wrap="square" lIns="45714" tIns="22857" rIns="45714" bIns="22857" numCol="1" anchor="t" anchorCtr="0" compatLnSpc="1">
            <a:prstTxWarp prst="textNoShape">
              <a:avLst/>
            </a:prstTxWarp>
          </a:bodyPr>
          <a:lstStyle/>
          <a:p>
            <a:endParaRPr lang="vi-VN" sz="900"/>
          </a:p>
        </p:txBody>
      </p:sp>
      <p:sp>
        <p:nvSpPr>
          <p:cNvPr id="10" name="Freeform 11">
            <a:extLst>
              <a:ext uri="{FF2B5EF4-FFF2-40B4-BE49-F238E27FC236}">
                <a16:creationId xmlns:a16="http://schemas.microsoft.com/office/drawing/2014/main" id="{492CA400-7F5E-4706-8A73-B789C5212860}"/>
              </a:ext>
            </a:extLst>
          </p:cNvPr>
          <p:cNvSpPr>
            <a:spLocks/>
          </p:cNvSpPr>
          <p:nvPr/>
        </p:nvSpPr>
        <p:spPr bwMode="auto">
          <a:xfrm rot="13194813">
            <a:off x="7880213" y="2746373"/>
            <a:ext cx="1397487" cy="1062002"/>
          </a:xfrm>
          <a:custGeom>
            <a:avLst/>
            <a:gdLst>
              <a:gd name="T0" fmla="*/ 109 w 253"/>
              <a:gd name="T1" fmla="*/ 120 h 142"/>
              <a:gd name="T2" fmla="*/ 24 w 253"/>
              <a:gd name="T3" fmla="*/ 14 h 142"/>
              <a:gd name="T4" fmla="*/ 25 w 253"/>
              <a:gd name="T5" fmla="*/ 14 h 142"/>
              <a:gd name="T6" fmla="*/ 43 w 253"/>
              <a:gd name="T7" fmla="*/ 36 h 142"/>
              <a:gd name="T8" fmla="*/ 47 w 253"/>
              <a:gd name="T9" fmla="*/ 29 h 142"/>
              <a:gd name="T10" fmla="*/ 33 w 253"/>
              <a:gd name="T11" fmla="*/ 12 h 142"/>
              <a:gd name="T12" fmla="*/ 23 w 253"/>
              <a:gd name="T13" fmla="*/ 0 h 142"/>
              <a:gd name="T14" fmla="*/ 14 w 253"/>
              <a:gd name="T15" fmla="*/ 8 h 142"/>
              <a:gd name="T16" fmla="*/ 1 w 253"/>
              <a:gd name="T17" fmla="*/ 34 h 142"/>
              <a:gd name="T18" fmla="*/ 7 w 253"/>
              <a:gd name="T19" fmla="*/ 37 h 142"/>
              <a:gd name="T20" fmla="*/ 17 w 253"/>
              <a:gd name="T21" fmla="*/ 19 h 142"/>
              <a:gd name="T22" fmla="*/ 19 w 253"/>
              <a:gd name="T23" fmla="*/ 17 h 142"/>
              <a:gd name="T24" fmla="*/ 98 w 253"/>
              <a:gd name="T25" fmla="*/ 126 h 142"/>
              <a:gd name="T26" fmla="*/ 250 w 253"/>
              <a:gd name="T27" fmla="*/ 70 h 142"/>
              <a:gd name="T28" fmla="*/ 244 w 253"/>
              <a:gd name="T29" fmla="*/ 64 h 142"/>
              <a:gd name="T30" fmla="*/ 109 w 253"/>
              <a:gd name="T31" fmla="*/ 12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3" h="142">
                <a:moveTo>
                  <a:pt x="109" y="120"/>
                </a:moveTo>
                <a:cubicBezTo>
                  <a:pt x="56" y="110"/>
                  <a:pt x="24" y="66"/>
                  <a:pt x="24" y="14"/>
                </a:cubicBezTo>
                <a:cubicBezTo>
                  <a:pt x="24" y="14"/>
                  <a:pt x="25" y="14"/>
                  <a:pt x="25" y="14"/>
                </a:cubicBezTo>
                <a:cubicBezTo>
                  <a:pt x="29" y="22"/>
                  <a:pt x="34" y="32"/>
                  <a:pt x="43" y="36"/>
                </a:cubicBezTo>
                <a:cubicBezTo>
                  <a:pt x="48" y="39"/>
                  <a:pt x="51" y="32"/>
                  <a:pt x="47" y="29"/>
                </a:cubicBezTo>
                <a:cubicBezTo>
                  <a:pt x="41" y="24"/>
                  <a:pt x="37" y="18"/>
                  <a:pt x="33" y="12"/>
                </a:cubicBezTo>
                <a:cubicBezTo>
                  <a:pt x="31" y="8"/>
                  <a:pt x="28" y="1"/>
                  <a:pt x="23" y="0"/>
                </a:cubicBezTo>
                <a:cubicBezTo>
                  <a:pt x="18" y="0"/>
                  <a:pt x="16" y="5"/>
                  <a:pt x="14" y="8"/>
                </a:cubicBezTo>
                <a:cubicBezTo>
                  <a:pt x="10" y="17"/>
                  <a:pt x="5" y="25"/>
                  <a:pt x="1" y="34"/>
                </a:cubicBezTo>
                <a:cubicBezTo>
                  <a:pt x="0" y="37"/>
                  <a:pt x="4" y="40"/>
                  <a:pt x="7" y="37"/>
                </a:cubicBezTo>
                <a:cubicBezTo>
                  <a:pt x="11" y="31"/>
                  <a:pt x="14" y="25"/>
                  <a:pt x="17" y="19"/>
                </a:cubicBezTo>
                <a:cubicBezTo>
                  <a:pt x="18" y="18"/>
                  <a:pt x="18" y="17"/>
                  <a:pt x="19" y="17"/>
                </a:cubicBezTo>
                <a:cubicBezTo>
                  <a:pt x="11" y="67"/>
                  <a:pt x="51" y="113"/>
                  <a:pt x="98" y="126"/>
                </a:cubicBezTo>
                <a:cubicBezTo>
                  <a:pt x="156" y="142"/>
                  <a:pt x="213" y="114"/>
                  <a:pt x="250" y="70"/>
                </a:cubicBezTo>
                <a:cubicBezTo>
                  <a:pt x="253" y="65"/>
                  <a:pt x="247" y="59"/>
                  <a:pt x="244" y="64"/>
                </a:cubicBezTo>
                <a:cubicBezTo>
                  <a:pt x="211" y="103"/>
                  <a:pt x="162" y="130"/>
                  <a:pt x="109" y="120"/>
                </a:cubicBezTo>
                <a:close/>
              </a:path>
            </a:pathLst>
          </a:custGeom>
          <a:solidFill>
            <a:srgbClr val="01678C"/>
          </a:solidFill>
          <a:ln>
            <a:noFill/>
          </a:ln>
        </p:spPr>
        <p:txBody>
          <a:bodyPr vert="horz" wrap="square" lIns="45714" tIns="22857" rIns="45714" bIns="22857" numCol="1" anchor="t" anchorCtr="0" compatLnSpc="1">
            <a:prstTxWarp prst="textNoShape">
              <a:avLst/>
            </a:prstTxWarp>
          </a:bodyPr>
          <a:lstStyle/>
          <a:p>
            <a:endParaRPr lang="vi-VN" sz="900"/>
          </a:p>
        </p:txBody>
      </p:sp>
      <p:sp>
        <p:nvSpPr>
          <p:cNvPr id="11" name="Title 11"/>
          <p:cNvSpPr txBox="1">
            <a:spLocks/>
          </p:cNvSpPr>
          <p:nvPr/>
        </p:nvSpPr>
        <p:spPr>
          <a:xfrm>
            <a:off x="987778" y="557391"/>
            <a:ext cx="10216444"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1" spc="-150" dirty="0">
                <a:solidFill>
                  <a:srgbClr val="01678C"/>
                </a:solidFill>
                <a:latin typeface="Montserrat" panose="00000500000000000000" pitchFamily="2" charset="0"/>
                <a:ea typeface="Roboto" panose="02000000000000000000" pitchFamily="2" charset="0"/>
                <a:cs typeface="Times New Roman" panose="02020603050405020304" pitchFamily="18" charset="0"/>
              </a:rPr>
              <a:t>Our Analysis </a:t>
            </a:r>
            <a:r>
              <a:rPr lang="en-US" sz="3600" spc="-150" dirty="0">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rPr>
              <a:t>SWOT</a:t>
            </a:r>
          </a:p>
        </p:txBody>
      </p:sp>
      <p:sp>
        <p:nvSpPr>
          <p:cNvPr id="12" name="Title 11"/>
          <p:cNvSpPr txBox="1">
            <a:spLocks/>
          </p:cNvSpPr>
          <p:nvPr/>
        </p:nvSpPr>
        <p:spPr>
          <a:xfrm>
            <a:off x="4378420" y="1189095"/>
            <a:ext cx="3435161" cy="192764"/>
          </a:xfrm>
          <a:prstGeom prst="rect">
            <a:avLst/>
          </a:prstGeom>
        </p:spPr>
        <p:txBody>
          <a:bodyPr vert="horz"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dirty="0">
                <a:solidFill>
                  <a:schemeClr val="tx1">
                    <a:lumMod val="85000"/>
                    <a:lumOff val="15000"/>
                  </a:schemeClr>
                </a:solidFill>
                <a:ea typeface="Roboto" panose="02000000000000000000" pitchFamily="2" charset="0"/>
                <a:cs typeface="Open Sans Light" panose="020B0306030504020204" pitchFamily="34" charset="0"/>
              </a:rPr>
              <a:t>Insert Your Creative Idea </a:t>
            </a:r>
          </a:p>
        </p:txBody>
      </p:sp>
      <p:sp>
        <p:nvSpPr>
          <p:cNvPr id="13" name="Rectangle: Rounded Corners 4">
            <a:extLst>
              <a:ext uri="{FF2B5EF4-FFF2-40B4-BE49-F238E27FC236}">
                <a16:creationId xmlns:a16="http://schemas.microsoft.com/office/drawing/2014/main" id="{86A26E5C-5F56-4299-AFF3-D255A685A2EA}"/>
              </a:ext>
            </a:extLst>
          </p:cNvPr>
          <p:cNvSpPr/>
          <p:nvPr/>
        </p:nvSpPr>
        <p:spPr>
          <a:xfrm>
            <a:off x="987778" y="4164653"/>
            <a:ext cx="1868809" cy="1868809"/>
          </a:xfrm>
          <a:prstGeom prst="roundRect">
            <a:avLst>
              <a:gd name="adj" fmla="val 7530"/>
            </a:avLst>
          </a:prstGeom>
          <a:solidFill>
            <a:schemeClr val="bg1"/>
          </a:solidFill>
          <a:ln>
            <a:noFill/>
          </a:ln>
          <a:effectLst>
            <a:outerShdw blurRad="1270000" dist="3175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14" name="Rectangle: Rounded Corners 5">
            <a:extLst>
              <a:ext uri="{FF2B5EF4-FFF2-40B4-BE49-F238E27FC236}">
                <a16:creationId xmlns:a16="http://schemas.microsoft.com/office/drawing/2014/main" id="{49EEDB9B-2C37-418E-A64D-AE72CC6459CB}"/>
              </a:ext>
            </a:extLst>
          </p:cNvPr>
          <p:cNvSpPr/>
          <p:nvPr/>
        </p:nvSpPr>
        <p:spPr>
          <a:xfrm>
            <a:off x="6431384" y="4164653"/>
            <a:ext cx="1868809" cy="1868809"/>
          </a:xfrm>
          <a:prstGeom prst="roundRect">
            <a:avLst>
              <a:gd name="adj" fmla="val 7530"/>
            </a:avLst>
          </a:prstGeom>
          <a:solidFill>
            <a:schemeClr val="bg1"/>
          </a:solidFill>
          <a:ln>
            <a:noFill/>
          </a:ln>
          <a:effectLst>
            <a:outerShdw blurRad="1270000" dist="3175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15" name="Rectangle: Rounded Corners 6">
            <a:extLst>
              <a:ext uri="{FF2B5EF4-FFF2-40B4-BE49-F238E27FC236}">
                <a16:creationId xmlns:a16="http://schemas.microsoft.com/office/drawing/2014/main" id="{DD6F68B0-F4CD-4CA0-AB65-085E2046878A}"/>
              </a:ext>
            </a:extLst>
          </p:cNvPr>
          <p:cNvSpPr/>
          <p:nvPr/>
        </p:nvSpPr>
        <p:spPr>
          <a:xfrm>
            <a:off x="9153187" y="4164653"/>
            <a:ext cx="1868809" cy="1868809"/>
          </a:xfrm>
          <a:prstGeom prst="roundRect">
            <a:avLst>
              <a:gd name="adj" fmla="val 7530"/>
            </a:avLst>
          </a:prstGeom>
          <a:solidFill>
            <a:schemeClr val="bg1"/>
          </a:solidFill>
          <a:ln>
            <a:noFill/>
          </a:ln>
          <a:effectLst>
            <a:outerShdw blurRad="1270000" dist="3175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16" name="Rectangle: Rounded Corners 15">
            <a:extLst>
              <a:ext uri="{FF2B5EF4-FFF2-40B4-BE49-F238E27FC236}">
                <a16:creationId xmlns:a16="http://schemas.microsoft.com/office/drawing/2014/main" id="{D71154A0-126C-4630-B020-AB42012731CB}"/>
              </a:ext>
            </a:extLst>
          </p:cNvPr>
          <p:cNvSpPr/>
          <p:nvPr/>
        </p:nvSpPr>
        <p:spPr>
          <a:xfrm>
            <a:off x="3680180" y="2114863"/>
            <a:ext cx="4831642" cy="1212115"/>
          </a:xfrm>
          <a:prstGeom prst="roundRect">
            <a:avLst>
              <a:gd name="adj" fmla="val 8225"/>
            </a:avLst>
          </a:prstGeom>
          <a:solidFill>
            <a:schemeClr val="bg1"/>
          </a:solidFill>
          <a:ln>
            <a:noFill/>
          </a:ln>
          <a:effectLst>
            <a:outerShdw blurRad="1270000" dist="266700" dir="8100000" algn="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17" name="Rectangle: Rounded Corners 4">
            <a:extLst>
              <a:ext uri="{FF2B5EF4-FFF2-40B4-BE49-F238E27FC236}">
                <a16:creationId xmlns:a16="http://schemas.microsoft.com/office/drawing/2014/main" id="{86A26E5C-5F56-4299-AFF3-D255A685A2EA}"/>
              </a:ext>
            </a:extLst>
          </p:cNvPr>
          <p:cNvSpPr/>
          <p:nvPr/>
        </p:nvSpPr>
        <p:spPr>
          <a:xfrm>
            <a:off x="3709581" y="4164653"/>
            <a:ext cx="1868809" cy="1868809"/>
          </a:xfrm>
          <a:prstGeom prst="roundRect">
            <a:avLst>
              <a:gd name="adj" fmla="val 7530"/>
            </a:avLst>
          </a:prstGeom>
          <a:solidFill>
            <a:schemeClr val="bg1"/>
          </a:solidFill>
          <a:ln>
            <a:noFill/>
          </a:ln>
          <a:effectLst>
            <a:outerShdw blurRad="1270000" dist="3175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18" name="Title 11"/>
          <p:cNvSpPr txBox="1">
            <a:spLocks/>
          </p:cNvSpPr>
          <p:nvPr/>
        </p:nvSpPr>
        <p:spPr>
          <a:xfrm>
            <a:off x="4984303" y="2146838"/>
            <a:ext cx="2223395" cy="602472"/>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2000" b="1" dirty="0">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rPr>
              <a:t>Analysis </a:t>
            </a:r>
            <a:r>
              <a:rPr lang="en-US" sz="2000" dirty="0">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rPr>
              <a:t>SWOT</a:t>
            </a:r>
          </a:p>
        </p:txBody>
      </p:sp>
      <p:sp>
        <p:nvSpPr>
          <p:cNvPr id="19" name="Rectangle 18"/>
          <p:cNvSpPr/>
          <p:nvPr/>
        </p:nvSpPr>
        <p:spPr>
          <a:xfrm>
            <a:off x="3866937" y="2671635"/>
            <a:ext cx="4476797" cy="553998"/>
          </a:xfrm>
          <a:prstGeom prst="rect">
            <a:avLst/>
          </a:prstGeom>
        </p:spPr>
        <p:txBody>
          <a:bodyPr wrap="square">
            <a:spAutoFit/>
          </a:bodyPr>
          <a:lstStyle/>
          <a:p>
            <a:pPr algn="ctr">
              <a:buClr>
                <a:srgbClr val="E24848"/>
              </a:buClr>
              <a:defRPr/>
            </a:pPr>
            <a:r>
              <a:rPr lang="en-US" sz="10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ermentuLorem ipsum dolor sit amet, consectetur adipiscing elit. Nulla imperdiet volutpat dui</a:t>
            </a:r>
          </a:p>
        </p:txBody>
      </p:sp>
      <p:sp>
        <p:nvSpPr>
          <p:cNvPr id="20" name="Title 11"/>
          <p:cNvSpPr txBox="1">
            <a:spLocks/>
          </p:cNvSpPr>
          <p:nvPr/>
        </p:nvSpPr>
        <p:spPr>
          <a:xfrm>
            <a:off x="1500220" y="4281414"/>
            <a:ext cx="779448"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5400" b="1" spc="-150" dirty="0">
                <a:solidFill>
                  <a:schemeClr val="tx1">
                    <a:lumMod val="75000"/>
                    <a:lumOff val="25000"/>
                  </a:schemeClr>
                </a:solidFill>
                <a:latin typeface="Montserrat" panose="00000500000000000000" pitchFamily="2" charset="0"/>
                <a:ea typeface="Roboto" panose="02000000000000000000" pitchFamily="2" charset="0"/>
                <a:cs typeface="Times New Roman" panose="02020603050405020304" pitchFamily="18" charset="0"/>
              </a:rPr>
              <a:t>S</a:t>
            </a:r>
            <a:endParaRPr lang="en-US" sz="5400" spc="-150" dirty="0">
              <a:solidFill>
                <a:schemeClr val="tx1">
                  <a:lumMod val="75000"/>
                  <a:lumOff val="25000"/>
                </a:schemeClr>
              </a:solidFill>
              <a:latin typeface="Montserrat" panose="00000500000000000000" pitchFamily="2" charset="0"/>
              <a:ea typeface="Roboto" panose="02000000000000000000" pitchFamily="2" charset="0"/>
              <a:cs typeface="Times New Roman" panose="02020603050405020304" pitchFamily="18" charset="0"/>
            </a:endParaRPr>
          </a:p>
        </p:txBody>
      </p:sp>
      <p:sp>
        <p:nvSpPr>
          <p:cNvPr id="21" name="Title 11"/>
          <p:cNvSpPr txBox="1">
            <a:spLocks/>
          </p:cNvSpPr>
          <p:nvPr/>
        </p:nvSpPr>
        <p:spPr>
          <a:xfrm>
            <a:off x="4204855" y="4281414"/>
            <a:ext cx="779448"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5400" b="1" spc="-150" dirty="0">
                <a:solidFill>
                  <a:schemeClr val="tx1">
                    <a:lumMod val="75000"/>
                    <a:lumOff val="25000"/>
                  </a:schemeClr>
                </a:solidFill>
                <a:latin typeface="Montserrat" panose="00000500000000000000" pitchFamily="2" charset="0"/>
                <a:ea typeface="Roboto" panose="02000000000000000000" pitchFamily="2" charset="0"/>
                <a:cs typeface="Times New Roman" panose="02020603050405020304" pitchFamily="18" charset="0"/>
              </a:rPr>
              <a:t>W</a:t>
            </a:r>
            <a:endParaRPr lang="en-US" sz="5400" spc="-150" dirty="0">
              <a:solidFill>
                <a:schemeClr val="tx1">
                  <a:lumMod val="75000"/>
                  <a:lumOff val="25000"/>
                </a:schemeClr>
              </a:solidFill>
              <a:latin typeface="Montserrat" panose="00000500000000000000" pitchFamily="2" charset="0"/>
              <a:ea typeface="Roboto" panose="02000000000000000000" pitchFamily="2" charset="0"/>
              <a:cs typeface="Times New Roman" panose="02020603050405020304" pitchFamily="18" charset="0"/>
            </a:endParaRPr>
          </a:p>
        </p:txBody>
      </p:sp>
      <p:sp>
        <p:nvSpPr>
          <p:cNvPr id="22" name="Title 11"/>
          <p:cNvSpPr txBox="1">
            <a:spLocks/>
          </p:cNvSpPr>
          <p:nvPr/>
        </p:nvSpPr>
        <p:spPr>
          <a:xfrm>
            <a:off x="6922856" y="4281414"/>
            <a:ext cx="779448"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5400" b="1" spc="-150" dirty="0">
                <a:solidFill>
                  <a:schemeClr val="tx1">
                    <a:lumMod val="75000"/>
                    <a:lumOff val="25000"/>
                  </a:schemeClr>
                </a:solidFill>
                <a:latin typeface="Montserrat" panose="00000500000000000000" pitchFamily="2" charset="0"/>
                <a:ea typeface="Roboto" panose="02000000000000000000" pitchFamily="2" charset="0"/>
                <a:cs typeface="Times New Roman" panose="02020603050405020304" pitchFamily="18" charset="0"/>
              </a:rPr>
              <a:t>O</a:t>
            </a:r>
            <a:endParaRPr lang="en-US" sz="5400" spc="-150" dirty="0">
              <a:solidFill>
                <a:schemeClr val="tx1">
                  <a:lumMod val="75000"/>
                  <a:lumOff val="25000"/>
                </a:schemeClr>
              </a:solidFill>
              <a:latin typeface="Montserrat" panose="00000500000000000000" pitchFamily="2" charset="0"/>
              <a:ea typeface="Roboto" panose="02000000000000000000" pitchFamily="2" charset="0"/>
              <a:cs typeface="Times New Roman" panose="02020603050405020304" pitchFamily="18" charset="0"/>
            </a:endParaRPr>
          </a:p>
        </p:txBody>
      </p:sp>
      <p:sp>
        <p:nvSpPr>
          <p:cNvPr id="23" name="Title 11"/>
          <p:cNvSpPr txBox="1">
            <a:spLocks/>
          </p:cNvSpPr>
          <p:nvPr/>
        </p:nvSpPr>
        <p:spPr>
          <a:xfrm>
            <a:off x="9697867" y="4281414"/>
            <a:ext cx="779448"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5400" b="1" spc="-150" dirty="0">
                <a:solidFill>
                  <a:schemeClr val="tx1">
                    <a:lumMod val="75000"/>
                    <a:lumOff val="25000"/>
                  </a:schemeClr>
                </a:solidFill>
                <a:latin typeface="Montserrat" panose="00000500000000000000" pitchFamily="2" charset="0"/>
                <a:ea typeface="Roboto" panose="02000000000000000000" pitchFamily="2" charset="0"/>
                <a:cs typeface="Times New Roman" panose="02020603050405020304" pitchFamily="18" charset="0"/>
              </a:rPr>
              <a:t>T</a:t>
            </a:r>
            <a:endParaRPr lang="en-US" sz="5400" spc="-150" dirty="0">
              <a:solidFill>
                <a:schemeClr val="tx1">
                  <a:lumMod val="75000"/>
                  <a:lumOff val="25000"/>
                </a:schemeClr>
              </a:solidFill>
              <a:latin typeface="Montserrat" panose="00000500000000000000" pitchFamily="2" charset="0"/>
              <a:ea typeface="Roboto" panose="02000000000000000000" pitchFamily="2" charset="0"/>
              <a:cs typeface="Times New Roman" panose="02020603050405020304" pitchFamily="18" charset="0"/>
            </a:endParaRPr>
          </a:p>
        </p:txBody>
      </p:sp>
      <p:sp>
        <p:nvSpPr>
          <p:cNvPr id="24" name="Rectangle 23"/>
          <p:cNvSpPr/>
          <p:nvPr/>
        </p:nvSpPr>
        <p:spPr>
          <a:xfrm>
            <a:off x="1123582" y="5083304"/>
            <a:ext cx="1597200" cy="707886"/>
          </a:xfrm>
          <a:prstGeom prst="rect">
            <a:avLst/>
          </a:prstGeom>
        </p:spPr>
        <p:txBody>
          <a:bodyPr wrap="square">
            <a:spAutoFit/>
          </a:bodyPr>
          <a:lstStyle/>
          <a:p>
            <a:pPr algn="ctr">
              <a:buClr>
                <a:srgbClr val="E24848"/>
              </a:buClr>
              <a:defRPr/>
            </a:pPr>
            <a:r>
              <a:rPr lang="en-US" sz="10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a:t>
            </a:r>
          </a:p>
        </p:txBody>
      </p:sp>
      <p:sp>
        <p:nvSpPr>
          <p:cNvPr id="25" name="Rectangle 24"/>
          <p:cNvSpPr/>
          <p:nvPr/>
        </p:nvSpPr>
        <p:spPr>
          <a:xfrm>
            <a:off x="3845385" y="5083304"/>
            <a:ext cx="1597200" cy="707886"/>
          </a:xfrm>
          <a:prstGeom prst="rect">
            <a:avLst/>
          </a:prstGeom>
        </p:spPr>
        <p:txBody>
          <a:bodyPr wrap="square">
            <a:spAutoFit/>
          </a:bodyPr>
          <a:lstStyle/>
          <a:p>
            <a:pPr algn="ctr">
              <a:buClr>
                <a:srgbClr val="E24848"/>
              </a:buClr>
              <a:defRPr/>
            </a:pPr>
            <a:r>
              <a:rPr lang="en-US" sz="10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a:t>
            </a:r>
          </a:p>
        </p:txBody>
      </p:sp>
      <p:sp>
        <p:nvSpPr>
          <p:cNvPr id="26" name="Rectangle 25"/>
          <p:cNvSpPr/>
          <p:nvPr/>
        </p:nvSpPr>
        <p:spPr>
          <a:xfrm>
            <a:off x="6567188" y="5083304"/>
            <a:ext cx="1597200" cy="707886"/>
          </a:xfrm>
          <a:prstGeom prst="rect">
            <a:avLst/>
          </a:prstGeom>
        </p:spPr>
        <p:txBody>
          <a:bodyPr wrap="square">
            <a:spAutoFit/>
          </a:bodyPr>
          <a:lstStyle/>
          <a:p>
            <a:pPr algn="ctr">
              <a:buClr>
                <a:srgbClr val="E24848"/>
              </a:buClr>
              <a:defRPr/>
            </a:pPr>
            <a:r>
              <a:rPr lang="en-US" sz="10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a:t>
            </a:r>
          </a:p>
        </p:txBody>
      </p:sp>
      <p:sp>
        <p:nvSpPr>
          <p:cNvPr id="27" name="Rectangle 26"/>
          <p:cNvSpPr/>
          <p:nvPr/>
        </p:nvSpPr>
        <p:spPr>
          <a:xfrm>
            <a:off x="9289956" y="5083304"/>
            <a:ext cx="1597200" cy="707886"/>
          </a:xfrm>
          <a:prstGeom prst="rect">
            <a:avLst/>
          </a:prstGeom>
        </p:spPr>
        <p:txBody>
          <a:bodyPr wrap="square">
            <a:spAutoFit/>
          </a:bodyPr>
          <a:lstStyle/>
          <a:p>
            <a:pPr algn="ctr">
              <a:buClr>
                <a:srgbClr val="E24848"/>
              </a:buClr>
              <a:defRPr/>
            </a:pPr>
            <a:r>
              <a:rPr lang="en-US" sz="10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a:t>
            </a:r>
          </a:p>
        </p:txBody>
      </p:sp>
    </p:spTree>
    <p:extLst>
      <p:ext uri="{BB962C8B-B14F-4D97-AF65-F5344CB8AC3E}">
        <p14:creationId xmlns:p14="http://schemas.microsoft.com/office/powerpoint/2010/main" val="3194065282"/>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23" y="6664283"/>
            <a:ext cx="12189983" cy="206419"/>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
          <p:cNvSpPr/>
          <p:nvPr/>
        </p:nvSpPr>
        <p:spPr>
          <a:xfrm>
            <a:off x="5056966" y="6530678"/>
            <a:ext cx="2078068" cy="222924"/>
          </a:xfrm>
          <a:prstGeom prst="roundRect">
            <a:avLst>
              <a:gd name="adj" fmla="val 50000"/>
            </a:avLst>
          </a:prstGeom>
          <a:solidFill>
            <a:srgbClr val="018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effectLst>
                <a:outerShdw blurRad="63500" sx="102000" sy="102000" algn="ctr" rotWithShape="0">
                  <a:prstClr val="black">
                    <a:alpha val="40000"/>
                  </a:prstClr>
                </a:outerShdw>
              </a:effectLst>
              <a:latin typeface="+mj-lt"/>
            </a:endParaRPr>
          </a:p>
        </p:txBody>
      </p:sp>
      <p:cxnSp>
        <p:nvCxnSpPr>
          <p:cNvPr id="4" name="Straight Connector 3"/>
          <p:cNvCxnSpPr/>
          <p:nvPr/>
        </p:nvCxnSpPr>
        <p:spPr>
          <a:xfrm>
            <a:off x="6512721" y="6567488"/>
            <a:ext cx="0" cy="154781"/>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6665393" y="6505535"/>
            <a:ext cx="335348" cy="261610"/>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12</a:t>
            </a:r>
          </a:p>
        </p:txBody>
      </p:sp>
      <p:sp>
        <p:nvSpPr>
          <p:cNvPr id="6" name="Date Placeholder 1"/>
          <p:cNvSpPr txBox="1">
            <a:spLocks/>
          </p:cNvSpPr>
          <p:nvPr>
            <p:custDataLst>
              <p:tags r:id="rId1"/>
            </p:custDataLst>
          </p:nvPr>
        </p:nvSpPr>
        <p:spPr>
          <a:xfrm>
            <a:off x="5006809" y="6498189"/>
            <a:ext cx="1530941"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Segoe UI" panose="020B0502040204020203" pitchFamily="34" charset="0"/>
                <a:ea typeface="Open Sans Light" panose="020B0306030504020204" pitchFamily="34" charset="0"/>
                <a:cs typeface="Segoe UI" panose="020B0502040204020203" pitchFamily="34" charset="0"/>
              </a:rPr>
              <a:t>www.yourcompanyname.com</a:t>
            </a:r>
          </a:p>
        </p:txBody>
      </p:sp>
      <p:sp>
        <p:nvSpPr>
          <p:cNvPr id="7" name="Title 11"/>
          <p:cNvSpPr txBox="1">
            <a:spLocks/>
          </p:cNvSpPr>
          <p:nvPr/>
        </p:nvSpPr>
        <p:spPr>
          <a:xfrm>
            <a:off x="987778" y="571904"/>
            <a:ext cx="10216444"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1" spc="-150" dirty="0">
                <a:solidFill>
                  <a:srgbClr val="01678C"/>
                </a:solidFill>
                <a:latin typeface="Montserrat" panose="00000500000000000000" pitchFamily="2" charset="0"/>
                <a:ea typeface="Roboto" panose="02000000000000000000" pitchFamily="2" charset="0"/>
                <a:cs typeface="Times New Roman" panose="02020603050405020304" pitchFamily="18" charset="0"/>
              </a:rPr>
              <a:t>Our </a:t>
            </a:r>
            <a:r>
              <a:rPr lang="en-US" sz="3600" spc="-150" dirty="0">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rPr>
              <a:t>Strength </a:t>
            </a:r>
          </a:p>
        </p:txBody>
      </p:sp>
      <p:sp>
        <p:nvSpPr>
          <p:cNvPr id="8" name="Title 11"/>
          <p:cNvSpPr txBox="1">
            <a:spLocks/>
          </p:cNvSpPr>
          <p:nvPr/>
        </p:nvSpPr>
        <p:spPr>
          <a:xfrm>
            <a:off x="4378420" y="1203608"/>
            <a:ext cx="3435161" cy="192764"/>
          </a:xfrm>
          <a:prstGeom prst="rect">
            <a:avLst/>
          </a:prstGeom>
        </p:spPr>
        <p:txBody>
          <a:bodyPr vert="horz"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dirty="0">
                <a:solidFill>
                  <a:schemeClr val="tx1">
                    <a:lumMod val="85000"/>
                    <a:lumOff val="15000"/>
                  </a:schemeClr>
                </a:solidFill>
                <a:ea typeface="Roboto" panose="02000000000000000000" pitchFamily="2" charset="0"/>
                <a:cs typeface="Open Sans Light" panose="020B0306030504020204" pitchFamily="34" charset="0"/>
              </a:rPr>
              <a:t>Insert Your Creative Idea </a:t>
            </a:r>
          </a:p>
        </p:txBody>
      </p:sp>
      <p:cxnSp>
        <p:nvCxnSpPr>
          <p:cNvPr id="9" name="Straight Connector 8"/>
          <p:cNvCxnSpPr/>
          <p:nvPr/>
        </p:nvCxnSpPr>
        <p:spPr>
          <a:xfrm>
            <a:off x="8280399" y="2838442"/>
            <a:ext cx="1054100" cy="0"/>
          </a:xfrm>
          <a:prstGeom prst="line">
            <a:avLst/>
          </a:prstGeom>
          <a:ln w="38100">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2933700" y="2838442"/>
            <a:ext cx="1054100" cy="0"/>
          </a:xfrm>
          <a:prstGeom prst="line">
            <a:avLst/>
          </a:prstGeom>
          <a:ln w="38100">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380784" y="2457312"/>
            <a:ext cx="2380787" cy="329954"/>
          </a:xfrm>
          <a:prstGeom prst="rect">
            <a:avLst/>
          </a:prstGeom>
          <a:noFill/>
        </p:spPr>
        <p:txBody>
          <a:bodyPr wrap="square" anchor="ctr">
            <a:noAutofit/>
          </a:bodyPr>
          <a:lstStyle>
            <a:defPPr>
              <a:defRPr lang="en-US"/>
            </a:defPPr>
            <a:lvl1pPr algn="ctr">
              <a:defRPr sz="4400" spc="-300">
                <a:solidFill>
                  <a:schemeClr val="tx1">
                    <a:lumMod val="85000"/>
                    <a:lumOff val="15000"/>
                  </a:schemeClr>
                </a:solidFill>
                <a:latin typeface="Raleway" panose="020B0503030101060003" pitchFamily="34" charset="0"/>
                <a:ea typeface="Roboto Light" panose="02000000000000000000" pitchFamily="2" charset="0"/>
                <a:cs typeface="Open Sans" panose="020B0606030504020204" pitchFamily="34" charset="0"/>
              </a:defRPr>
            </a:lvl1pPr>
          </a:lstStyle>
          <a:p>
            <a:pPr algn="r"/>
            <a:r>
              <a:rPr lang="id-ID" sz="1400" spc="0" dirty="0">
                <a:latin typeface="Montserrat" panose="00000500000000000000" pitchFamily="2" charset="0"/>
              </a:rPr>
              <a:t>Easy To </a:t>
            </a:r>
            <a:r>
              <a:rPr lang="en-US" sz="1400" b="1" spc="0" dirty="0" err="1">
                <a:solidFill>
                  <a:srgbClr val="01678C"/>
                </a:solidFill>
                <a:latin typeface="Montserrat" panose="00000500000000000000" pitchFamily="2" charset="0"/>
              </a:rPr>
              <a:t>Campaigens</a:t>
            </a:r>
            <a:endParaRPr lang="id-ID" sz="1400" b="1" spc="0" dirty="0">
              <a:solidFill>
                <a:srgbClr val="01678C"/>
              </a:solidFill>
              <a:latin typeface="Montserrat" panose="00000500000000000000" pitchFamily="2" charset="0"/>
            </a:endParaRPr>
          </a:p>
        </p:txBody>
      </p:sp>
      <p:sp>
        <p:nvSpPr>
          <p:cNvPr id="12" name="TextBox 11"/>
          <p:cNvSpPr txBox="1"/>
          <p:nvPr/>
        </p:nvSpPr>
        <p:spPr>
          <a:xfrm>
            <a:off x="1380784" y="2915280"/>
            <a:ext cx="2380787" cy="577081"/>
          </a:xfrm>
          <a:prstGeom prst="rect">
            <a:avLst/>
          </a:prstGeom>
          <a:noFill/>
        </p:spPr>
        <p:txBody>
          <a:bodyPr wrap="square" rtlCol="0">
            <a:spAutoFit/>
          </a:bodyPr>
          <a:lstStyle/>
          <a:p>
            <a:pPr algn="r">
              <a:buClr>
                <a:srgbClr val="E24848"/>
              </a:buClr>
              <a:defRPr/>
            </a:pPr>
            <a:r>
              <a:rPr lang="en-US" sz="1050" noProof="1">
                <a:solidFill>
                  <a:schemeClr val="tx1">
                    <a:lumMod val="85000"/>
                    <a:lumOff val="15000"/>
                  </a:schemeClr>
                </a:solidFill>
                <a:latin typeface="Montserrat" panose="00000500000000000000" pitchFamily="50" charset="0"/>
                <a:ea typeface="Open Sans Light" panose="020B0306030504020204" pitchFamily="34" charset="0"/>
                <a:cs typeface="Open Sans Light" panose="020B0306030504020204" pitchFamily="34" charset="0"/>
              </a:rPr>
              <a:t>Lorem ipsum dolor sit amet, consectetur adipiscing elit. Nulla imperdiet volutpat du</a:t>
            </a:r>
          </a:p>
        </p:txBody>
      </p:sp>
      <p:sp>
        <p:nvSpPr>
          <p:cNvPr id="13" name="TextBox 12"/>
          <p:cNvSpPr txBox="1"/>
          <p:nvPr/>
        </p:nvSpPr>
        <p:spPr>
          <a:xfrm>
            <a:off x="3596504" y="4980378"/>
            <a:ext cx="1808693" cy="307777"/>
          </a:xfrm>
          <a:prstGeom prst="rect">
            <a:avLst/>
          </a:prstGeom>
          <a:noFill/>
        </p:spPr>
        <p:txBody>
          <a:bodyPr wrap="square" anchor="ctr">
            <a:noAutofit/>
          </a:bodyPr>
          <a:lstStyle>
            <a:defPPr>
              <a:defRPr lang="en-US"/>
            </a:defPPr>
            <a:lvl1pPr algn="r">
              <a:defRPr sz="1400" spc="0">
                <a:solidFill>
                  <a:schemeClr val="tx1">
                    <a:lumMod val="85000"/>
                    <a:lumOff val="15000"/>
                  </a:schemeClr>
                </a:solidFill>
                <a:latin typeface="Raleway" panose="020B0503030101060003" pitchFamily="34" charset="0"/>
                <a:ea typeface="Roboto Light" panose="02000000000000000000" pitchFamily="2" charset="0"/>
                <a:cs typeface="Open Sans" panose="020B0606030504020204" pitchFamily="34" charset="0"/>
              </a:defRPr>
            </a:lvl1pPr>
          </a:lstStyle>
          <a:p>
            <a:r>
              <a:rPr lang="id-ID" dirty="0">
                <a:latin typeface="Montserrat" panose="00000500000000000000" pitchFamily="2" charset="0"/>
              </a:rPr>
              <a:t>Easy </a:t>
            </a:r>
            <a:r>
              <a:rPr lang="id-ID" b="1" dirty="0">
                <a:solidFill>
                  <a:srgbClr val="01678C"/>
                </a:solidFill>
                <a:latin typeface="Montserrat" panose="00000500000000000000" pitchFamily="2" charset="0"/>
              </a:rPr>
              <a:t>Promote </a:t>
            </a:r>
            <a:r>
              <a:rPr lang="en-US" b="1" dirty="0" err="1">
                <a:solidFill>
                  <a:srgbClr val="01678C"/>
                </a:solidFill>
                <a:latin typeface="Montserrat" panose="00000500000000000000" pitchFamily="2" charset="0"/>
              </a:rPr>
              <a:t>Campaigens</a:t>
            </a:r>
            <a:endParaRPr lang="id-ID" b="1" dirty="0">
              <a:solidFill>
                <a:srgbClr val="01678C"/>
              </a:solidFill>
              <a:latin typeface="Montserrat" panose="00000500000000000000" pitchFamily="2" charset="0"/>
            </a:endParaRPr>
          </a:p>
          <a:p>
            <a:endParaRPr lang="id-ID" b="1" dirty="0">
              <a:solidFill>
                <a:srgbClr val="01678C"/>
              </a:solidFill>
              <a:latin typeface="Montserrat" panose="00000500000000000000" pitchFamily="2" charset="0"/>
            </a:endParaRPr>
          </a:p>
        </p:txBody>
      </p:sp>
      <p:sp>
        <p:nvSpPr>
          <p:cNvPr id="14" name="TextBox 13"/>
          <p:cNvSpPr txBox="1"/>
          <p:nvPr/>
        </p:nvSpPr>
        <p:spPr>
          <a:xfrm>
            <a:off x="2787362" y="5294405"/>
            <a:ext cx="2617835" cy="577081"/>
          </a:xfrm>
          <a:prstGeom prst="rect">
            <a:avLst/>
          </a:prstGeom>
          <a:noFill/>
        </p:spPr>
        <p:txBody>
          <a:bodyPr wrap="square" rtlCol="0">
            <a:spAutoFit/>
          </a:bodyPr>
          <a:lstStyle/>
          <a:p>
            <a:pPr algn="r">
              <a:buClr>
                <a:srgbClr val="E24848"/>
              </a:buClr>
              <a:defRPr/>
            </a:pPr>
            <a:r>
              <a:rPr lang="en-US" sz="1050" noProof="1">
                <a:solidFill>
                  <a:schemeClr val="tx1">
                    <a:lumMod val="85000"/>
                    <a:lumOff val="15000"/>
                  </a:schemeClr>
                </a:solidFill>
                <a:latin typeface="Montserrat" panose="00000500000000000000" pitchFamily="50" charset="0"/>
                <a:ea typeface="Open Sans Light" panose="020B0306030504020204" pitchFamily="34" charset="0"/>
                <a:cs typeface="Open Sans Light" panose="020B0306030504020204" pitchFamily="34" charset="0"/>
              </a:rPr>
              <a:t>Lorem ipsum dolor sit amet, consectetur adipiscing elit. Nulla imperdiet volutpat du</a:t>
            </a:r>
          </a:p>
        </p:txBody>
      </p:sp>
      <p:sp>
        <p:nvSpPr>
          <p:cNvPr id="15" name="TextBox 14"/>
          <p:cNvSpPr txBox="1"/>
          <p:nvPr/>
        </p:nvSpPr>
        <p:spPr>
          <a:xfrm flipH="1">
            <a:off x="6842120" y="4957564"/>
            <a:ext cx="1808693" cy="307777"/>
          </a:xfrm>
          <a:prstGeom prst="rect">
            <a:avLst/>
          </a:prstGeom>
          <a:noFill/>
        </p:spPr>
        <p:txBody>
          <a:bodyPr wrap="square" anchor="ctr">
            <a:noAutofit/>
          </a:bodyPr>
          <a:lstStyle>
            <a:defPPr>
              <a:defRPr lang="en-US"/>
            </a:defPPr>
            <a:lvl1pPr algn="r">
              <a:defRPr sz="1400" spc="0">
                <a:solidFill>
                  <a:schemeClr val="tx1">
                    <a:lumMod val="85000"/>
                    <a:lumOff val="15000"/>
                  </a:schemeClr>
                </a:solidFill>
                <a:latin typeface="Raleway" panose="020B0503030101060003" pitchFamily="34" charset="0"/>
                <a:ea typeface="Roboto Light" panose="02000000000000000000" pitchFamily="2" charset="0"/>
                <a:cs typeface="Open Sans" panose="020B0606030504020204" pitchFamily="34" charset="0"/>
              </a:defRPr>
            </a:lvl1pPr>
          </a:lstStyle>
          <a:p>
            <a:pPr algn="l"/>
            <a:r>
              <a:rPr lang="id-ID" dirty="0">
                <a:latin typeface="Montserrat" panose="00000500000000000000" pitchFamily="2" charset="0"/>
              </a:rPr>
              <a:t>Easy </a:t>
            </a:r>
            <a:r>
              <a:rPr lang="id-ID" b="1" dirty="0">
                <a:solidFill>
                  <a:srgbClr val="01678C"/>
                </a:solidFill>
                <a:latin typeface="Montserrat" panose="00000500000000000000" pitchFamily="2" charset="0"/>
              </a:rPr>
              <a:t>Promote </a:t>
            </a:r>
            <a:r>
              <a:rPr lang="en-US" b="1" dirty="0" err="1">
                <a:solidFill>
                  <a:srgbClr val="01678C"/>
                </a:solidFill>
                <a:latin typeface="Montserrat" panose="00000500000000000000" pitchFamily="2" charset="0"/>
              </a:rPr>
              <a:t>Campaigens</a:t>
            </a:r>
            <a:endParaRPr lang="id-ID" b="1" dirty="0">
              <a:solidFill>
                <a:srgbClr val="01678C"/>
              </a:solidFill>
              <a:latin typeface="Montserrat" panose="00000500000000000000" pitchFamily="2" charset="0"/>
            </a:endParaRPr>
          </a:p>
          <a:p>
            <a:pPr algn="l"/>
            <a:endParaRPr lang="id-ID" b="1" dirty="0">
              <a:solidFill>
                <a:srgbClr val="01678C"/>
              </a:solidFill>
              <a:latin typeface="Montserrat" panose="00000500000000000000" pitchFamily="2" charset="0"/>
            </a:endParaRPr>
          </a:p>
        </p:txBody>
      </p:sp>
      <p:sp>
        <p:nvSpPr>
          <p:cNvPr id="16" name="TextBox 15"/>
          <p:cNvSpPr txBox="1"/>
          <p:nvPr/>
        </p:nvSpPr>
        <p:spPr>
          <a:xfrm flipH="1">
            <a:off x="6842119" y="5271591"/>
            <a:ext cx="2644039" cy="577081"/>
          </a:xfrm>
          <a:prstGeom prst="rect">
            <a:avLst/>
          </a:prstGeom>
          <a:noFill/>
        </p:spPr>
        <p:txBody>
          <a:bodyPr wrap="square" rtlCol="0">
            <a:spAutoFit/>
          </a:bodyPr>
          <a:lstStyle/>
          <a:p>
            <a:pPr>
              <a:buClr>
                <a:srgbClr val="E24848"/>
              </a:buClr>
              <a:defRPr/>
            </a:pPr>
            <a:r>
              <a:rPr lang="en-US" sz="1050" noProof="1">
                <a:solidFill>
                  <a:schemeClr val="tx1">
                    <a:lumMod val="85000"/>
                    <a:lumOff val="15000"/>
                  </a:schemeClr>
                </a:solidFill>
                <a:latin typeface="Montserrat" panose="00000500000000000000" pitchFamily="50" charset="0"/>
                <a:ea typeface="Open Sans Light" panose="020B0306030504020204" pitchFamily="34" charset="0"/>
                <a:cs typeface="Open Sans Light" panose="020B0306030504020204" pitchFamily="34" charset="0"/>
              </a:rPr>
              <a:t>Lorem ipsum dolor sit amet, consectetur adipiscing elit. Nulla imperdiet volutpat du</a:t>
            </a:r>
          </a:p>
        </p:txBody>
      </p:sp>
      <p:grpSp>
        <p:nvGrpSpPr>
          <p:cNvPr id="17" name="Group 16"/>
          <p:cNvGrpSpPr/>
          <p:nvPr/>
        </p:nvGrpSpPr>
        <p:grpSpPr>
          <a:xfrm>
            <a:off x="3806985" y="2367084"/>
            <a:ext cx="756982" cy="2327035"/>
            <a:chOff x="3806985" y="2601128"/>
            <a:chExt cx="756982" cy="2327035"/>
          </a:xfrm>
          <a:solidFill>
            <a:srgbClr val="01678C"/>
          </a:solidFill>
        </p:grpSpPr>
        <p:sp>
          <p:nvSpPr>
            <p:cNvPr id="18" name="Freeform 17"/>
            <p:cNvSpPr/>
            <p:nvPr/>
          </p:nvSpPr>
          <p:spPr>
            <a:xfrm rot="10800000" flipH="1">
              <a:off x="3806985" y="2601128"/>
              <a:ext cx="750926" cy="2327035"/>
            </a:xfrm>
            <a:custGeom>
              <a:avLst/>
              <a:gdLst>
                <a:gd name="connsiteX0" fmla="*/ 339275 w 668934"/>
                <a:gd name="connsiteY0" fmla="*/ 2072952 h 2072952"/>
                <a:gd name="connsiteX1" fmla="*/ 483275 w 668934"/>
                <a:gd name="connsiteY1" fmla="*/ 1928952 h 2072952"/>
                <a:gd name="connsiteX2" fmla="*/ 483275 w 668934"/>
                <a:gd name="connsiteY2" fmla="*/ 632544 h 2072952"/>
                <a:gd name="connsiteX3" fmla="*/ 521471 w 668934"/>
                <a:gd name="connsiteY3" fmla="*/ 611813 h 2072952"/>
                <a:gd name="connsiteX4" fmla="*/ 668934 w 668934"/>
                <a:gd name="connsiteY4" fmla="*/ 334467 h 2072952"/>
                <a:gd name="connsiteX5" fmla="*/ 334467 w 668934"/>
                <a:gd name="connsiteY5" fmla="*/ 0 h 2072952"/>
                <a:gd name="connsiteX6" fmla="*/ 0 w 668934"/>
                <a:gd name="connsiteY6" fmla="*/ 334467 h 2072952"/>
                <a:gd name="connsiteX7" fmla="*/ 147463 w 668934"/>
                <a:gd name="connsiteY7" fmla="*/ 611813 h 2072952"/>
                <a:gd name="connsiteX8" fmla="*/ 195275 w 668934"/>
                <a:gd name="connsiteY8" fmla="*/ 637764 h 2072952"/>
                <a:gd name="connsiteX9" fmla="*/ 195275 w 668934"/>
                <a:gd name="connsiteY9" fmla="*/ 1928952 h 2072952"/>
                <a:gd name="connsiteX10" fmla="*/ 339275 w 668934"/>
                <a:gd name="connsiteY10" fmla="*/ 2072952 h 2072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8934" h="2072952">
                  <a:moveTo>
                    <a:pt x="339275" y="2072952"/>
                  </a:moveTo>
                  <a:cubicBezTo>
                    <a:pt x="418804" y="2072952"/>
                    <a:pt x="483275" y="2008481"/>
                    <a:pt x="483275" y="1928952"/>
                  </a:cubicBezTo>
                  <a:lnTo>
                    <a:pt x="483275" y="632544"/>
                  </a:lnTo>
                  <a:lnTo>
                    <a:pt x="521471" y="611813"/>
                  </a:lnTo>
                  <a:cubicBezTo>
                    <a:pt x="610440" y="551706"/>
                    <a:pt x="668934" y="449918"/>
                    <a:pt x="668934" y="334467"/>
                  </a:cubicBezTo>
                  <a:cubicBezTo>
                    <a:pt x="668934" y="149746"/>
                    <a:pt x="519188" y="0"/>
                    <a:pt x="334467" y="0"/>
                  </a:cubicBezTo>
                  <a:cubicBezTo>
                    <a:pt x="149746" y="0"/>
                    <a:pt x="0" y="149746"/>
                    <a:pt x="0" y="334467"/>
                  </a:cubicBezTo>
                  <a:cubicBezTo>
                    <a:pt x="0" y="449918"/>
                    <a:pt x="58494" y="551706"/>
                    <a:pt x="147463" y="611813"/>
                  </a:cubicBezTo>
                  <a:lnTo>
                    <a:pt x="195275" y="637764"/>
                  </a:lnTo>
                  <a:lnTo>
                    <a:pt x="195275" y="1928952"/>
                  </a:lnTo>
                  <a:cubicBezTo>
                    <a:pt x="195275" y="2008481"/>
                    <a:pt x="259746" y="2072952"/>
                    <a:pt x="339275" y="2072952"/>
                  </a:cubicBezTo>
                  <a:close/>
                </a:path>
              </a:pathLst>
            </a:custGeom>
            <a:grpFill/>
            <a:ln w="152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p>
          </p:txBody>
        </p:sp>
        <p:sp>
          <p:nvSpPr>
            <p:cNvPr id="19" name="Rounded Rectangle 18"/>
            <p:cNvSpPr/>
            <p:nvPr/>
          </p:nvSpPr>
          <p:spPr>
            <a:xfrm rot="10800000" flipH="1">
              <a:off x="4032251" y="2601128"/>
              <a:ext cx="323300" cy="1939802"/>
            </a:xfrm>
            <a:prstGeom prst="roundRect">
              <a:avLst>
                <a:gd name="adj" fmla="val 50000"/>
              </a:avLst>
            </a:prstGeom>
            <a:gr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p>
          </p:txBody>
        </p:sp>
        <p:sp>
          <p:nvSpPr>
            <p:cNvPr id="20" name="Oval 19"/>
            <p:cNvSpPr/>
            <p:nvPr/>
          </p:nvSpPr>
          <p:spPr>
            <a:xfrm>
              <a:off x="3813041" y="4177237"/>
              <a:ext cx="750926" cy="750926"/>
            </a:xfrm>
            <a:prstGeom prst="ellipse">
              <a:avLst/>
            </a:prstGeom>
            <a:gr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p>
          </p:txBody>
        </p:sp>
      </p:grpSp>
      <p:sp>
        <p:nvSpPr>
          <p:cNvPr id="21" name="Rounded Rectangle 20"/>
          <p:cNvSpPr/>
          <p:nvPr/>
        </p:nvSpPr>
        <p:spPr>
          <a:xfrm rot="10800000" flipH="1">
            <a:off x="4061984" y="3170231"/>
            <a:ext cx="291709" cy="969901"/>
          </a:xfrm>
          <a:prstGeom prst="roundRect">
            <a:avLst>
              <a:gd name="adj" fmla="val 50000"/>
            </a:avLst>
          </a:prstGeom>
          <a:solidFill>
            <a:srgbClr val="018ABB"/>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p>
        </p:txBody>
      </p:sp>
      <p:sp>
        <p:nvSpPr>
          <p:cNvPr id="22" name="TextBox 21"/>
          <p:cNvSpPr txBox="1"/>
          <p:nvPr/>
        </p:nvSpPr>
        <p:spPr>
          <a:xfrm flipH="1">
            <a:off x="3793866" y="1817652"/>
            <a:ext cx="751788" cy="338554"/>
          </a:xfrm>
          <a:prstGeom prst="rect">
            <a:avLst/>
          </a:prstGeom>
          <a:noFill/>
        </p:spPr>
        <p:txBody>
          <a:bodyPr wrap="square" rtlCol="0">
            <a:spAutoFit/>
          </a:bodyPr>
          <a:lstStyle/>
          <a:p>
            <a:pPr algn="ctr"/>
            <a:r>
              <a:rPr lang="id-ID" sz="1600" b="1" i="1" dirty="0">
                <a:solidFill>
                  <a:schemeClr val="tx1">
                    <a:lumMod val="85000"/>
                    <a:lumOff val="15000"/>
                  </a:schemeClr>
                </a:solidFill>
                <a:latin typeface="Montserrat" panose="00000500000000000000" pitchFamily="2" charset="0"/>
                <a:ea typeface="Open Sans Light" panose="020B0306030504020204" pitchFamily="34" charset="0"/>
                <a:cs typeface="Open Sans Light" panose="020B0306030504020204" pitchFamily="34" charset="0"/>
              </a:rPr>
              <a:t>60</a:t>
            </a:r>
          </a:p>
        </p:txBody>
      </p:sp>
      <p:grpSp>
        <p:nvGrpSpPr>
          <p:cNvPr id="23" name="Group 22"/>
          <p:cNvGrpSpPr/>
          <p:nvPr/>
        </p:nvGrpSpPr>
        <p:grpSpPr>
          <a:xfrm>
            <a:off x="5093212" y="2337261"/>
            <a:ext cx="759655" cy="2356858"/>
            <a:chOff x="5093212" y="2571305"/>
            <a:chExt cx="759655" cy="2356858"/>
          </a:xfrm>
          <a:solidFill>
            <a:srgbClr val="01678C"/>
          </a:solidFill>
        </p:grpSpPr>
        <p:sp>
          <p:nvSpPr>
            <p:cNvPr id="24" name="Freeform 23"/>
            <p:cNvSpPr/>
            <p:nvPr/>
          </p:nvSpPr>
          <p:spPr>
            <a:xfrm rot="10800000" flipH="1">
              <a:off x="5093212" y="2586405"/>
              <a:ext cx="750926" cy="2327035"/>
            </a:xfrm>
            <a:custGeom>
              <a:avLst/>
              <a:gdLst>
                <a:gd name="connsiteX0" fmla="*/ 339275 w 668934"/>
                <a:gd name="connsiteY0" fmla="*/ 2072952 h 2072952"/>
                <a:gd name="connsiteX1" fmla="*/ 483275 w 668934"/>
                <a:gd name="connsiteY1" fmla="*/ 1928952 h 2072952"/>
                <a:gd name="connsiteX2" fmla="*/ 483275 w 668934"/>
                <a:gd name="connsiteY2" fmla="*/ 632544 h 2072952"/>
                <a:gd name="connsiteX3" fmla="*/ 521471 w 668934"/>
                <a:gd name="connsiteY3" fmla="*/ 611813 h 2072952"/>
                <a:gd name="connsiteX4" fmla="*/ 668934 w 668934"/>
                <a:gd name="connsiteY4" fmla="*/ 334467 h 2072952"/>
                <a:gd name="connsiteX5" fmla="*/ 334467 w 668934"/>
                <a:gd name="connsiteY5" fmla="*/ 0 h 2072952"/>
                <a:gd name="connsiteX6" fmla="*/ 0 w 668934"/>
                <a:gd name="connsiteY6" fmla="*/ 334467 h 2072952"/>
                <a:gd name="connsiteX7" fmla="*/ 147463 w 668934"/>
                <a:gd name="connsiteY7" fmla="*/ 611813 h 2072952"/>
                <a:gd name="connsiteX8" fmla="*/ 195275 w 668934"/>
                <a:gd name="connsiteY8" fmla="*/ 637764 h 2072952"/>
                <a:gd name="connsiteX9" fmla="*/ 195275 w 668934"/>
                <a:gd name="connsiteY9" fmla="*/ 1928952 h 2072952"/>
                <a:gd name="connsiteX10" fmla="*/ 339275 w 668934"/>
                <a:gd name="connsiteY10" fmla="*/ 2072952 h 2072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8934" h="2072952">
                  <a:moveTo>
                    <a:pt x="339275" y="2072952"/>
                  </a:moveTo>
                  <a:cubicBezTo>
                    <a:pt x="418804" y="2072952"/>
                    <a:pt x="483275" y="2008481"/>
                    <a:pt x="483275" y="1928952"/>
                  </a:cubicBezTo>
                  <a:lnTo>
                    <a:pt x="483275" y="632544"/>
                  </a:lnTo>
                  <a:lnTo>
                    <a:pt x="521471" y="611813"/>
                  </a:lnTo>
                  <a:cubicBezTo>
                    <a:pt x="610440" y="551706"/>
                    <a:pt x="668934" y="449918"/>
                    <a:pt x="668934" y="334467"/>
                  </a:cubicBezTo>
                  <a:cubicBezTo>
                    <a:pt x="668934" y="149746"/>
                    <a:pt x="519188" y="0"/>
                    <a:pt x="334467" y="0"/>
                  </a:cubicBezTo>
                  <a:cubicBezTo>
                    <a:pt x="149746" y="0"/>
                    <a:pt x="0" y="149746"/>
                    <a:pt x="0" y="334467"/>
                  </a:cubicBezTo>
                  <a:cubicBezTo>
                    <a:pt x="0" y="449918"/>
                    <a:pt x="58494" y="551706"/>
                    <a:pt x="147463" y="611813"/>
                  </a:cubicBezTo>
                  <a:lnTo>
                    <a:pt x="195275" y="637764"/>
                  </a:lnTo>
                  <a:lnTo>
                    <a:pt x="195275" y="1928952"/>
                  </a:lnTo>
                  <a:cubicBezTo>
                    <a:pt x="195275" y="2008481"/>
                    <a:pt x="259746" y="2072952"/>
                    <a:pt x="339275" y="2072952"/>
                  </a:cubicBezTo>
                  <a:close/>
                </a:path>
              </a:pathLst>
            </a:custGeom>
            <a:grpFill/>
            <a:ln w="152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p>
          </p:txBody>
        </p:sp>
        <p:sp>
          <p:nvSpPr>
            <p:cNvPr id="25" name="Rounded Rectangle 24"/>
            <p:cNvSpPr/>
            <p:nvPr/>
          </p:nvSpPr>
          <p:spPr>
            <a:xfrm rot="10800000" flipH="1">
              <a:off x="5315754" y="2571305"/>
              <a:ext cx="323300" cy="1969625"/>
            </a:xfrm>
            <a:prstGeom prst="roundRect">
              <a:avLst>
                <a:gd name="adj" fmla="val 50000"/>
              </a:avLst>
            </a:prstGeom>
            <a:gr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p>
          </p:txBody>
        </p:sp>
        <p:sp>
          <p:nvSpPr>
            <p:cNvPr id="26" name="Oval 25"/>
            <p:cNvSpPr/>
            <p:nvPr/>
          </p:nvSpPr>
          <p:spPr>
            <a:xfrm>
              <a:off x="5101941" y="4177237"/>
              <a:ext cx="750926" cy="750926"/>
            </a:xfrm>
            <a:prstGeom prst="ellipse">
              <a:avLst/>
            </a:prstGeom>
            <a:gr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i="1"/>
            </a:p>
          </p:txBody>
        </p:sp>
      </p:grpSp>
      <p:sp>
        <p:nvSpPr>
          <p:cNvPr id="27" name="Rounded Rectangle 26"/>
          <p:cNvSpPr/>
          <p:nvPr/>
        </p:nvSpPr>
        <p:spPr>
          <a:xfrm rot="10800000" flipH="1">
            <a:off x="5346203" y="3574719"/>
            <a:ext cx="284606" cy="565776"/>
          </a:xfrm>
          <a:prstGeom prst="roundRect">
            <a:avLst>
              <a:gd name="adj" fmla="val 50000"/>
            </a:avLst>
          </a:prstGeom>
          <a:solidFill>
            <a:srgbClr val="018ABB"/>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p>
        </p:txBody>
      </p:sp>
      <p:sp>
        <p:nvSpPr>
          <p:cNvPr id="28" name="TextBox 27"/>
          <p:cNvSpPr txBox="1"/>
          <p:nvPr/>
        </p:nvSpPr>
        <p:spPr>
          <a:xfrm flipH="1">
            <a:off x="5090955" y="1809034"/>
            <a:ext cx="751788" cy="338554"/>
          </a:xfrm>
          <a:prstGeom prst="rect">
            <a:avLst/>
          </a:prstGeom>
          <a:noFill/>
        </p:spPr>
        <p:txBody>
          <a:bodyPr wrap="square" rtlCol="0">
            <a:spAutoFit/>
          </a:bodyPr>
          <a:lstStyle/>
          <a:p>
            <a:pPr algn="ctr"/>
            <a:r>
              <a:rPr lang="id-ID" sz="1600" b="1" i="1" dirty="0">
                <a:solidFill>
                  <a:schemeClr val="tx1">
                    <a:lumMod val="85000"/>
                    <a:lumOff val="15000"/>
                  </a:schemeClr>
                </a:solidFill>
                <a:latin typeface="Montserrat" panose="00000500000000000000" pitchFamily="2" charset="0"/>
                <a:ea typeface="Open Sans Light" panose="020B0306030504020204" pitchFamily="34" charset="0"/>
                <a:cs typeface="Open Sans Light" panose="020B0306030504020204" pitchFamily="34" charset="0"/>
              </a:rPr>
              <a:t>20</a:t>
            </a:r>
          </a:p>
        </p:txBody>
      </p:sp>
      <p:grpSp>
        <p:nvGrpSpPr>
          <p:cNvPr id="29" name="Group 28"/>
          <p:cNvGrpSpPr/>
          <p:nvPr/>
        </p:nvGrpSpPr>
        <p:grpSpPr>
          <a:xfrm>
            <a:off x="6385496" y="2337261"/>
            <a:ext cx="756272" cy="2356858"/>
            <a:chOff x="6385496" y="2571305"/>
            <a:chExt cx="756272" cy="2356858"/>
          </a:xfrm>
          <a:solidFill>
            <a:srgbClr val="01678C"/>
          </a:solidFill>
        </p:grpSpPr>
        <p:sp>
          <p:nvSpPr>
            <p:cNvPr id="30" name="Freeform 29"/>
            <p:cNvSpPr/>
            <p:nvPr/>
          </p:nvSpPr>
          <p:spPr>
            <a:xfrm rot="10800000" flipH="1">
              <a:off x="6385496" y="2594422"/>
              <a:ext cx="750926" cy="2327035"/>
            </a:xfrm>
            <a:custGeom>
              <a:avLst/>
              <a:gdLst>
                <a:gd name="connsiteX0" fmla="*/ 339275 w 668934"/>
                <a:gd name="connsiteY0" fmla="*/ 2072952 h 2072952"/>
                <a:gd name="connsiteX1" fmla="*/ 483275 w 668934"/>
                <a:gd name="connsiteY1" fmla="*/ 1928952 h 2072952"/>
                <a:gd name="connsiteX2" fmla="*/ 483275 w 668934"/>
                <a:gd name="connsiteY2" fmla="*/ 632544 h 2072952"/>
                <a:gd name="connsiteX3" fmla="*/ 521471 w 668934"/>
                <a:gd name="connsiteY3" fmla="*/ 611813 h 2072952"/>
                <a:gd name="connsiteX4" fmla="*/ 668934 w 668934"/>
                <a:gd name="connsiteY4" fmla="*/ 334467 h 2072952"/>
                <a:gd name="connsiteX5" fmla="*/ 334467 w 668934"/>
                <a:gd name="connsiteY5" fmla="*/ 0 h 2072952"/>
                <a:gd name="connsiteX6" fmla="*/ 0 w 668934"/>
                <a:gd name="connsiteY6" fmla="*/ 334467 h 2072952"/>
                <a:gd name="connsiteX7" fmla="*/ 147463 w 668934"/>
                <a:gd name="connsiteY7" fmla="*/ 611813 h 2072952"/>
                <a:gd name="connsiteX8" fmla="*/ 195275 w 668934"/>
                <a:gd name="connsiteY8" fmla="*/ 637764 h 2072952"/>
                <a:gd name="connsiteX9" fmla="*/ 195275 w 668934"/>
                <a:gd name="connsiteY9" fmla="*/ 1928952 h 2072952"/>
                <a:gd name="connsiteX10" fmla="*/ 339275 w 668934"/>
                <a:gd name="connsiteY10" fmla="*/ 2072952 h 2072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8934" h="2072952">
                  <a:moveTo>
                    <a:pt x="339275" y="2072952"/>
                  </a:moveTo>
                  <a:cubicBezTo>
                    <a:pt x="418804" y="2072952"/>
                    <a:pt x="483275" y="2008481"/>
                    <a:pt x="483275" y="1928952"/>
                  </a:cubicBezTo>
                  <a:lnTo>
                    <a:pt x="483275" y="632544"/>
                  </a:lnTo>
                  <a:lnTo>
                    <a:pt x="521471" y="611813"/>
                  </a:lnTo>
                  <a:cubicBezTo>
                    <a:pt x="610440" y="551706"/>
                    <a:pt x="668934" y="449918"/>
                    <a:pt x="668934" y="334467"/>
                  </a:cubicBezTo>
                  <a:cubicBezTo>
                    <a:pt x="668934" y="149746"/>
                    <a:pt x="519188" y="0"/>
                    <a:pt x="334467" y="0"/>
                  </a:cubicBezTo>
                  <a:cubicBezTo>
                    <a:pt x="149746" y="0"/>
                    <a:pt x="0" y="149746"/>
                    <a:pt x="0" y="334467"/>
                  </a:cubicBezTo>
                  <a:cubicBezTo>
                    <a:pt x="0" y="449918"/>
                    <a:pt x="58494" y="551706"/>
                    <a:pt x="147463" y="611813"/>
                  </a:cubicBezTo>
                  <a:lnTo>
                    <a:pt x="195275" y="637764"/>
                  </a:lnTo>
                  <a:lnTo>
                    <a:pt x="195275" y="1928952"/>
                  </a:lnTo>
                  <a:cubicBezTo>
                    <a:pt x="195275" y="2008481"/>
                    <a:pt x="259746" y="2072952"/>
                    <a:pt x="339275" y="2072952"/>
                  </a:cubicBezTo>
                  <a:close/>
                </a:path>
              </a:pathLst>
            </a:custGeom>
            <a:grpFill/>
            <a:ln w="152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p>
          </p:txBody>
        </p:sp>
        <p:sp>
          <p:nvSpPr>
            <p:cNvPr id="31" name="Rounded Rectangle 30"/>
            <p:cNvSpPr/>
            <p:nvPr/>
          </p:nvSpPr>
          <p:spPr>
            <a:xfrm rot="10800000" flipH="1">
              <a:off x="6604655" y="2571305"/>
              <a:ext cx="323300" cy="1969625"/>
            </a:xfrm>
            <a:prstGeom prst="roundRect">
              <a:avLst>
                <a:gd name="adj" fmla="val 50000"/>
              </a:avLst>
            </a:prstGeom>
            <a:gr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p>
          </p:txBody>
        </p:sp>
        <p:sp>
          <p:nvSpPr>
            <p:cNvPr id="32" name="Oval 31"/>
            <p:cNvSpPr/>
            <p:nvPr/>
          </p:nvSpPr>
          <p:spPr>
            <a:xfrm>
              <a:off x="6390842" y="4177237"/>
              <a:ext cx="750926" cy="750926"/>
            </a:xfrm>
            <a:prstGeom prst="ellipse">
              <a:avLst/>
            </a:prstGeom>
            <a:gr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i="1"/>
            </a:p>
          </p:txBody>
        </p:sp>
      </p:grpSp>
      <p:sp>
        <p:nvSpPr>
          <p:cNvPr id="33" name="TextBox 32"/>
          <p:cNvSpPr txBox="1"/>
          <p:nvPr/>
        </p:nvSpPr>
        <p:spPr>
          <a:xfrm flipH="1">
            <a:off x="6389641" y="1801654"/>
            <a:ext cx="751788" cy="338554"/>
          </a:xfrm>
          <a:prstGeom prst="rect">
            <a:avLst/>
          </a:prstGeom>
          <a:noFill/>
        </p:spPr>
        <p:txBody>
          <a:bodyPr wrap="square" rtlCol="0">
            <a:spAutoFit/>
          </a:bodyPr>
          <a:lstStyle/>
          <a:p>
            <a:pPr algn="ctr"/>
            <a:r>
              <a:rPr lang="id-ID" sz="1600" b="1" i="1" dirty="0">
                <a:solidFill>
                  <a:schemeClr val="tx1">
                    <a:lumMod val="85000"/>
                    <a:lumOff val="15000"/>
                  </a:schemeClr>
                </a:solidFill>
                <a:latin typeface="Montserrat" panose="00000500000000000000" pitchFamily="2" charset="0"/>
                <a:ea typeface="Open Sans Light" panose="020B0306030504020204" pitchFamily="34" charset="0"/>
                <a:cs typeface="Open Sans Light" panose="020B0306030504020204" pitchFamily="34" charset="0"/>
              </a:rPr>
              <a:t>45</a:t>
            </a:r>
          </a:p>
        </p:txBody>
      </p:sp>
      <p:sp>
        <p:nvSpPr>
          <p:cNvPr id="34" name="Rounded Rectangle 33"/>
          <p:cNvSpPr/>
          <p:nvPr/>
        </p:nvSpPr>
        <p:spPr>
          <a:xfrm rot="10800000" flipH="1">
            <a:off x="6622067" y="3291470"/>
            <a:ext cx="286826" cy="848663"/>
          </a:xfrm>
          <a:prstGeom prst="roundRect">
            <a:avLst>
              <a:gd name="adj" fmla="val 50000"/>
            </a:avLst>
          </a:prstGeom>
          <a:solidFill>
            <a:srgbClr val="018ABB"/>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p>
        </p:txBody>
      </p:sp>
      <p:grpSp>
        <p:nvGrpSpPr>
          <p:cNvPr id="35" name="Group 34"/>
          <p:cNvGrpSpPr/>
          <p:nvPr/>
        </p:nvGrpSpPr>
        <p:grpSpPr>
          <a:xfrm>
            <a:off x="7669272" y="2337261"/>
            <a:ext cx="761396" cy="2356858"/>
            <a:chOff x="7669272" y="2571305"/>
            <a:chExt cx="761396" cy="2356858"/>
          </a:xfrm>
          <a:solidFill>
            <a:srgbClr val="01678C"/>
          </a:solidFill>
        </p:grpSpPr>
        <p:sp>
          <p:nvSpPr>
            <p:cNvPr id="36" name="Freeform 35"/>
            <p:cNvSpPr/>
            <p:nvPr/>
          </p:nvSpPr>
          <p:spPr>
            <a:xfrm rot="10800000" flipH="1">
              <a:off x="7669272" y="2594422"/>
              <a:ext cx="750926" cy="2327035"/>
            </a:xfrm>
            <a:custGeom>
              <a:avLst/>
              <a:gdLst>
                <a:gd name="connsiteX0" fmla="*/ 339275 w 668934"/>
                <a:gd name="connsiteY0" fmla="*/ 2072952 h 2072952"/>
                <a:gd name="connsiteX1" fmla="*/ 483275 w 668934"/>
                <a:gd name="connsiteY1" fmla="*/ 1928952 h 2072952"/>
                <a:gd name="connsiteX2" fmla="*/ 483275 w 668934"/>
                <a:gd name="connsiteY2" fmla="*/ 632544 h 2072952"/>
                <a:gd name="connsiteX3" fmla="*/ 521471 w 668934"/>
                <a:gd name="connsiteY3" fmla="*/ 611813 h 2072952"/>
                <a:gd name="connsiteX4" fmla="*/ 668934 w 668934"/>
                <a:gd name="connsiteY4" fmla="*/ 334467 h 2072952"/>
                <a:gd name="connsiteX5" fmla="*/ 334467 w 668934"/>
                <a:gd name="connsiteY5" fmla="*/ 0 h 2072952"/>
                <a:gd name="connsiteX6" fmla="*/ 0 w 668934"/>
                <a:gd name="connsiteY6" fmla="*/ 334467 h 2072952"/>
                <a:gd name="connsiteX7" fmla="*/ 147463 w 668934"/>
                <a:gd name="connsiteY7" fmla="*/ 611813 h 2072952"/>
                <a:gd name="connsiteX8" fmla="*/ 195275 w 668934"/>
                <a:gd name="connsiteY8" fmla="*/ 637764 h 2072952"/>
                <a:gd name="connsiteX9" fmla="*/ 195275 w 668934"/>
                <a:gd name="connsiteY9" fmla="*/ 1928952 h 2072952"/>
                <a:gd name="connsiteX10" fmla="*/ 339275 w 668934"/>
                <a:gd name="connsiteY10" fmla="*/ 2072952 h 2072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8934" h="2072952">
                  <a:moveTo>
                    <a:pt x="339275" y="2072952"/>
                  </a:moveTo>
                  <a:cubicBezTo>
                    <a:pt x="418804" y="2072952"/>
                    <a:pt x="483275" y="2008481"/>
                    <a:pt x="483275" y="1928952"/>
                  </a:cubicBezTo>
                  <a:lnTo>
                    <a:pt x="483275" y="632544"/>
                  </a:lnTo>
                  <a:lnTo>
                    <a:pt x="521471" y="611813"/>
                  </a:lnTo>
                  <a:cubicBezTo>
                    <a:pt x="610440" y="551706"/>
                    <a:pt x="668934" y="449918"/>
                    <a:pt x="668934" y="334467"/>
                  </a:cubicBezTo>
                  <a:cubicBezTo>
                    <a:pt x="668934" y="149746"/>
                    <a:pt x="519188" y="0"/>
                    <a:pt x="334467" y="0"/>
                  </a:cubicBezTo>
                  <a:cubicBezTo>
                    <a:pt x="149746" y="0"/>
                    <a:pt x="0" y="149746"/>
                    <a:pt x="0" y="334467"/>
                  </a:cubicBezTo>
                  <a:cubicBezTo>
                    <a:pt x="0" y="449918"/>
                    <a:pt x="58494" y="551706"/>
                    <a:pt x="147463" y="611813"/>
                  </a:cubicBezTo>
                  <a:lnTo>
                    <a:pt x="195275" y="637764"/>
                  </a:lnTo>
                  <a:lnTo>
                    <a:pt x="195275" y="1928952"/>
                  </a:lnTo>
                  <a:cubicBezTo>
                    <a:pt x="195275" y="2008481"/>
                    <a:pt x="259746" y="2072952"/>
                    <a:pt x="339275" y="2072952"/>
                  </a:cubicBezTo>
                  <a:close/>
                </a:path>
              </a:pathLst>
            </a:custGeom>
            <a:grpFill/>
            <a:ln w="152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p>
          </p:txBody>
        </p:sp>
        <p:sp>
          <p:nvSpPr>
            <p:cNvPr id="37" name="Rounded Rectangle 36"/>
            <p:cNvSpPr/>
            <p:nvPr/>
          </p:nvSpPr>
          <p:spPr>
            <a:xfrm rot="10800000" flipH="1">
              <a:off x="7893555" y="2571305"/>
              <a:ext cx="323300" cy="1969625"/>
            </a:xfrm>
            <a:prstGeom prst="roundRect">
              <a:avLst>
                <a:gd name="adj" fmla="val 50000"/>
              </a:avLst>
            </a:prstGeom>
            <a:gr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p>
          </p:txBody>
        </p:sp>
        <p:sp>
          <p:nvSpPr>
            <p:cNvPr id="38" name="Oval 37"/>
            <p:cNvSpPr/>
            <p:nvPr/>
          </p:nvSpPr>
          <p:spPr>
            <a:xfrm>
              <a:off x="7679742" y="4177237"/>
              <a:ext cx="750926" cy="750926"/>
            </a:xfrm>
            <a:prstGeom prst="ellipse">
              <a:avLst/>
            </a:prstGeom>
            <a:gr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i="1"/>
            </a:p>
          </p:txBody>
        </p:sp>
      </p:grpSp>
      <p:sp>
        <p:nvSpPr>
          <p:cNvPr id="39" name="TextBox 38"/>
          <p:cNvSpPr txBox="1"/>
          <p:nvPr/>
        </p:nvSpPr>
        <p:spPr>
          <a:xfrm flipH="1">
            <a:off x="7678541" y="1818181"/>
            <a:ext cx="751788" cy="338554"/>
          </a:xfrm>
          <a:prstGeom prst="rect">
            <a:avLst/>
          </a:prstGeom>
          <a:noFill/>
        </p:spPr>
        <p:txBody>
          <a:bodyPr wrap="square" rtlCol="0">
            <a:spAutoFit/>
          </a:bodyPr>
          <a:lstStyle/>
          <a:p>
            <a:pPr algn="ctr"/>
            <a:r>
              <a:rPr lang="id-ID" sz="1600" b="1" i="1" dirty="0">
                <a:solidFill>
                  <a:schemeClr val="tx1">
                    <a:lumMod val="85000"/>
                    <a:lumOff val="15000"/>
                  </a:schemeClr>
                </a:solidFill>
                <a:latin typeface="Montserrat" panose="00000500000000000000" pitchFamily="2" charset="0"/>
                <a:ea typeface="Open Sans Light" panose="020B0306030504020204" pitchFamily="34" charset="0"/>
                <a:cs typeface="Open Sans Light" panose="020B0306030504020204" pitchFamily="34" charset="0"/>
              </a:rPr>
              <a:t>85</a:t>
            </a:r>
          </a:p>
        </p:txBody>
      </p:sp>
      <p:sp>
        <p:nvSpPr>
          <p:cNvPr id="40" name="Rounded Rectangle 39"/>
          <p:cNvSpPr/>
          <p:nvPr/>
        </p:nvSpPr>
        <p:spPr>
          <a:xfrm rot="10800000" flipH="1">
            <a:off x="7927144" y="2643174"/>
            <a:ext cx="285149" cy="1495264"/>
          </a:xfrm>
          <a:prstGeom prst="roundRect">
            <a:avLst>
              <a:gd name="adj" fmla="val 50000"/>
            </a:avLst>
          </a:prstGeom>
          <a:solidFill>
            <a:srgbClr val="018ABB"/>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p>
        </p:txBody>
      </p:sp>
      <p:grpSp>
        <p:nvGrpSpPr>
          <p:cNvPr id="41" name="Group 40"/>
          <p:cNvGrpSpPr/>
          <p:nvPr/>
        </p:nvGrpSpPr>
        <p:grpSpPr>
          <a:xfrm>
            <a:off x="5345943" y="4193612"/>
            <a:ext cx="275145" cy="262405"/>
            <a:chOff x="7773920" y="2679103"/>
            <a:chExt cx="366219" cy="349260"/>
          </a:xfrm>
          <a:solidFill>
            <a:schemeClr val="tx1">
              <a:lumMod val="85000"/>
              <a:lumOff val="15000"/>
            </a:schemeClr>
          </a:solidFill>
        </p:grpSpPr>
        <p:sp>
          <p:nvSpPr>
            <p:cNvPr id="42" name="Freeform 5"/>
            <p:cNvSpPr>
              <a:spLocks noEditPoints="1"/>
            </p:cNvSpPr>
            <p:nvPr/>
          </p:nvSpPr>
          <p:spPr bwMode="auto">
            <a:xfrm>
              <a:off x="7773920" y="2679103"/>
              <a:ext cx="366219" cy="349260"/>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7 w 128"/>
                <a:gd name="T13" fmla="*/ 110 h 122"/>
                <a:gd name="T14" fmla="*/ 34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1" y="106"/>
                    <a:pt x="39" y="109"/>
                    <a:pt x="37" y="110"/>
                  </a:cubicBezTo>
                  <a:cubicBezTo>
                    <a:pt x="36" y="111"/>
                    <a:pt x="35" y="112"/>
                    <a:pt x="34"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4"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1"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a:p>
          </p:txBody>
        </p:sp>
        <p:sp>
          <p:nvSpPr>
            <p:cNvPr id="43" name="Freeform 6"/>
            <p:cNvSpPr>
              <a:spLocks noEditPoints="1"/>
            </p:cNvSpPr>
            <p:nvPr/>
          </p:nvSpPr>
          <p:spPr bwMode="auto">
            <a:xfrm>
              <a:off x="7819755" y="2724938"/>
              <a:ext cx="274550" cy="183339"/>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a:p>
          </p:txBody>
        </p:sp>
        <p:sp>
          <p:nvSpPr>
            <p:cNvPr id="44" name="Freeform 7"/>
            <p:cNvSpPr>
              <a:spLocks noEditPoints="1"/>
            </p:cNvSpPr>
            <p:nvPr/>
          </p:nvSpPr>
          <p:spPr bwMode="auto">
            <a:xfrm>
              <a:off x="7939842" y="2913775"/>
              <a:ext cx="34376" cy="34376"/>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p:spPr>
          <p:txBody>
            <a:bodyPr vert="horz" wrap="square" lIns="91440" tIns="45720" rIns="91440" bIns="45720" numCol="1" anchor="t" anchorCtr="0" compatLnSpc="1">
              <a:prstTxWarp prst="textNoShape">
                <a:avLst/>
              </a:prstTxWarp>
            </a:bodyPr>
            <a:lstStyle/>
            <a:p>
              <a:endParaRPr lang="id-ID"/>
            </a:p>
          </p:txBody>
        </p:sp>
      </p:grpSp>
      <p:sp>
        <p:nvSpPr>
          <p:cNvPr id="45" name="Freeform 12"/>
          <p:cNvSpPr>
            <a:spLocks noEditPoints="1"/>
          </p:cNvSpPr>
          <p:nvPr/>
        </p:nvSpPr>
        <p:spPr bwMode="auto">
          <a:xfrm rot="21554948">
            <a:off x="4047284" y="4206460"/>
            <a:ext cx="264001" cy="258181"/>
          </a:xfrm>
          <a:custGeom>
            <a:avLst/>
            <a:gdLst>
              <a:gd name="T0" fmla="*/ 2384 w 2506"/>
              <a:gd name="T1" fmla="*/ 122 h 2453"/>
              <a:gd name="T2" fmla="*/ 2190 w 2506"/>
              <a:gd name="T3" fmla="*/ 0 h 2453"/>
              <a:gd name="T4" fmla="*/ 1389 w 2506"/>
              <a:gd name="T5" fmla="*/ 432 h 2453"/>
              <a:gd name="T6" fmla="*/ 1145 w 2506"/>
              <a:gd name="T7" fmla="*/ 382 h 2453"/>
              <a:gd name="T8" fmla="*/ 220 w 2506"/>
              <a:gd name="T9" fmla="*/ 477 h 2453"/>
              <a:gd name="T10" fmla="*/ 0 w 2506"/>
              <a:gd name="T11" fmla="*/ 819 h 2453"/>
              <a:gd name="T12" fmla="*/ 104 w 2506"/>
              <a:gd name="T13" fmla="*/ 1388 h 2453"/>
              <a:gd name="T14" fmla="*/ 434 w 2506"/>
              <a:gd name="T15" fmla="*/ 1654 h 2453"/>
              <a:gd name="T16" fmla="*/ 833 w 2506"/>
              <a:gd name="T17" fmla="*/ 2453 h 2453"/>
              <a:gd name="T18" fmla="*/ 1168 w 2506"/>
              <a:gd name="T19" fmla="*/ 2358 h 2453"/>
              <a:gd name="T20" fmla="*/ 1305 w 2506"/>
              <a:gd name="T21" fmla="*/ 2109 h 2453"/>
              <a:gd name="T22" fmla="*/ 1274 w 2506"/>
              <a:gd name="T23" fmla="*/ 1904 h 2453"/>
              <a:gd name="T24" fmla="*/ 1312 w 2506"/>
              <a:gd name="T25" fmla="*/ 1739 h 2453"/>
              <a:gd name="T26" fmla="*/ 1237 w 2506"/>
              <a:gd name="T27" fmla="*/ 1618 h 2453"/>
              <a:gd name="T28" fmla="*/ 1389 w 2506"/>
              <a:gd name="T29" fmla="*/ 1606 h 2453"/>
              <a:gd name="T30" fmla="*/ 2190 w 2506"/>
              <a:gd name="T31" fmla="*/ 2051 h 2453"/>
              <a:gd name="T32" fmla="*/ 2384 w 2506"/>
              <a:gd name="T33" fmla="*/ 1928 h 2453"/>
              <a:gd name="T34" fmla="*/ 2506 w 2506"/>
              <a:gd name="T35" fmla="*/ 1017 h 2453"/>
              <a:gd name="T36" fmla="*/ 833 w 2506"/>
              <a:gd name="T37" fmla="*/ 2318 h 2453"/>
              <a:gd name="T38" fmla="*/ 556 w 2506"/>
              <a:gd name="T39" fmla="*/ 1592 h 2453"/>
              <a:gd name="T40" fmla="*/ 1176 w 2506"/>
              <a:gd name="T41" fmla="*/ 2149 h 2453"/>
              <a:gd name="T42" fmla="*/ 1128 w 2506"/>
              <a:gd name="T43" fmla="*/ 2229 h 2453"/>
              <a:gd name="T44" fmla="*/ 833 w 2506"/>
              <a:gd name="T45" fmla="*/ 2318 h 2453"/>
              <a:gd name="T46" fmla="*/ 136 w 2506"/>
              <a:gd name="T47" fmla="*/ 819 h 2453"/>
              <a:gd name="T48" fmla="*/ 147 w 2506"/>
              <a:gd name="T49" fmla="*/ 1253 h 2453"/>
              <a:gd name="T50" fmla="*/ 219 w 2506"/>
              <a:gd name="T51" fmla="*/ 1264 h 2453"/>
              <a:gd name="T52" fmla="*/ 476 w 2506"/>
              <a:gd name="T53" fmla="*/ 517 h 2453"/>
              <a:gd name="T54" fmla="*/ 1140 w 2506"/>
              <a:gd name="T55" fmla="*/ 1521 h 2453"/>
              <a:gd name="T56" fmla="*/ 476 w 2506"/>
              <a:gd name="T57" fmla="*/ 1521 h 2453"/>
              <a:gd name="T58" fmla="*/ 1090 w 2506"/>
              <a:gd name="T59" fmla="*/ 1638 h 2453"/>
              <a:gd name="T60" fmla="*/ 1148 w 2506"/>
              <a:gd name="T61" fmla="*/ 1823 h 2453"/>
              <a:gd name="T62" fmla="*/ 1212 w 2506"/>
              <a:gd name="T63" fmla="*/ 567 h 2453"/>
              <a:gd name="T64" fmla="*/ 2132 w 2506"/>
              <a:gd name="T65" fmla="*/ 201 h 2453"/>
              <a:gd name="T66" fmla="*/ 1421 w 2506"/>
              <a:gd name="T67" fmla="*/ 1471 h 2453"/>
              <a:gd name="T68" fmla="*/ 1212 w 2506"/>
              <a:gd name="T69" fmla="*/ 567 h 2453"/>
              <a:gd name="T70" fmla="*/ 2248 w 2506"/>
              <a:gd name="T71" fmla="*/ 135 h 2453"/>
              <a:gd name="T72" fmla="*/ 2203 w 2506"/>
              <a:gd name="T73" fmla="*/ 1915 h 2453"/>
              <a:gd name="T74" fmla="*/ 2319 w 2506"/>
              <a:gd name="T75" fmla="*/ 1169 h 2453"/>
              <a:gd name="T76" fmla="*/ 2371 w 2506"/>
              <a:gd name="T77" fmla="*/ 1017 h 2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06" h="2453">
                <a:moveTo>
                  <a:pt x="2384" y="735"/>
                </a:moveTo>
                <a:cubicBezTo>
                  <a:pt x="2384" y="122"/>
                  <a:pt x="2384" y="122"/>
                  <a:pt x="2384" y="122"/>
                </a:cubicBezTo>
                <a:cubicBezTo>
                  <a:pt x="2384" y="54"/>
                  <a:pt x="2329" y="0"/>
                  <a:pt x="2261" y="0"/>
                </a:cubicBezTo>
                <a:cubicBezTo>
                  <a:pt x="2190" y="0"/>
                  <a:pt x="2190" y="0"/>
                  <a:pt x="2190" y="0"/>
                </a:cubicBezTo>
                <a:cubicBezTo>
                  <a:pt x="2138" y="0"/>
                  <a:pt x="2094" y="32"/>
                  <a:pt x="2076" y="78"/>
                </a:cubicBezTo>
                <a:cubicBezTo>
                  <a:pt x="1389" y="432"/>
                  <a:pt x="1389" y="432"/>
                  <a:pt x="1389" y="432"/>
                </a:cubicBezTo>
                <a:cubicBezTo>
                  <a:pt x="1248" y="432"/>
                  <a:pt x="1248" y="432"/>
                  <a:pt x="1248" y="432"/>
                </a:cubicBezTo>
                <a:cubicBezTo>
                  <a:pt x="1224" y="401"/>
                  <a:pt x="1186" y="382"/>
                  <a:pt x="1145" y="382"/>
                </a:cubicBezTo>
                <a:cubicBezTo>
                  <a:pt x="476" y="382"/>
                  <a:pt x="476" y="382"/>
                  <a:pt x="476" y="382"/>
                </a:cubicBezTo>
                <a:cubicBezTo>
                  <a:pt x="382" y="382"/>
                  <a:pt x="291" y="416"/>
                  <a:pt x="220" y="477"/>
                </a:cubicBezTo>
                <a:cubicBezTo>
                  <a:pt x="166" y="523"/>
                  <a:pt x="126" y="583"/>
                  <a:pt x="104" y="650"/>
                </a:cubicBezTo>
                <a:cubicBezTo>
                  <a:pt x="42" y="682"/>
                  <a:pt x="0" y="746"/>
                  <a:pt x="0" y="819"/>
                </a:cubicBezTo>
                <a:cubicBezTo>
                  <a:pt x="0" y="1219"/>
                  <a:pt x="0" y="1219"/>
                  <a:pt x="0" y="1219"/>
                </a:cubicBezTo>
                <a:cubicBezTo>
                  <a:pt x="0" y="1293"/>
                  <a:pt x="42" y="1357"/>
                  <a:pt x="104" y="1388"/>
                </a:cubicBezTo>
                <a:cubicBezTo>
                  <a:pt x="126" y="1455"/>
                  <a:pt x="166" y="1515"/>
                  <a:pt x="220" y="1561"/>
                </a:cubicBezTo>
                <a:cubicBezTo>
                  <a:pt x="280" y="1613"/>
                  <a:pt x="355" y="1646"/>
                  <a:pt x="434" y="1654"/>
                </a:cubicBezTo>
                <a:cubicBezTo>
                  <a:pt x="642" y="2317"/>
                  <a:pt x="642" y="2317"/>
                  <a:pt x="642" y="2317"/>
                </a:cubicBezTo>
                <a:cubicBezTo>
                  <a:pt x="668" y="2398"/>
                  <a:pt x="744" y="2453"/>
                  <a:pt x="833" y="2453"/>
                </a:cubicBezTo>
                <a:cubicBezTo>
                  <a:pt x="855" y="2453"/>
                  <a:pt x="876" y="2450"/>
                  <a:pt x="897" y="2443"/>
                </a:cubicBezTo>
                <a:cubicBezTo>
                  <a:pt x="1168" y="2358"/>
                  <a:pt x="1168" y="2358"/>
                  <a:pt x="1168" y="2358"/>
                </a:cubicBezTo>
                <a:cubicBezTo>
                  <a:pt x="1219" y="2342"/>
                  <a:pt x="1262" y="2308"/>
                  <a:pt x="1288" y="2263"/>
                </a:cubicBezTo>
                <a:cubicBezTo>
                  <a:pt x="1315" y="2216"/>
                  <a:pt x="1321" y="2160"/>
                  <a:pt x="1305" y="2109"/>
                </a:cubicBezTo>
                <a:cubicBezTo>
                  <a:pt x="1246" y="1921"/>
                  <a:pt x="1246" y="1921"/>
                  <a:pt x="1246" y="1921"/>
                </a:cubicBezTo>
                <a:cubicBezTo>
                  <a:pt x="1274" y="1904"/>
                  <a:pt x="1274" y="1904"/>
                  <a:pt x="1274" y="1904"/>
                </a:cubicBezTo>
                <a:cubicBezTo>
                  <a:pt x="1330" y="1869"/>
                  <a:pt x="1347" y="1795"/>
                  <a:pt x="1313" y="1739"/>
                </a:cubicBezTo>
                <a:cubicBezTo>
                  <a:pt x="1312" y="1739"/>
                  <a:pt x="1312" y="1739"/>
                  <a:pt x="1312" y="1739"/>
                </a:cubicBezTo>
                <a:cubicBezTo>
                  <a:pt x="1312" y="1739"/>
                  <a:pt x="1312" y="1739"/>
                  <a:pt x="1312" y="1739"/>
                </a:cubicBezTo>
                <a:cubicBezTo>
                  <a:pt x="1237" y="1618"/>
                  <a:pt x="1237" y="1618"/>
                  <a:pt x="1237" y="1618"/>
                </a:cubicBezTo>
                <a:cubicBezTo>
                  <a:pt x="1241" y="1614"/>
                  <a:pt x="1244" y="1611"/>
                  <a:pt x="1248" y="1606"/>
                </a:cubicBezTo>
                <a:cubicBezTo>
                  <a:pt x="1389" y="1606"/>
                  <a:pt x="1389" y="1606"/>
                  <a:pt x="1389" y="1606"/>
                </a:cubicBezTo>
                <a:cubicBezTo>
                  <a:pt x="2072" y="1958"/>
                  <a:pt x="2072" y="1958"/>
                  <a:pt x="2072" y="1958"/>
                </a:cubicBezTo>
                <a:cubicBezTo>
                  <a:pt x="2085" y="2011"/>
                  <a:pt x="2133" y="2051"/>
                  <a:pt x="2190" y="2051"/>
                </a:cubicBezTo>
                <a:cubicBezTo>
                  <a:pt x="2261" y="2051"/>
                  <a:pt x="2261" y="2051"/>
                  <a:pt x="2261" y="2051"/>
                </a:cubicBezTo>
                <a:cubicBezTo>
                  <a:pt x="2329" y="2051"/>
                  <a:pt x="2384" y="1996"/>
                  <a:pt x="2384" y="1928"/>
                </a:cubicBezTo>
                <a:cubicBezTo>
                  <a:pt x="2384" y="1299"/>
                  <a:pt x="2384" y="1299"/>
                  <a:pt x="2384" y="1299"/>
                </a:cubicBezTo>
                <a:cubicBezTo>
                  <a:pt x="2461" y="1226"/>
                  <a:pt x="2506" y="1124"/>
                  <a:pt x="2506" y="1017"/>
                </a:cubicBezTo>
                <a:cubicBezTo>
                  <a:pt x="2506" y="909"/>
                  <a:pt x="2461" y="807"/>
                  <a:pt x="2384" y="735"/>
                </a:cubicBezTo>
                <a:close/>
                <a:moveTo>
                  <a:pt x="833" y="2318"/>
                </a:moveTo>
                <a:cubicBezTo>
                  <a:pt x="804" y="2318"/>
                  <a:pt x="779" y="2301"/>
                  <a:pt x="771" y="2276"/>
                </a:cubicBezTo>
                <a:cubicBezTo>
                  <a:pt x="556" y="1592"/>
                  <a:pt x="556" y="1592"/>
                  <a:pt x="556" y="1592"/>
                </a:cubicBezTo>
                <a:cubicBezTo>
                  <a:pt x="1001" y="1592"/>
                  <a:pt x="1001" y="1592"/>
                  <a:pt x="1001" y="1592"/>
                </a:cubicBezTo>
                <a:cubicBezTo>
                  <a:pt x="1176" y="2149"/>
                  <a:pt x="1176" y="2149"/>
                  <a:pt x="1176" y="2149"/>
                </a:cubicBezTo>
                <a:cubicBezTo>
                  <a:pt x="1181" y="2164"/>
                  <a:pt x="1179" y="2181"/>
                  <a:pt x="1170" y="2196"/>
                </a:cubicBezTo>
                <a:cubicBezTo>
                  <a:pt x="1161" y="2212"/>
                  <a:pt x="1146" y="2223"/>
                  <a:pt x="1128" y="2229"/>
                </a:cubicBezTo>
                <a:cubicBezTo>
                  <a:pt x="856" y="2314"/>
                  <a:pt x="856" y="2314"/>
                  <a:pt x="856" y="2314"/>
                </a:cubicBezTo>
                <a:cubicBezTo>
                  <a:pt x="849" y="2317"/>
                  <a:pt x="841" y="2318"/>
                  <a:pt x="833" y="2318"/>
                </a:cubicBezTo>
                <a:close/>
                <a:moveTo>
                  <a:pt x="136" y="1219"/>
                </a:moveTo>
                <a:cubicBezTo>
                  <a:pt x="136" y="819"/>
                  <a:pt x="136" y="819"/>
                  <a:pt x="136" y="819"/>
                </a:cubicBezTo>
                <a:cubicBezTo>
                  <a:pt x="136" y="806"/>
                  <a:pt x="140" y="795"/>
                  <a:pt x="147" y="785"/>
                </a:cubicBezTo>
                <a:cubicBezTo>
                  <a:pt x="147" y="1253"/>
                  <a:pt x="147" y="1253"/>
                  <a:pt x="147" y="1253"/>
                </a:cubicBezTo>
                <a:cubicBezTo>
                  <a:pt x="140" y="1244"/>
                  <a:pt x="136" y="1232"/>
                  <a:pt x="136" y="1219"/>
                </a:cubicBezTo>
                <a:close/>
                <a:moveTo>
                  <a:pt x="219" y="1264"/>
                </a:moveTo>
                <a:cubicBezTo>
                  <a:pt x="219" y="774"/>
                  <a:pt x="219" y="774"/>
                  <a:pt x="219" y="774"/>
                </a:cubicBezTo>
                <a:cubicBezTo>
                  <a:pt x="219" y="632"/>
                  <a:pt x="334" y="517"/>
                  <a:pt x="476" y="517"/>
                </a:cubicBezTo>
                <a:cubicBezTo>
                  <a:pt x="1140" y="517"/>
                  <a:pt x="1140" y="517"/>
                  <a:pt x="1140" y="517"/>
                </a:cubicBezTo>
                <a:cubicBezTo>
                  <a:pt x="1140" y="1521"/>
                  <a:pt x="1140" y="1521"/>
                  <a:pt x="1140" y="1521"/>
                </a:cubicBezTo>
                <a:cubicBezTo>
                  <a:pt x="1054" y="1521"/>
                  <a:pt x="1054" y="1521"/>
                  <a:pt x="1054" y="1521"/>
                </a:cubicBezTo>
                <a:cubicBezTo>
                  <a:pt x="476" y="1521"/>
                  <a:pt x="476" y="1521"/>
                  <a:pt x="476" y="1521"/>
                </a:cubicBezTo>
                <a:cubicBezTo>
                  <a:pt x="334" y="1521"/>
                  <a:pt x="219" y="1406"/>
                  <a:pt x="219" y="1264"/>
                </a:cubicBezTo>
                <a:close/>
                <a:moveTo>
                  <a:pt x="1090" y="1638"/>
                </a:moveTo>
                <a:cubicBezTo>
                  <a:pt x="1189" y="1797"/>
                  <a:pt x="1189" y="1797"/>
                  <a:pt x="1189" y="1797"/>
                </a:cubicBezTo>
                <a:cubicBezTo>
                  <a:pt x="1148" y="1823"/>
                  <a:pt x="1148" y="1823"/>
                  <a:pt x="1148" y="1823"/>
                </a:cubicBezTo>
                <a:lnTo>
                  <a:pt x="1090" y="1638"/>
                </a:lnTo>
                <a:close/>
                <a:moveTo>
                  <a:pt x="1212" y="567"/>
                </a:moveTo>
                <a:cubicBezTo>
                  <a:pt x="1421" y="567"/>
                  <a:pt x="1421" y="567"/>
                  <a:pt x="1421" y="567"/>
                </a:cubicBezTo>
                <a:cubicBezTo>
                  <a:pt x="2132" y="201"/>
                  <a:pt x="2132" y="201"/>
                  <a:pt x="2132" y="201"/>
                </a:cubicBezTo>
                <a:cubicBezTo>
                  <a:pt x="2132" y="1837"/>
                  <a:pt x="2132" y="1837"/>
                  <a:pt x="2132" y="1837"/>
                </a:cubicBezTo>
                <a:cubicBezTo>
                  <a:pt x="1421" y="1471"/>
                  <a:pt x="1421" y="1471"/>
                  <a:pt x="1421" y="1471"/>
                </a:cubicBezTo>
                <a:cubicBezTo>
                  <a:pt x="1212" y="1471"/>
                  <a:pt x="1212" y="1471"/>
                  <a:pt x="1212" y="1471"/>
                </a:cubicBezTo>
                <a:lnTo>
                  <a:pt x="1212" y="567"/>
                </a:lnTo>
                <a:close/>
                <a:moveTo>
                  <a:pt x="2203" y="135"/>
                </a:moveTo>
                <a:cubicBezTo>
                  <a:pt x="2248" y="135"/>
                  <a:pt x="2248" y="135"/>
                  <a:pt x="2248" y="135"/>
                </a:cubicBezTo>
                <a:cubicBezTo>
                  <a:pt x="2248" y="1915"/>
                  <a:pt x="2248" y="1915"/>
                  <a:pt x="2248" y="1915"/>
                </a:cubicBezTo>
                <a:cubicBezTo>
                  <a:pt x="2203" y="1915"/>
                  <a:pt x="2203" y="1915"/>
                  <a:pt x="2203" y="1915"/>
                </a:cubicBezTo>
                <a:lnTo>
                  <a:pt x="2203" y="135"/>
                </a:lnTo>
                <a:close/>
                <a:moveTo>
                  <a:pt x="2319" y="1169"/>
                </a:moveTo>
                <a:cubicBezTo>
                  <a:pt x="2319" y="865"/>
                  <a:pt x="2319" y="865"/>
                  <a:pt x="2319" y="865"/>
                </a:cubicBezTo>
                <a:cubicBezTo>
                  <a:pt x="2352" y="907"/>
                  <a:pt x="2371" y="960"/>
                  <a:pt x="2371" y="1017"/>
                </a:cubicBezTo>
                <a:cubicBezTo>
                  <a:pt x="2371" y="1074"/>
                  <a:pt x="2352" y="1126"/>
                  <a:pt x="2319" y="1169"/>
                </a:cubicBez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46" name="Group 45"/>
          <p:cNvGrpSpPr/>
          <p:nvPr/>
        </p:nvGrpSpPr>
        <p:grpSpPr>
          <a:xfrm>
            <a:off x="6626119" y="4193455"/>
            <a:ext cx="277281" cy="225985"/>
            <a:chOff x="688973" y="3617901"/>
            <a:chExt cx="634998" cy="517525"/>
          </a:xfrm>
          <a:solidFill>
            <a:schemeClr val="bg1"/>
          </a:solidFill>
        </p:grpSpPr>
        <p:sp>
          <p:nvSpPr>
            <p:cNvPr id="47" name="Freeform 9"/>
            <p:cNvSpPr>
              <a:spLocks noEditPoints="1"/>
            </p:cNvSpPr>
            <p:nvPr/>
          </p:nvSpPr>
          <p:spPr bwMode="auto">
            <a:xfrm>
              <a:off x="688973" y="3617901"/>
              <a:ext cx="634998" cy="517525"/>
            </a:xfrm>
            <a:custGeom>
              <a:avLst/>
              <a:gdLst>
                <a:gd name="T0" fmla="*/ 455 w 796"/>
                <a:gd name="T1" fmla="*/ 49 h 646"/>
                <a:gd name="T2" fmla="*/ 455 w 796"/>
                <a:gd name="T3" fmla="*/ 49 h 646"/>
                <a:gd name="T4" fmla="*/ 455 w 796"/>
                <a:gd name="T5" fmla="*/ 49 h 646"/>
                <a:gd name="T6" fmla="*/ 503 w 796"/>
                <a:gd name="T7" fmla="*/ 85 h 646"/>
                <a:gd name="T8" fmla="*/ 530 w 796"/>
                <a:gd name="T9" fmla="*/ 125 h 646"/>
                <a:gd name="T10" fmla="*/ 530 w 796"/>
                <a:gd name="T11" fmla="*/ 125 h 646"/>
                <a:gd name="T12" fmla="*/ 683 w 796"/>
                <a:gd name="T13" fmla="*/ 125 h 646"/>
                <a:gd name="T14" fmla="*/ 746 w 796"/>
                <a:gd name="T15" fmla="*/ 186 h 646"/>
                <a:gd name="T16" fmla="*/ 746 w 796"/>
                <a:gd name="T17" fmla="*/ 536 h 646"/>
                <a:gd name="T18" fmla="*/ 683 w 796"/>
                <a:gd name="T19" fmla="*/ 597 h 646"/>
                <a:gd name="T20" fmla="*/ 112 w 796"/>
                <a:gd name="T21" fmla="*/ 597 h 646"/>
                <a:gd name="T22" fmla="*/ 49 w 796"/>
                <a:gd name="T23" fmla="*/ 536 h 646"/>
                <a:gd name="T24" fmla="*/ 49 w 796"/>
                <a:gd name="T25" fmla="*/ 186 h 646"/>
                <a:gd name="T26" fmla="*/ 112 w 796"/>
                <a:gd name="T27" fmla="*/ 125 h 646"/>
                <a:gd name="T28" fmla="*/ 265 w 796"/>
                <a:gd name="T29" fmla="*/ 125 h 646"/>
                <a:gd name="T30" fmla="*/ 265 w 796"/>
                <a:gd name="T31" fmla="*/ 125 h 646"/>
                <a:gd name="T32" fmla="*/ 289 w 796"/>
                <a:gd name="T33" fmla="*/ 85 h 646"/>
                <a:gd name="T34" fmla="*/ 342 w 796"/>
                <a:gd name="T35" fmla="*/ 49 h 646"/>
                <a:gd name="T36" fmla="*/ 455 w 796"/>
                <a:gd name="T37" fmla="*/ 49 h 646"/>
                <a:gd name="T38" fmla="*/ 342 w 796"/>
                <a:gd name="T39" fmla="*/ 0 h 646"/>
                <a:gd name="T40" fmla="*/ 245 w 796"/>
                <a:gd name="T41" fmla="*/ 62 h 646"/>
                <a:gd name="T42" fmla="*/ 237 w 796"/>
                <a:gd name="T43" fmla="*/ 75 h 646"/>
                <a:gd name="T44" fmla="*/ 112 w 796"/>
                <a:gd name="T45" fmla="*/ 75 h 646"/>
                <a:gd name="T46" fmla="*/ 0 w 796"/>
                <a:gd name="T47" fmla="*/ 186 h 646"/>
                <a:gd name="T48" fmla="*/ 0 w 796"/>
                <a:gd name="T49" fmla="*/ 536 h 646"/>
                <a:gd name="T50" fmla="*/ 112 w 796"/>
                <a:gd name="T51" fmla="*/ 646 h 646"/>
                <a:gd name="T52" fmla="*/ 683 w 796"/>
                <a:gd name="T53" fmla="*/ 646 h 646"/>
                <a:gd name="T54" fmla="*/ 796 w 796"/>
                <a:gd name="T55" fmla="*/ 536 h 646"/>
                <a:gd name="T56" fmla="*/ 796 w 796"/>
                <a:gd name="T57" fmla="*/ 186 h 646"/>
                <a:gd name="T58" fmla="*/ 683 w 796"/>
                <a:gd name="T59" fmla="*/ 75 h 646"/>
                <a:gd name="T60" fmla="*/ 557 w 796"/>
                <a:gd name="T61" fmla="*/ 75 h 646"/>
                <a:gd name="T62" fmla="*/ 545 w 796"/>
                <a:gd name="T63" fmla="*/ 58 h 646"/>
                <a:gd name="T64" fmla="*/ 455 w 796"/>
                <a:gd name="T65" fmla="*/ 0 h 646"/>
                <a:gd name="T66" fmla="*/ 455 w 796"/>
                <a:gd name="T67" fmla="*/ 0 h 646"/>
                <a:gd name="T68" fmla="*/ 342 w 796"/>
                <a:gd name="T69" fmla="*/ 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6" h="646">
                  <a:moveTo>
                    <a:pt x="455" y="49"/>
                  </a:moveTo>
                  <a:cubicBezTo>
                    <a:pt x="455" y="49"/>
                    <a:pt x="455" y="49"/>
                    <a:pt x="455" y="49"/>
                  </a:cubicBezTo>
                  <a:moveTo>
                    <a:pt x="455" y="49"/>
                  </a:moveTo>
                  <a:cubicBezTo>
                    <a:pt x="466" y="49"/>
                    <a:pt x="484" y="54"/>
                    <a:pt x="503" y="85"/>
                  </a:cubicBezTo>
                  <a:cubicBezTo>
                    <a:pt x="530" y="125"/>
                    <a:pt x="530" y="125"/>
                    <a:pt x="530" y="125"/>
                  </a:cubicBezTo>
                  <a:cubicBezTo>
                    <a:pt x="530" y="125"/>
                    <a:pt x="530" y="125"/>
                    <a:pt x="530" y="125"/>
                  </a:cubicBezTo>
                  <a:cubicBezTo>
                    <a:pt x="683" y="125"/>
                    <a:pt x="683" y="125"/>
                    <a:pt x="683" y="125"/>
                  </a:cubicBezTo>
                  <a:cubicBezTo>
                    <a:pt x="718" y="125"/>
                    <a:pt x="746" y="152"/>
                    <a:pt x="746" y="186"/>
                  </a:cubicBezTo>
                  <a:cubicBezTo>
                    <a:pt x="746" y="536"/>
                    <a:pt x="746" y="536"/>
                    <a:pt x="746" y="536"/>
                  </a:cubicBezTo>
                  <a:cubicBezTo>
                    <a:pt x="746" y="569"/>
                    <a:pt x="718" y="597"/>
                    <a:pt x="683" y="597"/>
                  </a:cubicBezTo>
                  <a:cubicBezTo>
                    <a:pt x="112" y="597"/>
                    <a:pt x="112" y="597"/>
                    <a:pt x="112" y="597"/>
                  </a:cubicBezTo>
                  <a:cubicBezTo>
                    <a:pt x="78" y="597"/>
                    <a:pt x="49" y="569"/>
                    <a:pt x="49" y="536"/>
                  </a:cubicBezTo>
                  <a:cubicBezTo>
                    <a:pt x="49" y="186"/>
                    <a:pt x="49" y="186"/>
                    <a:pt x="49" y="186"/>
                  </a:cubicBezTo>
                  <a:cubicBezTo>
                    <a:pt x="49" y="152"/>
                    <a:pt x="78" y="125"/>
                    <a:pt x="112" y="125"/>
                  </a:cubicBezTo>
                  <a:cubicBezTo>
                    <a:pt x="265" y="125"/>
                    <a:pt x="265" y="125"/>
                    <a:pt x="265" y="125"/>
                  </a:cubicBezTo>
                  <a:cubicBezTo>
                    <a:pt x="265" y="125"/>
                    <a:pt x="265" y="125"/>
                    <a:pt x="265" y="125"/>
                  </a:cubicBezTo>
                  <a:cubicBezTo>
                    <a:pt x="289" y="85"/>
                    <a:pt x="289" y="85"/>
                    <a:pt x="289" y="85"/>
                  </a:cubicBezTo>
                  <a:cubicBezTo>
                    <a:pt x="303" y="53"/>
                    <a:pt x="328" y="49"/>
                    <a:pt x="342" y="49"/>
                  </a:cubicBezTo>
                  <a:lnTo>
                    <a:pt x="455" y="49"/>
                  </a:lnTo>
                  <a:close/>
                  <a:moveTo>
                    <a:pt x="342" y="0"/>
                  </a:moveTo>
                  <a:cubicBezTo>
                    <a:pt x="300" y="0"/>
                    <a:pt x="264" y="22"/>
                    <a:pt x="245" y="62"/>
                  </a:cubicBezTo>
                  <a:cubicBezTo>
                    <a:pt x="237" y="75"/>
                    <a:pt x="237" y="75"/>
                    <a:pt x="237" y="75"/>
                  </a:cubicBezTo>
                  <a:cubicBezTo>
                    <a:pt x="112" y="75"/>
                    <a:pt x="112" y="75"/>
                    <a:pt x="112" y="75"/>
                  </a:cubicBezTo>
                  <a:cubicBezTo>
                    <a:pt x="50" y="75"/>
                    <a:pt x="0" y="125"/>
                    <a:pt x="0" y="186"/>
                  </a:cubicBezTo>
                  <a:cubicBezTo>
                    <a:pt x="0" y="536"/>
                    <a:pt x="0" y="536"/>
                    <a:pt x="0" y="536"/>
                  </a:cubicBezTo>
                  <a:cubicBezTo>
                    <a:pt x="0" y="597"/>
                    <a:pt x="50" y="646"/>
                    <a:pt x="112" y="646"/>
                  </a:cubicBezTo>
                  <a:cubicBezTo>
                    <a:pt x="683" y="646"/>
                    <a:pt x="683" y="646"/>
                    <a:pt x="683" y="646"/>
                  </a:cubicBezTo>
                  <a:cubicBezTo>
                    <a:pt x="745" y="646"/>
                    <a:pt x="796" y="597"/>
                    <a:pt x="796" y="536"/>
                  </a:cubicBezTo>
                  <a:cubicBezTo>
                    <a:pt x="796" y="186"/>
                    <a:pt x="796" y="186"/>
                    <a:pt x="796" y="186"/>
                  </a:cubicBezTo>
                  <a:cubicBezTo>
                    <a:pt x="796" y="125"/>
                    <a:pt x="745" y="75"/>
                    <a:pt x="683" y="75"/>
                  </a:cubicBezTo>
                  <a:cubicBezTo>
                    <a:pt x="557" y="75"/>
                    <a:pt x="557" y="75"/>
                    <a:pt x="557" y="75"/>
                  </a:cubicBezTo>
                  <a:cubicBezTo>
                    <a:pt x="545" y="58"/>
                    <a:pt x="545" y="58"/>
                    <a:pt x="545" y="58"/>
                  </a:cubicBezTo>
                  <a:cubicBezTo>
                    <a:pt x="520" y="19"/>
                    <a:pt x="490" y="0"/>
                    <a:pt x="455" y="0"/>
                  </a:cubicBezTo>
                  <a:cubicBezTo>
                    <a:pt x="455" y="0"/>
                    <a:pt x="455" y="0"/>
                    <a:pt x="455" y="0"/>
                  </a:cubicBezTo>
                  <a:lnTo>
                    <a:pt x="34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a:p>
          </p:txBody>
        </p:sp>
        <p:sp>
          <p:nvSpPr>
            <p:cNvPr id="48" name="Freeform 10"/>
            <p:cNvSpPr>
              <a:spLocks noEditPoints="1"/>
            </p:cNvSpPr>
            <p:nvPr/>
          </p:nvSpPr>
          <p:spPr bwMode="auto">
            <a:xfrm>
              <a:off x="887411" y="3778243"/>
              <a:ext cx="238125" cy="238125"/>
            </a:xfrm>
            <a:custGeom>
              <a:avLst/>
              <a:gdLst>
                <a:gd name="T0" fmla="*/ 150 w 299"/>
                <a:gd name="T1" fmla="*/ 24 h 298"/>
                <a:gd name="T2" fmla="*/ 274 w 299"/>
                <a:gd name="T3" fmla="*/ 149 h 298"/>
                <a:gd name="T4" fmla="*/ 150 w 299"/>
                <a:gd name="T5" fmla="*/ 273 h 298"/>
                <a:gd name="T6" fmla="*/ 25 w 299"/>
                <a:gd name="T7" fmla="*/ 149 h 298"/>
                <a:gd name="T8" fmla="*/ 150 w 299"/>
                <a:gd name="T9" fmla="*/ 24 h 298"/>
                <a:gd name="T10" fmla="*/ 150 w 299"/>
                <a:gd name="T11" fmla="*/ 0 h 298"/>
                <a:gd name="T12" fmla="*/ 0 w 299"/>
                <a:gd name="T13" fmla="*/ 149 h 298"/>
                <a:gd name="T14" fmla="*/ 150 w 299"/>
                <a:gd name="T15" fmla="*/ 298 h 298"/>
                <a:gd name="T16" fmla="*/ 299 w 299"/>
                <a:gd name="T17" fmla="*/ 149 h 298"/>
                <a:gd name="T18" fmla="*/ 150 w 299"/>
                <a:gd name="T19"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9" h="298">
                  <a:moveTo>
                    <a:pt x="150" y="24"/>
                  </a:moveTo>
                  <a:cubicBezTo>
                    <a:pt x="219" y="24"/>
                    <a:pt x="274" y="80"/>
                    <a:pt x="274" y="149"/>
                  </a:cubicBezTo>
                  <a:cubicBezTo>
                    <a:pt x="274" y="217"/>
                    <a:pt x="219" y="273"/>
                    <a:pt x="150" y="273"/>
                  </a:cubicBezTo>
                  <a:cubicBezTo>
                    <a:pt x="81" y="273"/>
                    <a:pt x="25" y="217"/>
                    <a:pt x="25" y="149"/>
                  </a:cubicBezTo>
                  <a:cubicBezTo>
                    <a:pt x="25" y="80"/>
                    <a:pt x="81" y="24"/>
                    <a:pt x="150" y="24"/>
                  </a:cubicBezTo>
                  <a:moveTo>
                    <a:pt x="150" y="0"/>
                  </a:moveTo>
                  <a:cubicBezTo>
                    <a:pt x="67" y="0"/>
                    <a:pt x="0" y="67"/>
                    <a:pt x="0" y="149"/>
                  </a:cubicBezTo>
                  <a:cubicBezTo>
                    <a:pt x="0" y="231"/>
                    <a:pt x="67" y="298"/>
                    <a:pt x="150" y="298"/>
                  </a:cubicBezTo>
                  <a:cubicBezTo>
                    <a:pt x="232" y="298"/>
                    <a:pt x="299" y="231"/>
                    <a:pt x="299" y="149"/>
                  </a:cubicBezTo>
                  <a:cubicBezTo>
                    <a:pt x="299" y="67"/>
                    <a:pt x="232" y="0"/>
                    <a:pt x="15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a:p>
          </p:txBody>
        </p:sp>
        <p:sp>
          <p:nvSpPr>
            <p:cNvPr id="49" name="Freeform 11"/>
            <p:cNvSpPr>
              <a:spLocks/>
            </p:cNvSpPr>
            <p:nvPr/>
          </p:nvSpPr>
          <p:spPr bwMode="auto">
            <a:xfrm>
              <a:off x="936626" y="3827461"/>
              <a:ext cx="79375" cy="79375"/>
            </a:xfrm>
            <a:custGeom>
              <a:avLst/>
              <a:gdLst>
                <a:gd name="T0" fmla="*/ 13 w 100"/>
                <a:gd name="T1" fmla="*/ 99 h 99"/>
                <a:gd name="T2" fmla="*/ 0 w 100"/>
                <a:gd name="T3" fmla="*/ 87 h 99"/>
                <a:gd name="T4" fmla="*/ 88 w 100"/>
                <a:gd name="T5" fmla="*/ 0 h 99"/>
                <a:gd name="T6" fmla="*/ 100 w 100"/>
                <a:gd name="T7" fmla="*/ 12 h 99"/>
                <a:gd name="T8" fmla="*/ 88 w 100"/>
                <a:gd name="T9" fmla="*/ 25 h 99"/>
                <a:gd name="T10" fmla="*/ 25 w 100"/>
                <a:gd name="T11" fmla="*/ 87 h 99"/>
                <a:gd name="T12" fmla="*/ 13 w 100"/>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100" h="99">
                  <a:moveTo>
                    <a:pt x="13" y="99"/>
                  </a:moveTo>
                  <a:cubicBezTo>
                    <a:pt x="6" y="99"/>
                    <a:pt x="0" y="94"/>
                    <a:pt x="0" y="87"/>
                  </a:cubicBezTo>
                  <a:cubicBezTo>
                    <a:pt x="0" y="39"/>
                    <a:pt x="40" y="0"/>
                    <a:pt x="88" y="0"/>
                  </a:cubicBezTo>
                  <a:cubicBezTo>
                    <a:pt x="94" y="0"/>
                    <a:pt x="100" y="5"/>
                    <a:pt x="100" y="12"/>
                  </a:cubicBezTo>
                  <a:cubicBezTo>
                    <a:pt x="100" y="19"/>
                    <a:pt x="94" y="25"/>
                    <a:pt x="88" y="25"/>
                  </a:cubicBezTo>
                  <a:cubicBezTo>
                    <a:pt x="53" y="25"/>
                    <a:pt x="25" y="52"/>
                    <a:pt x="25" y="87"/>
                  </a:cubicBezTo>
                  <a:cubicBezTo>
                    <a:pt x="25" y="94"/>
                    <a:pt x="20" y="99"/>
                    <a:pt x="13" y="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a:p>
          </p:txBody>
        </p:sp>
      </p:grpSp>
      <p:sp>
        <p:nvSpPr>
          <p:cNvPr id="50" name="Freeform 34"/>
          <p:cNvSpPr>
            <a:spLocks noEditPoints="1"/>
          </p:cNvSpPr>
          <p:nvPr/>
        </p:nvSpPr>
        <p:spPr bwMode="auto">
          <a:xfrm>
            <a:off x="7903168" y="4206638"/>
            <a:ext cx="260971" cy="246509"/>
          </a:xfrm>
          <a:custGeom>
            <a:avLst/>
            <a:gdLst>
              <a:gd name="T0" fmla="*/ 164 w 674"/>
              <a:gd name="T1" fmla="*/ 29 h 639"/>
              <a:gd name="T2" fmla="*/ 164 w 674"/>
              <a:gd name="T3" fmla="*/ 29 h 639"/>
              <a:gd name="T4" fmla="*/ 164 w 674"/>
              <a:gd name="T5" fmla="*/ 28 h 639"/>
              <a:gd name="T6" fmla="*/ 164 w 674"/>
              <a:gd name="T7" fmla="*/ 28 h 639"/>
              <a:gd name="T8" fmla="*/ 164 w 674"/>
              <a:gd name="T9" fmla="*/ 28 h 639"/>
              <a:gd name="T10" fmla="*/ 164 w 674"/>
              <a:gd name="T11" fmla="*/ 28 h 639"/>
              <a:gd name="T12" fmla="*/ 164 w 674"/>
              <a:gd name="T13" fmla="*/ 28 h 639"/>
              <a:gd name="T14" fmla="*/ 163 w 674"/>
              <a:gd name="T15" fmla="*/ 27 h 639"/>
              <a:gd name="T16" fmla="*/ 163 w 674"/>
              <a:gd name="T17" fmla="*/ 27 h 639"/>
              <a:gd name="T18" fmla="*/ 163 w 674"/>
              <a:gd name="T19" fmla="*/ 27 h 639"/>
              <a:gd name="T20" fmla="*/ 163 w 674"/>
              <a:gd name="T21" fmla="*/ 27 h 639"/>
              <a:gd name="T22" fmla="*/ 163 w 674"/>
              <a:gd name="T23" fmla="*/ 27 h 639"/>
              <a:gd name="T24" fmla="*/ 163 w 674"/>
              <a:gd name="T25" fmla="*/ 27 h 639"/>
              <a:gd name="T26" fmla="*/ 163 w 674"/>
              <a:gd name="T27" fmla="*/ 26 h 639"/>
              <a:gd name="T28" fmla="*/ 162 w 674"/>
              <a:gd name="T29" fmla="*/ 26 h 639"/>
              <a:gd name="T30" fmla="*/ 162 w 674"/>
              <a:gd name="T31" fmla="*/ 26 h 639"/>
              <a:gd name="T32" fmla="*/ 162 w 674"/>
              <a:gd name="T33" fmla="*/ 26 h 639"/>
              <a:gd name="T34" fmla="*/ 162 w 674"/>
              <a:gd name="T35" fmla="*/ 26 h 639"/>
              <a:gd name="T36" fmla="*/ 159 w 674"/>
              <a:gd name="T37" fmla="*/ 24 h 639"/>
              <a:gd name="T38" fmla="*/ 159 w 674"/>
              <a:gd name="T39" fmla="*/ 24 h 639"/>
              <a:gd name="T40" fmla="*/ 159 w 674"/>
              <a:gd name="T41" fmla="*/ 23 h 639"/>
              <a:gd name="T42" fmla="*/ 159 w 674"/>
              <a:gd name="T43" fmla="*/ 23 h 639"/>
              <a:gd name="T44" fmla="*/ 159 w 674"/>
              <a:gd name="T45" fmla="*/ 23 h 639"/>
              <a:gd name="T46" fmla="*/ 158 w 674"/>
              <a:gd name="T47" fmla="*/ 23 h 639"/>
              <a:gd name="T48" fmla="*/ 158 w 674"/>
              <a:gd name="T49" fmla="*/ 23 h 639"/>
              <a:gd name="T50" fmla="*/ 158 w 674"/>
              <a:gd name="T51" fmla="*/ 23 h 639"/>
              <a:gd name="T52" fmla="*/ 158 w 674"/>
              <a:gd name="T53" fmla="*/ 23 h 639"/>
              <a:gd name="T54" fmla="*/ 158 w 674"/>
              <a:gd name="T55" fmla="*/ 23 h 639"/>
              <a:gd name="T56" fmla="*/ 157 w 674"/>
              <a:gd name="T57" fmla="*/ 23 h 639"/>
              <a:gd name="T58" fmla="*/ 157 w 674"/>
              <a:gd name="T59" fmla="*/ 22 h 639"/>
              <a:gd name="T60" fmla="*/ 157 w 674"/>
              <a:gd name="T61" fmla="*/ 22 h 639"/>
              <a:gd name="T62" fmla="*/ 157 w 674"/>
              <a:gd name="T63" fmla="*/ 22 h 639"/>
              <a:gd name="T64" fmla="*/ 157 w 674"/>
              <a:gd name="T65" fmla="*/ 22 h 639"/>
              <a:gd name="T66" fmla="*/ 156 w 674"/>
              <a:gd name="T67" fmla="*/ 22 h 639"/>
              <a:gd name="T68" fmla="*/ 156 w 674"/>
              <a:gd name="T69" fmla="*/ 22 h 639"/>
              <a:gd name="T70" fmla="*/ 156 w 674"/>
              <a:gd name="T71" fmla="*/ 22 h 639"/>
              <a:gd name="T72" fmla="*/ 156 w 674"/>
              <a:gd name="T73" fmla="*/ 22 h 639"/>
              <a:gd name="T74" fmla="*/ 156 w 674"/>
              <a:gd name="T75" fmla="*/ 22 h 639"/>
              <a:gd name="T76" fmla="*/ 155 w 674"/>
              <a:gd name="T77" fmla="*/ 22 h 639"/>
              <a:gd name="T78" fmla="*/ 155 w 674"/>
              <a:gd name="T79" fmla="*/ 22 h 639"/>
              <a:gd name="T80" fmla="*/ 155 w 674"/>
              <a:gd name="T81" fmla="*/ 22 h 639"/>
              <a:gd name="T82" fmla="*/ 155 w 674"/>
              <a:gd name="T83" fmla="*/ 21 h 639"/>
              <a:gd name="T84" fmla="*/ 154 w 674"/>
              <a:gd name="T85" fmla="*/ 21 h 639"/>
              <a:gd name="T86" fmla="*/ 154 w 674"/>
              <a:gd name="T87" fmla="*/ 21 h 639"/>
              <a:gd name="T88" fmla="*/ 153 w 674"/>
              <a:gd name="T89" fmla="*/ 21 h 639"/>
              <a:gd name="T90" fmla="*/ 151 w 674"/>
              <a:gd name="T91" fmla="*/ 21 h 639"/>
              <a:gd name="T92" fmla="*/ 151 w 674"/>
              <a:gd name="T93" fmla="*/ 21 h 639"/>
              <a:gd name="T94" fmla="*/ 150 w 674"/>
              <a:gd name="T95" fmla="*/ 21 h 639"/>
              <a:gd name="T96" fmla="*/ 150 w 674"/>
              <a:gd name="T97" fmla="*/ 21 h 639"/>
              <a:gd name="T98" fmla="*/ 149 w 674"/>
              <a:gd name="T99" fmla="*/ 21 h 639"/>
              <a:gd name="T100" fmla="*/ 75 w 674"/>
              <a:gd name="T101" fmla="*/ 58 h 639"/>
              <a:gd name="T102" fmla="*/ 374 w 674"/>
              <a:gd name="T103" fmla="*/ 506 h 639"/>
              <a:gd name="T104" fmla="*/ 297 w 674"/>
              <a:gd name="T105" fmla="*/ 452 h 639"/>
              <a:gd name="T106" fmla="*/ 592 w 674"/>
              <a:gd name="T107" fmla="*/ 601 h 639"/>
              <a:gd name="T108" fmla="*/ 374 w 674"/>
              <a:gd name="T109" fmla="*/ 127 h 639"/>
              <a:gd name="T110" fmla="*/ 488 w 674"/>
              <a:gd name="T111" fmla="*/ 127 h 639"/>
              <a:gd name="T112" fmla="*/ 239 w 674"/>
              <a:gd name="T113" fmla="*/ 127 h 639"/>
              <a:gd name="T114" fmla="*/ 637 w 674"/>
              <a:gd name="T115" fmla="*/ 30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639">
                <a:moveTo>
                  <a:pt x="656" y="90"/>
                </a:moveTo>
                <a:cubicBezTo>
                  <a:pt x="184" y="90"/>
                  <a:pt x="184" y="90"/>
                  <a:pt x="184" y="90"/>
                </a:cubicBezTo>
                <a:cubicBezTo>
                  <a:pt x="167" y="34"/>
                  <a:pt x="167" y="34"/>
                  <a:pt x="167" y="34"/>
                </a:cubicBezTo>
                <a:cubicBezTo>
                  <a:pt x="167" y="34"/>
                  <a:pt x="167" y="34"/>
                  <a:pt x="167" y="34"/>
                </a:cubicBezTo>
                <a:cubicBezTo>
                  <a:pt x="166" y="32"/>
                  <a:pt x="165" y="30"/>
                  <a:pt x="164" y="29"/>
                </a:cubicBezTo>
                <a:cubicBezTo>
                  <a:pt x="164" y="29"/>
                  <a:pt x="164" y="29"/>
                  <a:pt x="164" y="29"/>
                </a:cubicBezTo>
                <a:cubicBezTo>
                  <a:pt x="164" y="29"/>
                  <a:pt x="164" y="29"/>
                  <a:pt x="164" y="29"/>
                </a:cubicBezTo>
                <a:cubicBezTo>
                  <a:pt x="164" y="29"/>
                  <a:pt x="164" y="29"/>
                  <a:pt x="164" y="29"/>
                </a:cubicBezTo>
                <a:cubicBezTo>
                  <a:pt x="164" y="29"/>
                  <a:pt x="164" y="29"/>
                  <a:pt x="164" y="29"/>
                </a:cubicBezTo>
                <a:cubicBezTo>
                  <a:pt x="164" y="29"/>
                  <a:pt x="164" y="29"/>
                  <a:pt x="164" y="29"/>
                </a:cubicBezTo>
                <a:cubicBezTo>
                  <a:pt x="164" y="29"/>
                  <a:pt x="164" y="29"/>
                  <a:pt x="164" y="29"/>
                </a:cubicBezTo>
                <a:cubicBezTo>
                  <a:pt x="164" y="29"/>
                  <a:pt x="164" y="29"/>
                  <a:pt x="164" y="29"/>
                </a:cubicBezTo>
                <a:cubicBezTo>
                  <a:pt x="164" y="29"/>
                  <a:pt x="164" y="29"/>
                  <a:pt x="164" y="29"/>
                </a:cubicBezTo>
                <a:cubicBezTo>
                  <a:pt x="164" y="29"/>
                  <a:pt x="164" y="29"/>
                  <a:pt x="164" y="29"/>
                </a:cubicBezTo>
                <a:cubicBezTo>
                  <a:pt x="164" y="29"/>
                  <a:pt x="164" y="29"/>
                  <a:pt x="164" y="29"/>
                </a:cubicBezTo>
                <a:cubicBezTo>
                  <a:pt x="164" y="29"/>
                  <a:pt x="164" y="29"/>
                  <a:pt x="164" y="29"/>
                </a:cubicBezTo>
                <a:cubicBezTo>
                  <a:pt x="164" y="29"/>
                  <a:pt x="164" y="29"/>
                  <a:pt x="164" y="29"/>
                </a:cubicBezTo>
                <a:cubicBezTo>
                  <a:pt x="164" y="29"/>
                  <a:pt x="164" y="29"/>
                  <a:pt x="164" y="29"/>
                </a:cubicBezTo>
                <a:cubicBezTo>
                  <a:pt x="164" y="29"/>
                  <a:pt x="164" y="29"/>
                  <a:pt x="164" y="29"/>
                </a:cubicBezTo>
                <a:cubicBezTo>
                  <a:pt x="164" y="29"/>
                  <a:pt x="164" y="29"/>
                  <a:pt x="164" y="29"/>
                </a:cubicBezTo>
                <a:cubicBezTo>
                  <a:pt x="164" y="29"/>
                  <a:pt x="164" y="29"/>
                  <a:pt x="164" y="29"/>
                </a:cubicBezTo>
                <a:cubicBezTo>
                  <a:pt x="164" y="29"/>
                  <a:pt x="164" y="29"/>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8"/>
                  <a:pt x="164" y="28"/>
                  <a:pt x="164" y="28"/>
                </a:cubicBezTo>
                <a:cubicBezTo>
                  <a:pt x="164" y="27"/>
                  <a:pt x="164"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7"/>
                </a:cubicBezTo>
                <a:cubicBezTo>
                  <a:pt x="163" y="27"/>
                  <a:pt x="163" y="27"/>
                  <a:pt x="163" y="26"/>
                </a:cubicBezTo>
                <a:cubicBezTo>
                  <a:pt x="163" y="26"/>
                  <a:pt x="163" y="26"/>
                  <a:pt x="163" y="26"/>
                </a:cubicBezTo>
                <a:cubicBezTo>
                  <a:pt x="163" y="26"/>
                  <a:pt x="163" y="26"/>
                  <a:pt x="163" y="26"/>
                </a:cubicBezTo>
                <a:cubicBezTo>
                  <a:pt x="163" y="26"/>
                  <a:pt x="163" y="26"/>
                  <a:pt x="163" y="26"/>
                </a:cubicBezTo>
                <a:cubicBezTo>
                  <a:pt x="163" y="26"/>
                  <a:pt x="163" y="26"/>
                  <a:pt x="163" y="26"/>
                </a:cubicBezTo>
                <a:cubicBezTo>
                  <a:pt x="163" y="26"/>
                  <a:pt x="163" y="26"/>
                  <a:pt x="163" y="26"/>
                </a:cubicBezTo>
                <a:cubicBezTo>
                  <a:pt x="163" y="26"/>
                  <a:pt x="163" y="26"/>
                  <a:pt x="163" y="26"/>
                </a:cubicBezTo>
                <a:cubicBezTo>
                  <a:pt x="163" y="26"/>
                  <a:pt x="163" y="26"/>
                  <a:pt x="163" y="26"/>
                </a:cubicBezTo>
                <a:cubicBezTo>
                  <a:pt x="163" y="26"/>
                  <a:pt x="163" y="26"/>
                  <a:pt x="163" y="26"/>
                </a:cubicBezTo>
                <a:cubicBezTo>
                  <a:pt x="163"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2" y="26"/>
                  <a:pt x="162" y="26"/>
                  <a:pt x="162" y="26"/>
                </a:cubicBezTo>
                <a:cubicBezTo>
                  <a:pt x="161" y="25"/>
                  <a:pt x="160" y="24"/>
                  <a:pt x="160" y="24"/>
                </a:cubicBezTo>
                <a:cubicBezTo>
                  <a:pt x="160" y="24"/>
                  <a:pt x="160" y="24"/>
                  <a:pt x="160" y="24"/>
                </a:cubicBezTo>
                <a:cubicBezTo>
                  <a:pt x="160" y="24"/>
                  <a:pt x="160" y="24"/>
                  <a:pt x="160" y="24"/>
                </a:cubicBezTo>
                <a:cubicBezTo>
                  <a:pt x="160" y="24"/>
                  <a:pt x="160" y="24"/>
                  <a:pt x="160" y="24"/>
                </a:cubicBezTo>
                <a:cubicBezTo>
                  <a:pt x="160" y="24"/>
                  <a:pt x="160" y="24"/>
                  <a:pt x="159" y="24"/>
                </a:cubicBezTo>
                <a:cubicBezTo>
                  <a:pt x="159" y="24"/>
                  <a:pt x="159" y="24"/>
                  <a:pt x="159" y="24"/>
                </a:cubicBezTo>
                <a:cubicBezTo>
                  <a:pt x="159" y="24"/>
                  <a:pt x="159" y="24"/>
                  <a:pt x="159" y="24"/>
                </a:cubicBezTo>
                <a:cubicBezTo>
                  <a:pt x="159" y="24"/>
                  <a:pt x="159" y="24"/>
                  <a:pt x="159" y="24"/>
                </a:cubicBezTo>
                <a:cubicBezTo>
                  <a:pt x="159" y="24"/>
                  <a:pt x="159" y="24"/>
                  <a:pt x="159" y="24"/>
                </a:cubicBezTo>
                <a:cubicBezTo>
                  <a:pt x="159" y="24"/>
                  <a:pt x="159" y="24"/>
                  <a:pt x="159" y="24"/>
                </a:cubicBezTo>
                <a:cubicBezTo>
                  <a:pt x="159" y="24"/>
                  <a:pt x="159" y="24"/>
                  <a:pt x="159" y="24"/>
                </a:cubicBezTo>
                <a:cubicBezTo>
                  <a:pt x="159" y="24"/>
                  <a:pt x="159" y="24"/>
                  <a:pt x="159" y="24"/>
                </a:cubicBezTo>
                <a:cubicBezTo>
                  <a:pt x="159" y="24"/>
                  <a:pt x="159" y="24"/>
                  <a:pt x="159" y="24"/>
                </a:cubicBezTo>
                <a:cubicBezTo>
                  <a:pt x="159" y="24"/>
                  <a:pt x="159" y="24"/>
                  <a:pt x="159" y="24"/>
                </a:cubicBezTo>
                <a:cubicBezTo>
                  <a:pt x="159" y="24"/>
                  <a:pt x="159" y="24"/>
                  <a:pt x="159" y="24"/>
                </a:cubicBezTo>
                <a:cubicBezTo>
                  <a:pt x="159" y="24"/>
                  <a:pt x="159" y="24"/>
                  <a:pt x="159" y="24"/>
                </a:cubicBezTo>
                <a:cubicBezTo>
                  <a:pt x="159" y="24"/>
                  <a:pt x="159" y="24"/>
                  <a:pt x="159" y="24"/>
                </a:cubicBezTo>
                <a:cubicBezTo>
                  <a:pt x="159" y="24"/>
                  <a:pt x="159" y="24"/>
                  <a:pt x="159" y="24"/>
                </a:cubicBezTo>
                <a:cubicBezTo>
                  <a:pt x="159" y="24"/>
                  <a:pt x="159" y="24"/>
                  <a:pt x="159" y="24"/>
                </a:cubicBezTo>
                <a:cubicBezTo>
                  <a:pt x="159" y="24"/>
                  <a:pt x="159" y="24"/>
                  <a:pt x="159" y="24"/>
                </a:cubicBezTo>
                <a:cubicBezTo>
                  <a:pt x="159" y="24"/>
                  <a:pt x="159" y="24"/>
                  <a:pt x="159" y="24"/>
                </a:cubicBezTo>
                <a:cubicBezTo>
                  <a:pt x="159" y="24"/>
                  <a:pt x="159" y="24"/>
                  <a:pt x="159" y="24"/>
                </a:cubicBezTo>
                <a:cubicBezTo>
                  <a:pt x="159" y="24"/>
                  <a:pt x="159" y="24"/>
                  <a:pt x="159" y="24"/>
                </a:cubicBezTo>
                <a:cubicBezTo>
                  <a:pt x="159" y="24"/>
                  <a:pt x="159" y="24"/>
                  <a:pt x="159" y="24"/>
                </a:cubicBezTo>
                <a:cubicBezTo>
                  <a:pt x="159" y="24"/>
                  <a:pt x="159" y="24"/>
                  <a:pt x="159" y="24"/>
                </a:cubicBezTo>
                <a:cubicBezTo>
                  <a:pt x="159" y="24"/>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9" y="23"/>
                </a:cubicBezTo>
                <a:cubicBezTo>
                  <a:pt x="159" y="23"/>
                  <a:pt x="159"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8" y="23"/>
                </a:cubicBezTo>
                <a:cubicBezTo>
                  <a:pt x="158" y="23"/>
                  <a:pt x="158" y="23"/>
                  <a:pt x="157" y="23"/>
                </a:cubicBezTo>
                <a:cubicBezTo>
                  <a:pt x="157" y="23"/>
                  <a:pt x="157" y="23"/>
                  <a:pt x="157" y="23"/>
                </a:cubicBezTo>
                <a:cubicBezTo>
                  <a:pt x="157" y="23"/>
                  <a:pt x="157" y="23"/>
                  <a:pt x="157" y="23"/>
                </a:cubicBezTo>
                <a:cubicBezTo>
                  <a:pt x="157" y="23"/>
                  <a:pt x="157" y="23"/>
                  <a:pt x="157" y="23"/>
                </a:cubicBezTo>
                <a:cubicBezTo>
                  <a:pt x="157" y="23"/>
                  <a:pt x="157" y="23"/>
                  <a:pt x="157" y="23"/>
                </a:cubicBezTo>
                <a:cubicBezTo>
                  <a:pt x="157" y="23"/>
                  <a:pt x="157" y="23"/>
                  <a:pt x="157" y="23"/>
                </a:cubicBezTo>
                <a:cubicBezTo>
                  <a:pt x="157" y="23"/>
                  <a:pt x="157" y="23"/>
                  <a:pt x="157" y="23"/>
                </a:cubicBezTo>
                <a:cubicBezTo>
                  <a:pt x="157" y="23"/>
                  <a:pt x="157" y="23"/>
                  <a:pt x="157" y="23"/>
                </a:cubicBezTo>
                <a:cubicBezTo>
                  <a:pt x="157" y="23"/>
                  <a:pt x="157" y="23"/>
                  <a:pt x="157" y="23"/>
                </a:cubicBezTo>
                <a:cubicBezTo>
                  <a:pt x="157" y="23"/>
                  <a:pt x="157" y="23"/>
                  <a:pt x="157" y="23"/>
                </a:cubicBezTo>
                <a:cubicBezTo>
                  <a:pt x="157" y="23"/>
                  <a:pt x="157" y="23"/>
                  <a:pt x="157" y="23"/>
                </a:cubicBezTo>
                <a:cubicBezTo>
                  <a:pt x="157" y="23"/>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7" y="22"/>
                  <a:pt x="157" y="22"/>
                  <a:pt x="157"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6" y="22"/>
                  <a:pt x="156" y="22"/>
                </a:cubicBezTo>
                <a:cubicBezTo>
                  <a:pt x="156"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2"/>
                  <a:pt x="155" y="22"/>
                </a:cubicBezTo>
                <a:cubicBezTo>
                  <a:pt x="155" y="22"/>
                  <a:pt x="155" y="21"/>
                  <a:pt x="155" y="21"/>
                </a:cubicBezTo>
                <a:cubicBezTo>
                  <a:pt x="155" y="21"/>
                  <a:pt x="155" y="21"/>
                  <a:pt x="155" y="21"/>
                </a:cubicBezTo>
                <a:cubicBezTo>
                  <a:pt x="155" y="21"/>
                  <a:pt x="155" y="21"/>
                  <a:pt x="155" y="21"/>
                </a:cubicBezTo>
                <a:cubicBezTo>
                  <a:pt x="155" y="21"/>
                  <a:pt x="155" y="21"/>
                  <a:pt x="155" y="21"/>
                </a:cubicBezTo>
                <a:cubicBezTo>
                  <a:pt x="155" y="21"/>
                  <a:pt x="155" y="21"/>
                  <a:pt x="155" y="21"/>
                </a:cubicBezTo>
                <a:cubicBezTo>
                  <a:pt x="155" y="21"/>
                  <a:pt x="155" y="21"/>
                  <a:pt x="155" y="21"/>
                </a:cubicBezTo>
                <a:cubicBezTo>
                  <a:pt x="155" y="21"/>
                  <a:pt x="155" y="21"/>
                  <a:pt x="155" y="21"/>
                </a:cubicBezTo>
                <a:cubicBezTo>
                  <a:pt x="155" y="21"/>
                  <a:pt x="155" y="21"/>
                  <a:pt x="155" y="21"/>
                </a:cubicBezTo>
                <a:cubicBezTo>
                  <a:pt x="155" y="21"/>
                  <a:pt x="155" y="21"/>
                  <a:pt x="155" y="21"/>
                </a:cubicBezTo>
                <a:cubicBezTo>
                  <a:pt x="155" y="21"/>
                  <a:pt x="155" y="21"/>
                  <a:pt x="155" y="21"/>
                </a:cubicBezTo>
                <a:cubicBezTo>
                  <a:pt x="155" y="21"/>
                  <a:pt x="155" y="21"/>
                  <a:pt x="155" y="21"/>
                </a:cubicBezTo>
                <a:cubicBezTo>
                  <a:pt x="155" y="21"/>
                  <a:pt x="155" y="21"/>
                  <a:pt x="155" y="21"/>
                </a:cubicBezTo>
                <a:cubicBezTo>
                  <a:pt x="155" y="21"/>
                  <a:pt x="155" y="21"/>
                  <a:pt x="155" y="21"/>
                </a:cubicBezTo>
                <a:cubicBezTo>
                  <a:pt x="155" y="21"/>
                  <a:pt x="155" y="21"/>
                  <a:pt x="155" y="21"/>
                </a:cubicBezTo>
                <a:cubicBezTo>
                  <a:pt x="155" y="21"/>
                  <a:pt x="155" y="21"/>
                  <a:pt x="155" y="21"/>
                </a:cubicBezTo>
                <a:cubicBezTo>
                  <a:pt x="155" y="21"/>
                  <a:pt x="155" y="21"/>
                  <a:pt x="155" y="21"/>
                </a:cubicBezTo>
                <a:cubicBezTo>
                  <a:pt x="155" y="21"/>
                  <a:pt x="155" y="21"/>
                  <a:pt x="155" y="21"/>
                </a:cubicBezTo>
                <a:cubicBezTo>
                  <a:pt x="154" y="21"/>
                  <a:pt x="154" y="21"/>
                  <a:pt x="154" y="21"/>
                </a:cubicBezTo>
                <a:cubicBezTo>
                  <a:pt x="154" y="21"/>
                  <a:pt x="154" y="21"/>
                  <a:pt x="154" y="21"/>
                </a:cubicBezTo>
                <a:cubicBezTo>
                  <a:pt x="154" y="21"/>
                  <a:pt x="154" y="21"/>
                  <a:pt x="154" y="21"/>
                </a:cubicBezTo>
                <a:cubicBezTo>
                  <a:pt x="154" y="21"/>
                  <a:pt x="154" y="21"/>
                  <a:pt x="154" y="21"/>
                </a:cubicBezTo>
                <a:cubicBezTo>
                  <a:pt x="154" y="21"/>
                  <a:pt x="154" y="21"/>
                  <a:pt x="154" y="21"/>
                </a:cubicBezTo>
                <a:cubicBezTo>
                  <a:pt x="154" y="21"/>
                  <a:pt x="154" y="21"/>
                  <a:pt x="154" y="21"/>
                </a:cubicBezTo>
                <a:cubicBezTo>
                  <a:pt x="154" y="21"/>
                  <a:pt x="154" y="21"/>
                  <a:pt x="154" y="21"/>
                </a:cubicBezTo>
                <a:cubicBezTo>
                  <a:pt x="154" y="21"/>
                  <a:pt x="154" y="21"/>
                  <a:pt x="154" y="21"/>
                </a:cubicBezTo>
                <a:cubicBezTo>
                  <a:pt x="154" y="21"/>
                  <a:pt x="154" y="21"/>
                  <a:pt x="154" y="21"/>
                </a:cubicBezTo>
                <a:cubicBezTo>
                  <a:pt x="154" y="21"/>
                  <a:pt x="154" y="21"/>
                  <a:pt x="154" y="21"/>
                </a:cubicBezTo>
                <a:cubicBezTo>
                  <a:pt x="154" y="21"/>
                  <a:pt x="154" y="21"/>
                  <a:pt x="154" y="21"/>
                </a:cubicBezTo>
                <a:cubicBezTo>
                  <a:pt x="154" y="21"/>
                  <a:pt x="154" y="21"/>
                  <a:pt x="154" y="21"/>
                </a:cubicBezTo>
                <a:cubicBezTo>
                  <a:pt x="154" y="21"/>
                  <a:pt x="154" y="21"/>
                  <a:pt x="154" y="21"/>
                </a:cubicBezTo>
                <a:cubicBezTo>
                  <a:pt x="154" y="21"/>
                  <a:pt x="154" y="21"/>
                  <a:pt x="154" y="21"/>
                </a:cubicBezTo>
                <a:cubicBezTo>
                  <a:pt x="154" y="21"/>
                  <a:pt x="154" y="21"/>
                  <a:pt x="154" y="21"/>
                </a:cubicBezTo>
                <a:cubicBezTo>
                  <a:pt x="154" y="21"/>
                  <a:pt x="154" y="21"/>
                  <a:pt x="154" y="21"/>
                </a:cubicBezTo>
                <a:cubicBezTo>
                  <a:pt x="154" y="21"/>
                  <a:pt x="154" y="21"/>
                  <a:pt x="154" y="21"/>
                </a:cubicBezTo>
                <a:cubicBezTo>
                  <a:pt x="154" y="21"/>
                  <a:pt x="154" y="21"/>
                  <a:pt x="154" y="21"/>
                </a:cubicBezTo>
                <a:cubicBezTo>
                  <a:pt x="154" y="21"/>
                  <a:pt x="154" y="21"/>
                  <a:pt x="154" y="21"/>
                </a:cubicBezTo>
                <a:cubicBezTo>
                  <a:pt x="154" y="21"/>
                  <a:pt x="154" y="21"/>
                  <a:pt x="154" y="21"/>
                </a:cubicBezTo>
                <a:cubicBezTo>
                  <a:pt x="154" y="21"/>
                  <a:pt x="154" y="21"/>
                  <a:pt x="154" y="21"/>
                </a:cubicBezTo>
                <a:cubicBezTo>
                  <a:pt x="153" y="21"/>
                  <a:pt x="153" y="21"/>
                  <a:pt x="153" y="21"/>
                </a:cubicBezTo>
                <a:cubicBezTo>
                  <a:pt x="153" y="21"/>
                  <a:pt x="153" y="21"/>
                  <a:pt x="153" y="21"/>
                </a:cubicBezTo>
                <a:cubicBezTo>
                  <a:pt x="152" y="21"/>
                  <a:pt x="152" y="21"/>
                  <a:pt x="152" y="21"/>
                </a:cubicBezTo>
                <a:cubicBezTo>
                  <a:pt x="152" y="21"/>
                  <a:pt x="152" y="21"/>
                  <a:pt x="152" y="21"/>
                </a:cubicBezTo>
                <a:cubicBezTo>
                  <a:pt x="152" y="21"/>
                  <a:pt x="152" y="21"/>
                  <a:pt x="152" y="21"/>
                </a:cubicBezTo>
                <a:cubicBezTo>
                  <a:pt x="152" y="21"/>
                  <a:pt x="151" y="21"/>
                  <a:pt x="151" y="21"/>
                </a:cubicBezTo>
                <a:cubicBezTo>
                  <a:pt x="151" y="21"/>
                  <a:pt x="151" y="21"/>
                  <a:pt x="151" y="21"/>
                </a:cubicBezTo>
                <a:cubicBezTo>
                  <a:pt x="151" y="21"/>
                  <a:pt x="151" y="21"/>
                  <a:pt x="151" y="21"/>
                </a:cubicBezTo>
                <a:cubicBezTo>
                  <a:pt x="151" y="21"/>
                  <a:pt x="151" y="21"/>
                  <a:pt x="151" y="21"/>
                </a:cubicBezTo>
                <a:cubicBezTo>
                  <a:pt x="151" y="21"/>
                  <a:pt x="151" y="21"/>
                  <a:pt x="151" y="21"/>
                </a:cubicBezTo>
                <a:cubicBezTo>
                  <a:pt x="151" y="21"/>
                  <a:pt x="151" y="21"/>
                  <a:pt x="151" y="21"/>
                </a:cubicBezTo>
                <a:cubicBezTo>
                  <a:pt x="151" y="21"/>
                  <a:pt x="151" y="21"/>
                  <a:pt x="151" y="21"/>
                </a:cubicBezTo>
                <a:cubicBezTo>
                  <a:pt x="151" y="21"/>
                  <a:pt x="151" y="21"/>
                  <a:pt x="151" y="21"/>
                </a:cubicBezTo>
                <a:cubicBezTo>
                  <a:pt x="151" y="21"/>
                  <a:pt x="151" y="21"/>
                  <a:pt x="151" y="21"/>
                </a:cubicBezTo>
                <a:cubicBezTo>
                  <a:pt x="151" y="21"/>
                  <a:pt x="151" y="21"/>
                  <a:pt x="151" y="21"/>
                </a:cubicBezTo>
                <a:cubicBezTo>
                  <a:pt x="151" y="21"/>
                  <a:pt x="151" y="21"/>
                  <a:pt x="151" y="21"/>
                </a:cubicBezTo>
                <a:cubicBezTo>
                  <a:pt x="151" y="21"/>
                  <a:pt x="151" y="21"/>
                  <a:pt x="151" y="21"/>
                </a:cubicBezTo>
                <a:cubicBezTo>
                  <a:pt x="151" y="21"/>
                  <a:pt x="151" y="21"/>
                  <a:pt x="151" y="21"/>
                </a:cubicBezTo>
                <a:cubicBezTo>
                  <a:pt x="151" y="21"/>
                  <a:pt x="151" y="21"/>
                  <a:pt x="151" y="21"/>
                </a:cubicBezTo>
                <a:cubicBezTo>
                  <a:pt x="151" y="21"/>
                  <a:pt x="151" y="21"/>
                  <a:pt x="151" y="21"/>
                </a:cubicBezTo>
                <a:cubicBezTo>
                  <a:pt x="151" y="21"/>
                  <a:pt x="151" y="21"/>
                  <a:pt x="151" y="21"/>
                </a:cubicBezTo>
                <a:cubicBezTo>
                  <a:pt x="151" y="21"/>
                  <a:pt x="151" y="21"/>
                  <a:pt x="151" y="21"/>
                </a:cubicBezTo>
                <a:cubicBezTo>
                  <a:pt x="151" y="21"/>
                  <a:pt x="151" y="21"/>
                  <a:pt x="151" y="21"/>
                </a:cubicBezTo>
                <a:cubicBezTo>
                  <a:pt x="151" y="21"/>
                  <a:pt x="151" y="21"/>
                  <a:pt x="151" y="21"/>
                </a:cubicBezTo>
                <a:cubicBezTo>
                  <a:pt x="151" y="21"/>
                  <a:pt x="151" y="21"/>
                  <a:pt x="151" y="21"/>
                </a:cubicBezTo>
                <a:cubicBezTo>
                  <a:pt x="151" y="21"/>
                  <a:pt x="151" y="21"/>
                  <a:pt x="151" y="21"/>
                </a:cubicBezTo>
                <a:cubicBezTo>
                  <a:pt x="151" y="21"/>
                  <a:pt x="151" y="21"/>
                  <a:pt x="151" y="21"/>
                </a:cubicBezTo>
                <a:cubicBezTo>
                  <a:pt x="151" y="21"/>
                  <a:pt x="151" y="21"/>
                  <a:pt x="151" y="21"/>
                </a:cubicBezTo>
                <a:cubicBezTo>
                  <a:pt x="151" y="21"/>
                  <a:pt x="151" y="21"/>
                  <a:pt x="151" y="21"/>
                </a:cubicBezTo>
                <a:cubicBezTo>
                  <a:pt x="151" y="21"/>
                  <a:pt x="151" y="21"/>
                  <a:pt x="151" y="21"/>
                </a:cubicBezTo>
                <a:cubicBezTo>
                  <a:pt x="150" y="21"/>
                  <a:pt x="150" y="21"/>
                  <a:pt x="150" y="21"/>
                </a:cubicBezTo>
                <a:cubicBezTo>
                  <a:pt x="150" y="21"/>
                  <a:pt x="150" y="21"/>
                  <a:pt x="150" y="21"/>
                </a:cubicBezTo>
                <a:cubicBezTo>
                  <a:pt x="150" y="21"/>
                  <a:pt x="150" y="21"/>
                  <a:pt x="150" y="21"/>
                </a:cubicBezTo>
                <a:cubicBezTo>
                  <a:pt x="150" y="21"/>
                  <a:pt x="150" y="21"/>
                  <a:pt x="150" y="21"/>
                </a:cubicBezTo>
                <a:cubicBezTo>
                  <a:pt x="150" y="21"/>
                  <a:pt x="150" y="21"/>
                  <a:pt x="150" y="21"/>
                </a:cubicBezTo>
                <a:cubicBezTo>
                  <a:pt x="150" y="21"/>
                  <a:pt x="150" y="21"/>
                  <a:pt x="150" y="21"/>
                </a:cubicBezTo>
                <a:cubicBezTo>
                  <a:pt x="150" y="21"/>
                  <a:pt x="150" y="21"/>
                  <a:pt x="150" y="21"/>
                </a:cubicBezTo>
                <a:cubicBezTo>
                  <a:pt x="150" y="21"/>
                  <a:pt x="150" y="21"/>
                  <a:pt x="150" y="21"/>
                </a:cubicBezTo>
                <a:cubicBezTo>
                  <a:pt x="150" y="21"/>
                  <a:pt x="150" y="21"/>
                  <a:pt x="150" y="21"/>
                </a:cubicBezTo>
                <a:cubicBezTo>
                  <a:pt x="150" y="21"/>
                  <a:pt x="150" y="21"/>
                  <a:pt x="150" y="21"/>
                </a:cubicBezTo>
                <a:cubicBezTo>
                  <a:pt x="150" y="21"/>
                  <a:pt x="150" y="21"/>
                  <a:pt x="150" y="21"/>
                </a:cubicBezTo>
                <a:cubicBezTo>
                  <a:pt x="150" y="21"/>
                  <a:pt x="150" y="21"/>
                  <a:pt x="150" y="21"/>
                </a:cubicBezTo>
                <a:cubicBezTo>
                  <a:pt x="150" y="21"/>
                  <a:pt x="150" y="21"/>
                  <a:pt x="150" y="21"/>
                </a:cubicBezTo>
                <a:cubicBezTo>
                  <a:pt x="150" y="21"/>
                  <a:pt x="150" y="21"/>
                  <a:pt x="150" y="21"/>
                </a:cubicBezTo>
                <a:cubicBezTo>
                  <a:pt x="150" y="21"/>
                  <a:pt x="150" y="21"/>
                  <a:pt x="150" y="21"/>
                </a:cubicBezTo>
                <a:cubicBezTo>
                  <a:pt x="150" y="21"/>
                  <a:pt x="150" y="21"/>
                  <a:pt x="150" y="21"/>
                </a:cubicBezTo>
                <a:cubicBezTo>
                  <a:pt x="150" y="21"/>
                  <a:pt x="150" y="21"/>
                  <a:pt x="150" y="21"/>
                </a:cubicBezTo>
                <a:cubicBezTo>
                  <a:pt x="150" y="21"/>
                  <a:pt x="150" y="21"/>
                  <a:pt x="150" y="21"/>
                </a:cubicBezTo>
                <a:cubicBezTo>
                  <a:pt x="150" y="21"/>
                  <a:pt x="150" y="21"/>
                  <a:pt x="150" y="21"/>
                </a:cubicBezTo>
                <a:cubicBezTo>
                  <a:pt x="150" y="21"/>
                  <a:pt x="150" y="21"/>
                  <a:pt x="150" y="21"/>
                </a:cubicBezTo>
                <a:cubicBezTo>
                  <a:pt x="150" y="21"/>
                  <a:pt x="150" y="21"/>
                  <a:pt x="149" y="21"/>
                </a:cubicBezTo>
                <a:cubicBezTo>
                  <a:pt x="149" y="21"/>
                  <a:pt x="149" y="21"/>
                  <a:pt x="149" y="21"/>
                </a:cubicBezTo>
                <a:cubicBezTo>
                  <a:pt x="149" y="21"/>
                  <a:pt x="149" y="21"/>
                  <a:pt x="149" y="21"/>
                </a:cubicBezTo>
                <a:cubicBezTo>
                  <a:pt x="149" y="21"/>
                  <a:pt x="149" y="21"/>
                  <a:pt x="149" y="21"/>
                </a:cubicBezTo>
                <a:cubicBezTo>
                  <a:pt x="149" y="21"/>
                  <a:pt x="149" y="21"/>
                  <a:pt x="149" y="21"/>
                </a:cubicBezTo>
                <a:cubicBezTo>
                  <a:pt x="149" y="21"/>
                  <a:pt x="149" y="21"/>
                  <a:pt x="149" y="21"/>
                </a:cubicBezTo>
                <a:cubicBezTo>
                  <a:pt x="149" y="21"/>
                  <a:pt x="149" y="21"/>
                  <a:pt x="149" y="21"/>
                </a:cubicBezTo>
                <a:cubicBezTo>
                  <a:pt x="75" y="21"/>
                  <a:pt x="75" y="21"/>
                  <a:pt x="75" y="21"/>
                </a:cubicBezTo>
                <a:cubicBezTo>
                  <a:pt x="68" y="8"/>
                  <a:pt x="55" y="0"/>
                  <a:pt x="40" y="0"/>
                </a:cubicBezTo>
                <a:cubicBezTo>
                  <a:pt x="18" y="0"/>
                  <a:pt x="0" y="17"/>
                  <a:pt x="0" y="39"/>
                </a:cubicBezTo>
                <a:cubicBezTo>
                  <a:pt x="0" y="61"/>
                  <a:pt x="18" y="79"/>
                  <a:pt x="40" y="79"/>
                </a:cubicBezTo>
                <a:cubicBezTo>
                  <a:pt x="55" y="79"/>
                  <a:pt x="68" y="70"/>
                  <a:pt x="75" y="58"/>
                </a:cubicBezTo>
                <a:cubicBezTo>
                  <a:pt x="135" y="58"/>
                  <a:pt x="135" y="58"/>
                  <a:pt x="135" y="58"/>
                </a:cubicBezTo>
                <a:cubicBezTo>
                  <a:pt x="255" y="446"/>
                  <a:pt x="255" y="446"/>
                  <a:pt x="255" y="446"/>
                </a:cubicBezTo>
                <a:cubicBezTo>
                  <a:pt x="256" y="447"/>
                  <a:pt x="256" y="448"/>
                  <a:pt x="257" y="449"/>
                </a:cubicBezTo>
                <a:cubicBezTo>
                  <a:pt x="270" y="493"/>
                  <a:pt x="270" y="493"/>
                  <a:pt x="270" y="493"/>
                </a:cubicBezTo>
                <a:cubicBezTo>
                  <a:pt x="273" y="500"/>
                  <a:pt x="280" y="506"/>
                  <a:pt x="288" y="506"/>
                </a:cubicBezTo>
                <a:cubicBezTo>
                  <a:pt x="322" y="506"/>
                  <a:pt x="322" y="506"/>
                  <a:pt x="322" y="506"/>
                </a:cubicBezTo>
                <a:cubicBezTo>
                  <a:pt x="297" y="516"/>
                  <a:pt x="279" y="541"/>
                  <a:pt x="279" y="570"/>
                </a:cubicBezTo>
                <a:cubicBezTo>
                  <a:pt x="279" y="608"/>
                  <a:pt x="310" y="639"/>
                  <a:pt x="348" y="639"/>
                </a:cubicBezTo>
                <a:cubicBezTo>
                  <a:pt x="386" y="639"/>
                  <a:pt x="417" y="608"/>
                  <a:pt x="417" y="570"/>
                </a:cubicBezTo>
                <a:cubicBezTo>
                  <a:pt x="417" y="541"/>
                  <a:pt x="399" y="516"/>
                  <a:pt x="374" y="506"/>
                </a:cubicBezTo>
                <a:cubicBezTo>
                  <a:pt x="566" y="506"/>
                  <a:pt x="566" y="506"/>
                  <a:pt x="566" y="506"/>
                </a:cubicBezTo>
                <a:cubicBezTo>
                  <a:pt x="541" y="516"/>
                  <a:pt x="523" y="541"/>
                  <a:pt x="523" y="570"/>
                </a:cubicBezTo>
                <a:cubicBezTo>
                  <a:pt x="523" y="608"/>
                  <a:pt x="554" y="639"/>
                  <a:pt x="592" y="639"/>
                </a:cubicBezTo>
                <a:cubicBezTo>
                  <a:pt x="630" y="639"/>
                  <a:pt x="661" y="608"/>
                  <a:pt x="661" y="570"/>
                </a:cubicBezTo>
                <a:cubicBezTo>
                  <a:pt x="661" y="541"/>
                  <a:pt x="643" y="516"/>
                  <a:pt x="618" y="506"/>
                </a:cubicBezTo>
                <a:cubicBezTo>
                  <a:pt x="656" y="506"/>
                  <a:pt x="656" y="506"/>
                  <a:pt x="656" y="506"/>
                </a:cubicBezTo>
                <a:cubicBezTo>
                  <a:pt x="666" y="506"/>
                  <a:pt x="674" y="497"/>
                  <a:pt x="674" y="487"/>
                </a:cubicBezTo>
                <a:cubicBezTo>
                  <a:pt x="674" y="477"/>
                  <a:pt x="666" y="468"/>
                  <a:pt x="656" y="468"/>
                </a:cubicBezTo>
                <a:cubicBezTo>
                  <a:pt x="302" y="468"/>
                  <a:pt x="302" y="468"/>
                  <a:pt x="302" y="468"/>
                </a:cubicBezTo>
                <a:cubicBezTo>
                  <a:pt x="297" y="452"/>
                  <a:pt x="297" y="452"/>
                  <a:pt x="297" y="452"/>
                </a:cubicBezTo>
                <a:cubicBezTo>
                  <a:pt x="662" y="332"/>
                  <a:pt x="662" y="332"/>
                  <a:pt x="662" y="332"/>
                </a:cubicBezTo>
                <a:cubicBezTo>
                  <a:pt x="669" y="329"/>
                  <a:pt x="674" y="322"/>
                  <a:pt x="674" y="314"/>
                </a:cubicBezTo>
                <a:cubicBezTo>
                  <a:pt x="674" y="108"/>
                  <a:pt x="674" y="108"/>
                  <a:pt x="674" y="108"/>
                </a:cubicBezTo>
                <a:cubicBezTo>
                  <a:pt x="674" y="98"/>
                  <a:pt x="666" y="90"/>
                  <a:pt x="656" y="90"/>
                </a:cubicBezTo>
                <a:close/>
                <a:moveTo>
                  <a:pt x="348" y="601"/>
                </a:moveTo>
                <a:cubicBezTo>
                  <a:pt x="330" y="601"/>
                  <a:pt x="316" y="587"/>
                  <a:pt x="316" y="570"/>
                </a:cubicBezTo>
                <a:cubicBezTo>
                  <a:pt x="316" y="552"/>
                  <a:pt x="330" y="538"/>
                  <a:pt x="348" y="538"/>
                </a:cubicBezTo>
                <a:cubicBezTo>
                  <a:pt x="365" y="538"/>
                  <a:pt x="379" y="552"/>
                  <a:pt x="379" y="570"/>
                </a:cubicBezTo>
                <a:cubicBezTo>
                  <a:pt x="379" y="587"/>
                  <a:pt x="365" y="601"/>
                  <a:pt x="348" y="601"/>
                </a:cubicBezTo>
                <a:close/>
                <a:moveTo>
                  <a:pt x="592" y="601"/>
                </a:moveTo>
                <a:cubicBezTo>
                  <a:pt x="575" y="601"/>
                  <a:pt x="560" y="587"/>
                  <a:pt x="560" y="570"/>
                </a:cubicBezTo>
                <a:cubicBezTo>
                  <a:pt x="560" y="552"/>
                  <a:pt x="575" y="538"/>
                  <a:pt x="592" y="538"/>
                </a:cubicBezTo>
                <a:cubicBezTo>
                  <a:pt x="609" y="538"/>
                  <a:pt x="623" y="552"/>
                  <a:pt x="623" y="570"/>
                </a:cubicBezTo>
                <a:cubicBezTo>
                  <a:pt x="623" y="587"/>
                  <a:pt x="609" y="601"/>
                  <a:pt x="592" y="601"/>
                </a:cubicBezTo>
                <a:close/>
                <a:moveTo>
                  <a:pt x="316" y="127"/>
                </a:moveTo>
                <a:cubicBezTo>
                  <a:pt x="352" y="127"/>
                  <a:pt x="352" y="127"/>
                  <a:pt x="352" y="127"/>
                </a:cubicBezTo>
                <a:cubicBezTo>
                  <a:pt x="352" y="394"/>
                  <a:pt x="352" y="394"/>
                  <a:pt x="352" y="394"/>
                </a:cubicBezTo>
                <a:cubicBezTo>
                  <a:pt x="316" y="406"/>
                  <a:pt x="316" y="406"/>
                  <a:pt x="316" y="406"/>
                </a:cubicBezTo>
                <a:lnTo>
                  <a:pt x="316" y="127"/>
                </a:lnTo>
                <a:close/>
                <a:moveTo>
                  <a:pt x="374" y="127"/>
                </a:moveTo>
                <a:cubicBezTo>
                  <a:pt x="409" y="127"/>
                  <a:pt x="409" y="127"/>
                  <a:pt x="409" y="127"/>
                </a:cubicBezTo>
                <a:cubicBezTo>
                  <a:pt x="409" y="376"/>
                  <a:pt x="409" y="376"/>
                  <a:pt x="409" y="376"/>
                </a:cubicBezTo>
                <a:cubicBezTo>
                  <a:pt x="374" y="387"/>
                  <a:pt x="374" y="387"/>
                  <a:pt x="374" y="387"/>
                </a:cubicBezTo>
                <a:lnTo>
                  <a:pt x="374" y="127"/>
                </a:lnTo>
                <a:close/>
                <a:moveTo>
                  <a:pt x="430" y="127"/>
                </a:moveTo>
                <a:cubicBezTo>
                  <a:pt x="467" y="127"/>
                  <a:pt x="467" y="127"/>
                  <a:pt x="467" y="127"/>
                </a:cubicBezTo>
                <a:cubicBezTo>
                  <a:pt x="467" y="356"/>
                  <a:pt x="467" y="356"/>
                  <a:pt x="467" y="356"/>
                </a:cubicBezTo>
                <a:cubicBezTo>
                  <a:pt x="430" y="369"/>
                  <a:pt x="430" y="369"/>
                  <a:pt x="430" y="369"/>
                </a:cubicBezTo>
                <a:lnTo>
                  <a:pt x="430" y="127"/>
                </a:lnTo>
                <a:close/>
                <a:moveTo>
                  <a:pt x="488" y="127"/>
                </a:moveTo>
                <a:cubicBezTo>
                  <a:pt x="524" y="127"/>
                  <a:pt x="524" y="127"/>
                  <a:pt x="524" y="127"/>
                </a:cubicBezTo>
                <a:cubicBezTo>
                  <a:pt x="524" y="338"/>
                  <a:pt x="524" y="338"/>
                  <a:pt x="524" y="338"/>
                </a:cubicBezTo>
                <a:cubicBezTo>
                  <a:pt x="488" y="350"/>
                  <a:pt x="488" y="350"/>
                  <a:pt x="488" y="350"/>
                </a:cubicBezTo>
                <a:lnTo>
                  <a:pt x="488" y="127"/>
                </a:lnTo>
                <a:close/>
                <a:moveTo>
                  <a:pt x="543" y="127"/>
                </a:moveTo>
                <a:cubicBezTo>
                  <a:pt x="583" y="127"/>
                  <a:pt x="583" y="127"/>
                  <a:pt x="583" y="127"/>
                </a:cubicBezTo>
                <a:cubicBezTo>
                  <a:pt x="583" y="318"/>
                  <a:pt x="583" y="318"/>
                  <a:pt x="583" y="318"/>
                </a:cubicBezTo>
                <a:cubicBezTo>
                  <a:pt x="543" y="331"/>
                  <a:pt x="543" y="331"/>
                  <a:pt x="543" y="331"/>
                </a:cubicBezTo>
                <a:lnTo>
                  <a:pt x="543" y="127"/>
                </a:lnTo>
                <a:close/>
                <a:moveTo>
                  <a:pt x="239" y="127"/>
                </a:moveTo>
                <a:cubicBezTo>
                  <a:pt x="239" y="265"/>
                  <a:pt x="239" y="265"/>
                  <a:pt x="239" y="265"/>
                </a:cubicBezTo>
                <a:cubicBezTo>
                  <a:pt x="196" y="127"/>
                  <a:pt x="196" y="127"/>
                  <a:pt x="196" y="127"/>
                </a:cubicBezTo>
                <a:lnTo>
                  <a:pt x="239" y="127"/>
                </a:lnTo>
                <a:close/>
                <a:moveTo>
                  <a:pt x="286" y="416"/>
                </a:moveTo>
                <a:cubicBezTo>
                  <a:pt x="258" y="326"/>
                  <a:pt x="258" y="326"/>
                  <a:pt x="258" y="326"/>
                </a:cubicBezTo>
                <a:cubicBezTo>
                  <a:pt x="258" y="127"/>
                  <a:pt x="258" y="127"/>
                  <a:pt x="258" y="127"/>
                </a:cubicBezTo>
                <a:cubicBezTo>
                  <a:pt x="293" y="127"/>
                  <a:pt x="293" y="127"/>
                  <a:pt x="293" y="127"/>
                </a:cubicBezTo>
                <a:cubicBezTo>
                  <a:pt x="293" y="414"/>
                  <a:pt x="293" y="414"/>
                  <a:pt x="293" y="414"/>
                </a:cubicBezTo>
                <a:lnTo>
                  <a:pt x="286" y="416"/>
                </a:lnTo>
                <a:close/>
                <a:moveTo>
                  <a:pt x="637" y="300"/>
                </a:moveTo>
                <a:cubicBezTo>
                  <a:pt x="601" y="312"/>
                  <a:pt x="601" y="312"/>
                  <a:pt x="601" y="312"/>
                </a:cubicBezTo>
                <a:cubicBezTo>
                  <a:pt x="601" y="127"/>
                  <a:pt x="601" y="127"/>
                  <a:pt x="601" y="127"/>
                </a:cubicBezTo>
                <a:cubicBezTo>
                  <a:pt x="637" y="127"/>
                  <a:pt x="637" y="127"/>
                  <a:pt x="637" y="127"/>
                </a:cubicBezTo>
                <a:lnTo>
                  <a:pt x="637" y="3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TextBox 50"/>
          <p:cNvSpPr txBox="1"/>
          <p:nvPr/>
        </p:nvSpPr>
        <p:spPr>
          <a:xfrm>
            <a:off x="8535722" y="2457312"/>
            <a:ext cx="2380787" cy="329954"/>
          </a:xfrm>
          <a:prstGeom prst="rect">
            <a:avLst/>
          </a:prstGeom>
          <a:noFill/>
        </p:spPr>
        <p:txBody>
          <a:bodyPr wrap="square" anchor="ctr">
            <a:noAutofit/>
          </a:bodyPr>
          <a:lstStyle>
            <a:defPPr>
              <a:defRPr lang="en-US"/>
            </a:defPPr>
            <a:lvl1pPr algn="ctr">
              <a:defRPr sz="4400" spc="-300">
                <a:solidFill>
                  <a:schemeClr val="tx1">
                    <a:lumMod val="85000"/>
                    <a:lumOff val="15000"/>
                  </a:schemeClr>
                </a:solidFill>
                <a:latin typeface="Raleway" panose="020B0503030101060003" pitchFamily="34" charset="0"/>
                <a:ea typeface="Roboto Light" panose="02000000000000000000" pitchFamily="2" charset="0"/>
                <a:cs typeface="Open Sans" panose="020B0606030504020204" pitchFamily="34" charset="0"/>
              </a:defRPr>
            </a:lvl1pPr>
          </a:lstStyle>
          <a:p>
            <a:pPr algn="r"/>
            <a:r>
              <a:rPr lang="id-ID" sz="1400" spc="0" dirty="0">
                <a:latin typeface="Montserrat" panose="00000500000000000000" pitchFamily="2" charset="0"/>
              </a:rPr>
              <a:t>Easy To </a:t>
            </a:r>
            <a:r>
              <a:rPr lang="en-US" sz="1400" b="1" spc="0" dirty="0" err="1">
                <a:solidFill>
                  <a:srgbClr val="01678C"/>
                </a:solidFill>
                <a:latin typeface="Montserrat" panose="00000500000000000000" pitchFamily="2" charset="0"/>
              </a:rPr>
              <a:t>Campaigens</a:t>
            </a:r>
            <a:endParaRPr lang="id-ID" sz="1400" b="1" spc="0" dirty="0">
              <a:solidFill>
                <a:srgbClr val="01678C"/>
              </a:solidFill>
              <a:latin typeface="Montserrat" panose="00000500000000000000" pitchFamily="2" charset="0"/>
            </a:endParaRPr>
          </a:p>
        </p:txBody>
      </p:sp>
      <p:sp>
        <p:nvSpPr>
          <p:cNvPr id="52" name="TextBox 51"/>
          <p:cNvSpPr txBox="1"/>
          <p:nvPr/>
        </p:nvSpPr>
        <p:spPr>
          <a:xfrm>
            <a:off x="8535722" y="2915280"/>
            <a:ext cx="2380787" cy="577081"/>
          </a:xfrm>
          <a:prstGeom prst="rect">
            <a:avLst/>
          </a:prstGeom>
          <a:noFill/>
        </p:spPr>
        <p:txBody>
          <a:bodyPr wrap="square" rtlCol="0">
            <a:spAutoFit/>
          </a:bodyPr>
          <a:lstStyle/>
          <a:p>
            <a:pPr>
              <a:buClr>
                <a:srgbClr val="E24848"/>
              </a:buClr>
              <a:defRPr/>
            </a:pPr>
            <a:r>
              <a:rPr lang="en-US" sz="1050" noProof="1">
                <a:solidFill>
                  <a:schemeClr val="tx1">
                    <a:lumMod val="85000"/>
                    <a:lumOff val="15000"/>
                  </a:schemeClr>
                </a:solidFill>
                <a:latin typeface="Montserrat" panose="00000500000000000000" pitchFamily="50" charset="0"/>
                <a:ea typeface="Open Sans Light" panose="020B0306030504020204" pitchFamily="34" charset="0"/>
                <a:cs typeface="Open Sans Light" panose="020B0306030504020204" pitchFamily="34" charset="0"/>
              </a:rPr>
              <a:t>Lorem ipsum dolor sit amet, consectetur adipiscing elit. Nulla imperdiet volutpat du</a:t>
            </a:r>
          </a:p>
        </p:txBody>
      </p:sp>
      <p:cxnSp>
        <p:nvCxnSpPr>
          <p:cNvPr id="53" name="Straight Connector 52"/>
          <p:cNvCxnSpPr/>
          <p:nvPr/>
        </p:nvCxnSpPr>
        <p:spPr>
          <a:xfrm rot="16200000">
            <a:off x="4939799" y="5265341"/>
            <a:ext cx="1054100" cy="0"/>
          </a:xfrm>
          <a:prstGeom prst="line">
            <a:avLst/>
          </a:prstGeom>
          <a:ln w="38100">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rot="16200000">
            <a:off x="6257450" y="5265341"/>
            <a:ext cx="1054100" cy="0"/>
          </a:xfrm>
          <a:prstGeom prst="line">
            <a:avLst/>
          </a:prstGeom>
          <a:ln w="38100">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625849"/>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23" y="6664283"/>
            <a:ext cx="12189983" cy="206419"/>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
          <p:cNvSpPr/>
          <p:nvPr/>
        </p:nvSpPr>
        <p:spPr>
          <a:xfrm>
            <a:off x="5056966" y="6530678"/>
            <a:ext cx="2078068" cy="222924"/>
          </a:xfrm>
          <a:prstGeom prst="roundRect">
            <a:avLst>
              <a:gd name="adj" fmla="val 50000"/>
            </a:avLst>
          </a:prstGeom>
          <a:solidFill>
            <a:srgbClr val="018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effectLst>
                <a:outerShdw blurRad="63500" sx="102000" sy="102000" algn="ctr" rotWithShape="0">
                  <a:prstClr val="black">
                    <a:alpha val="40000"/>
                  </a:prstClr>
                </a:outerShdw>
              </a:effectLst>
              <a:latin typeface="+mj-lt"/>
            </a:endParaRPr>
          </a:p>
        </p:txBody>
      </p:sp>
      <p:cxnSp>
        <p:nvCxnSpPr>
          <p:cNvPr id="4" name="Straight Connector 3"/>
          <p:cNvCxnSpPr/>
          <p:nvPr/>
        </p:nvCxnSpPr>
        <p:spPr>
          <a:xfrm>
            <a:off x="6512721" y="6567488"/>
            <a:ext cx="0" cy="154781"/>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6665393" y="6505535"/>
            <a:ext cx="335348" cy="261610"/>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13</a:t>
            </a:r>
          </a:p>
        </p:txBody>
      </p:sp>
      <p:sp>
        <p:nvSpPr>
          <p:cNvPr id="6" name="Date Placeholder 1"/>
          <p:cNvSpPr txBox="1">
            <a:spLocks/>
          </p:cNvSpPr>
          <p:nvPr>
            <p:custDataLst>
              <p:tags r:id="rId1"/>
            </p:custDataLst>
          </p:nvPr>
        </p:nvSpPr>
        <p:spPr>
          <a:xfrm>
            <a:off x="5006809" y="6498189"/>
            <a:ext cx="1530941"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Segoe UI" panose="020B0502040204020203" pitchFamily="34" charset="0"/>
                <a:ea typeface="Open Sans Light" panose="020B0306030504020204" pitchFamily="34" charset="0"/>
                <a:cs typeface="Segoe UI" panose="020B0502040204020203" pitchFamily="34" charset="0"/>
              </a:rPr>
              <a:t>www.yourcompanyname.com</a:t>
            </a:r>
          </a:p>
        </p:txBody>
      </p:sp>
      <p:sp>
        <p:nvSpPr>
          <p:cNvPr id="7" name="Rectangle 6"/>
          <p:cNvSpPr/>
          <p:nvPr/>
        </p:nvSpPr>
        <p:spPr>
          <a:xfrm>
            <a:off x="7473079" y="5231020"/>
            <a:ext cx="2311273" cy="553998"/>
          </a:xfrm>
          <a:prstGeom prst="rect">
            <a:avLst/>
          </a:prstGeom>
        </p:spPr>
        <p:txBody>
          <a:bodyPr wrap="square">
            <a:spAutoFit/>
          </a:bodyPr>
          <a:lstStyle/>
          <a:p>
            <a:pPr>
              <a:buClr>
                <a:srgbClr val="E24848"/>
              </a:buClr>
              <a:defRPr/>
            </a:pPr>
            <a:r>
              <a:rPr lang="en-US" sz="10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p>
        </p:txBody>
      </p:sp>
      <p:sp>
        <p:nvSpPr>
          <p:cNvPr id="9" name="Freeform 23"/>
          <p:cNvSpPr>
            <a:spLocks/>
          </p:cNvSpPr>
          <p:nvPr/>
        </p:nvSpPr>
        <p:spPr bwMode="auto">
          <a:xfrm>
            <a:off x="8193330" y="2833447"/>
            <a:ext cx="1521728" cy="1106885"/>
          </a:xfrm>
          <a:custGeom>
            <a:avLst/>
            <a:gdLst>
              <a:gd name="T0" fmla="*/ 637 w 796"/>
              <a:gd name="T1" fmla="*/ 0 h 579"/>
              <a:gd name="T2" fmla="*/ 796 w 796"/>
              <a:gd name="T3" fmla="*/ 579 h 579"/>
              <a:gd name="T4" fmla="*/ 54 w 796"/>
              <a:gd name="T5" fmla="*/ 579 h 579"/>
              <a:gd name="T6" fmla="*/ 0 w 796"/>
              <a:gd name="T7" fmla="*/ 0 h 579"/>
              <a:gd name="T8" fmla="*/ 637 w 796"/>
              <a:gd name="T9" fmla="*/ 0 h 579"/>
            </a:gdLst>
            <a:ahLst/>
            <a:cxnLst>
              <a:cxn ang="0">
                <a:pos x="T0" y="T1"/>
              </a:cxn>
              <a:cxn ang="0">
                <a:pos x="T2" y="T3"/>
              </a:cxn>
              <a:cxn ang="0">
                <a:pos x="T4" y="T5"/>
              </a:cxn>
              <a:cxn ang="0">
                <a:pos x="T6" y="T7"/>
              </a:cxn>
              <a:cxn ang="0">
                <a:pos x="T8" y="T9"/>
              </a:cxn>
            </a:cxnLst>
            <a:rect l="0" t="0" r="r" b="b"/>
            <a:pathLst>
              <a:path w="796" h="579">
                <a:moveTo>
                  <a:pt x="637" y="0"/>
                </a:moveTo>
                <a:lnTo>
                  <a:pt x="796" y="579"/>
                </a:lnTo>
                <a:lnTo>
                  <a:pt x="54" y="579"/>
                </a:lnTo>
                <a:lnTo>
                  <a:pt x="0" y="0"/>
                </a:lnTo>
                <a:lnTo>
                  <a:pt x="637" y="0"/>
                </a:lnTo>
                <a:close/>
              </a:path>
            </a:pathLst>
          </a:custGeom>
          <a:solidFill>
            <a:srgbClr val="111111">
              <a:alpha val="23000"/>
            </a:srgbClr>
          </a:solidFill>
          <a:ln w="3175">
            <a:solidFill>
              <a:schemeClr val="bg1"/>
            </a:solidFill>
          </a:ln>
          <a:effectLst>
            <a:softEdge rad="152400"/>
          </a:effectLst>
        </p:spPr>
        <p:txBody>
          <a:bodyPr vert="horz" wrap="square" lIns="91440" tIns="45720" rIns="91440" bIns="45720" numCol="1" anchor="t" anchorCtr="0" compatLnSpc="1">
            <a:prstTxWarp prst="textNoShape">
              <a:avLst/>
            </a:prstTxWarp>
          </a:bodyPr>
          <a:lstStyle/>
          <a:p>
            <a:endParaRPr lang="en-US" sz="1400"/>
          </a:p>
        </p:txBody>
      </p:sp>
      <p:sp>
        <p:nvSpPr>
          <p:cNvPr id="25" name="Freeform 22"/>
          <p:cNvSpPr>
            <a:spLocks/>
          </p:cNvSpPr>
          <p:nvPr/>
        </p:nvSpPr>
        <p:spPr bwMode="auto">
          <a:xfrm>
            <a:off x="8369618" y="3437052"/>
            <a:ext cx="1270265" cy="284388"/>
          </a:xfrm>
          <a:custGeom>
            <a:avLst/>
            <a:gdLst>
              <a:gd name="T0" fmla="*/ 804 w 804"/>
              <a:gd name="T1" fmla="*/ 0 h 180"/>
              <a:gd name="T2" fmla="*/ 621 w 804"/>
              <a:gd name="T3" fmla="*/ 180 h 180"/>
              <a:gd name="T4" fmla="*/ 0 w 804"/>
              <a:gd name="T5" fmla="*/ 180 h 180"/>
              <a:gd name="T6" fmla="*/ 62 w 804"/>
              <a:gd name="T7" fmla="*/ 0 h 180"/>
              <a:gd name="T8" fmla="*/ 804 w 804"/>
              <a:gd name="T9" fmla="*/ 0 h 180"/>
            </a:gdLst>
            <a:ahLst/>
            <a:cxnLst>
              <a:cxn ang="0">
                <a:pos x="T0" y="T1"/>
              </a:cxn>
              <a:cxn ang="0">
                <a:pos x="T2" y="T3"/>
              </a:cxn>
              <a:cxn ang="0">
                <a:pos x="T4" y="T5"/>
              </a:cxn>
              <a:cxn ang="0">
                <a:pos x="T6" y="T7"/>
              </a:cxn>
              <a:cxn ang="0">
                <a:pos x="T8" y="T9"/>
              </a:cxn>
            </a:cxnLst>
            <a:rect l="0" t="0" r="r" b="b"/>
            <a:pathLst>
              <a:path w="804" h="180">
                <a:moveTo>
                  <a:pt x="804" y="0"/>
                </a:moveTo>
                <a:lnTo>
                  <a:pt x="621" y="180"/>
                </a:lnTo>
                <a:lnTo>
                  <a:pt x="0" y="180"/>
                </a:lnTo>
                <a:lnTo>
                  <a:pt x="62" y="0"/>
                </a:lnTo>
                <a:lnTo>
                  <a:pt x="804" y="0"/>
                </a:lnTo>
                <a:close/>
              </a:path>
            </a:pathLst>
          </a:custGeom>
          <a:solidFill>
            <a:schemeClr val="accent1">
              <a:lumMod val="75000"/>
            </a:schemeClr>
          </a:solidFill>
          <a:ln w="317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18ABB"/>
              </a:solidFill>
            </a:endParaRPr>
          </a:p>
        </p:txBody>
      </p:sp>
      <p:sp>
        <p:nvSpPr>
          <p:cNvPr id="26" name="Freeform 23"/>
          <p:cNvSpPr>
            <a:spLocks/>
          </p:cNvSpPr>
          <p:nvPr/>
        </p:nvSpPr>
        <p:spPr bwMode="auto">
          <a:xfrm>
            <a:off x="8382257" y="2522271"/>
            <a:ext cx="1257626" cy="914781"/>
          </a:xfrm>
          <a:custGeom>
            <a:avLst/>
            <a:gdLst>
              <a:gd name="T0" fmla="*/ 637 w 796"/>
              <a:gd name="T1" fmla="*/ 0 h 579"/>
              <a:gd name="T2" fmla="*/ 796 w 796"/>
              <a:gd name="T3" fmla="*/ 579 h 579"/>
              <a:gd name="T4" fmla="*/ 54 w 796"/>
              <a:gd name="T5" fmla="*/ 579 h 579"/>
              <a:gd name="T6" fmla="*/ 0 w 796"/>
              <a:gd name="T7" fmla="*/ 0 h 579"/>
              <a:gd name="T8" fmla="*/ 637 w 796"/>
              <a:gd name="T9" fmla="*/ 0 h 579"/>
            </a:gdLst>
            <a:ahLst/>
            <a:cxnLst>
              <a:cxn ang="0">
                <a:pos x="T0" y="T1"/>
              </a:cxn>
              <a:cxn ang="0">
                <a:pos x="T2" y="T3"/>
              </a:cxn>
              <a:cxn ang="0">
                <a:pos x="T4" y="T5"/>
              </a:cxn>
              <a:cxn ang="0">
                <a:pos x="T6" y="T7"/>
              </a:cxn>
              <a:cxn ang="0">
                <a:pos x="T8" y="T9"/>
              </a:cxn>
            </a:cxnLst>
            <a:rect l="0" t="0" r="r" b="b"/>
            <a:pathLst>
              <a:path w="796" h="579">
                <a:moveTo>
                  <a:pt x="637" y="0"/>
                </a:moveTo>
                <a:lnTo>
                  <a:pt x="796" y="579"/>
                </a:lnTo>
                <a:lnTo>
                  <a:pt x="54" y="579"/>
                </a:lnTo>
                <a:lnTo>
                  <a:pt x="0" y="0"/>
                </a:lnTo>
                <a:lnTo>
                  <a:pt x="637" y="0"/>
                </a:lnTo>
                <a:close/>
              </a:path>
            </a:pathLst>
          </a:custGeom>
          <a:solidFill>
            <a:srgbClr val="01678C"/>
          </a:solidFill>
          <a:ln w="317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1" name="Freeform 21"/>
          <p:cNvSpPr>
            <a:spLocks/>
          </p:cNvSpPr>
          <p:nvPr/>
        </p:nvSpPr>
        <p:spPr bwMode="auto">
          <a:xfrm>
            <a:off x="6047611" y="2822499"/>
            <a:ext cx="1523641" cy="1106885"/>
          </a:xfrm>
          <a:custGeom>
            <a:avLst/>
            <a:gdLst>
              <a:gd name="T0" fmla="*/ 797 w 797"/>
              <a:gd name="T1" fmla="*/ 0 h 579"/>
              <a:gd name="T2" fmla="*/ 742 w 797"/>
              <a:gd name="T3" fmla="*/ 579 h 579"/>
              <a:gd name="T4" fmla="*/ 0 w 797"/>
              <a:gd name="T5" fmla="*/ 579 h 579"/>
              <a:gd name="T6" fmla="*/ 159 w 797"/>
              <a:gd name="T7" fmla="*/ 0 h 579"/>
              <a:gd name="T8" fmla="*/ 797 w 797"/>
              <a:gd name="T9" fmla="*/ 0 h 579"/>
            </a:gdLst>
            <a:ahLst/>
            <a:cxnLst>
              <a:cxn ang="0">
                <a:pos x="T0" y="T1"/>
              </a:cxn>
              <a:cxn ang="0">
                <a:pos x="T2" y="T3"/>
              </a:cxn>
              <a:cxn ang="0">
                <a:pos x="T4" y="T5"/>
              </a:cxn>
              <a:cxn ang="0">
                <a:pos x="T6" y="T7"/>
              </a:cxn>
              <a:cxn ang="0">
                <a:pos x="T8" y="T9"/>
              </a:cxn>
            </a:cxnLst>
            <a:rect l="0" t="0" r="r" b="b"/>
            <a:pathLst>
              <a:path w="797" h="579">
                <a:moveTo>
                  <a:pt x="797" y="0"/>
                </a:moveTo>
                <a:lnTo>
                  <a:pt x="742" y="579"/>
                </a:lnTo>
                <a:lnTo>
                  <a:pt x="0" y="579"/>
                </a:lnTo>
                <a:lnTo>
                  <a:pt x="159" y="0"/>
                </a:lnTo>
                <a:lnTo>
                  <a:pt x="797" y="0"/>
                </a:lnTo>
                <a:close/>
              </a:path>
            </a:pathLst>
          </a:custGeom>
          <a:solidFill>
            <a:srgbClr val="111111">
              <a:alpha val="23000"/>
            </a:srgbClr>
          </a:solidFill>
          <a:ln w="3175">
            <a:solidFill>
              <a:schemeClr val="bg1"/>
            </a:solidFill>
          </a:ln>
          <a:effectLst>
            <a:softEdge rad="152400"/>
          </a:effectLst>
        </p:spPr>
        <p:txBody>
          <a:bodyPr vert="horz" wrap="square" lIns="91440" tIns="45720" rIns="91440" bIns="45720" numCol="1" anchor="t" anchorCtr="0" compatLnSpc="1">
            <a:prstTxWarp prst="textNoShape">
              <a:avLst/>
            </a:prstTxWarp>
          </a:bodyPr>
          <a:lstStyle/>
          <a:p>
            <a:endParaRPr lang="en-US" sz="1400"/>
          </a:p>
        </p:txBody>
      </p:sp>
      <p:sp>
        <p:nvSpPr>
          <p:cNvPr id="23" name="Freeform 20"/>
          <p:cNvSpPr>
            <a:spLocks/>
          </p:cNvSpPr>
          <p:nvPr/>
        </p:nvSpPr>
        <p:spPr bwMode="auto">
          <a:xfrm>
            <a:off x="6119791" y="3437052"/>
            <a:ext cx="1270267" cy="284388"/>
          </a:xfrm>
          <a:custGeom>
            <a:avLst/>
            <a:gdLst>
              <a:gd name="T0" fmla="*/ 742 w 804"/>
              <a:gd name="T1" fmla="*/ 0 h 180"/>
              <a:gd name="T2" fmla="*/ 804 w 804"/>
              <a:gd name="T3" fmla="*/ 180 h 180"/>
              <a:gd name="T4" fmla="*/ 183 w 804"/>
              <a:gd name="T5" fmla="*/ 180 h 180"/>
              <a:gd name="T6" fmla="*/ 0 w 804"/>
              <a:gd name="T7" fmla="*/ 0 h 180"/>
              <a:gd name="T8" fmla="*/ 742 w 804"/>
              <a:gd name="T9" fmla="*/ 0 h 180"/>
            </a:gdLst>
            <a:ahLst/>
            <a:cxnLst>
              <a:cxn ang="0">
                <a:pos x="T0" y="T1"/>
              </a:cxn>
              <a:cxn ang="0">
                <a:pos x="T2" y="T3"/>
              </a:cxn>
              <a:cxn ang="0">
                <a:pos x="T4" y="T5"/>
              </a:cxn>
              <a:cxn ang="0">
                <a:pos x="T6" y="T7"/>
              </a:cxn>
              <a:cxn ang="0">
                <a:pos x="T8" y="T9"/>
              </a:cxn>
            </a:cxnLst>
            <a:rect l="0" t="0" r="r" b="b"/>
            <a:pathLst>
              <a:path w="804" h="180">
                <a:moveTo>
                  <a:pt x="742" y="0"/>
                </a:moveTo>
                <a:lnTo>
                  <a:pt x="804" y="180"/>
                </a:lnTo>
                <a:lnTo>
                  <a:pt x="183" y="180"/>
                </a:lnTo>
                <a:lnTo>
                  <a:pt x="0" y="0"/>
                </a:lnTo>
                <a:lnTo>
                  <a:pt x="742" y="0"/>
                </a:lnTo>
                <a:close/>
              </a:path>
            </a:pathLst>
          </a:custGeom>
          <a:solidFill>
            <a:schemeClr val="accent1">
              <a:lumMod val="75000"/>
            </a:schemeClr>
          </a:solidFill>
          <a:ln w="317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18ABB"/>
              </a:solidFill>
            </a:endParaRPr>
          </a:p>
        </p:txBody>
      </p:sp>
      <p:sp>
        <p:nvSpPr>
          <p:cNvPr id="24" name="Freeform 21"/>
          <p:cNvSpPr>
            <a:spLocks/>
          </p:cNvSpPr>
          <p:nvPr/>
        </p:nvSpPr>
        <p:spPr bwMode="auto">
          <a:xfrm>
            <a:off x="6119791" y="2522271"/>
            <a:ext cx="1259208" cy="914781"/>
          </a:xfrm>
          <a:custGeom>
            <a:avLst/>
            <a:gdLst>
              <a:gd name="T0" fmla="*/ 797 w 797"/>
              <a:gd name="T1" fmla="*/ 0 h 579"/>
              <a:gd name="T2" fmla="*/ 742 w 797"/>
              <a:gd name="T3" fmla="*/ 579 h 579"/>
              <a:gd name="T4" fmla="*/ 0 w 797"/>
              <a:gd name="T5" fmla="*/ 579 h 579"/>
              <a:gd name="T6" fmla="*/ 159 w 797"/>
              <a:gd name="T7" fmla="*/ 0 h 579"/>
              <a:gd name="T8" fmla="*/ 797 w 797"/>
              <a:gd name="T9" fmla="*/ 0 h 579"/>
            </a:gdLst>
            <a:ahLst/>
            <a:cxnLst>
              <a:cxn ang="0">
                <a:pos x="T0" y="T1"/>
              </a:cxn>
              <a:cxn ang="0">
                <a:pos x="T2" y="T3"/>
              </a:cxn>
              <a:cxn ang="0">
                <a:pos x="T4" y="T5"/>
              </a:cxn>
              <a:cxn ang="0">
                <a:pos x="T6" y="T7"/>
              </a:cxn>
              <a:cxn ang="0">
                <a:pos x="T8" y="T9"/>
              </a:cxn>
            </a:cxnLst>
            <a:rect l="0" t="0" r="r" b="b"/>
            <a:pathLst>
              <a:path w="797" h="579">
                <a:moveTo>
                  <a:pt x="797" y="0"/>
                </a:moveTo>
                <a:lnTo>
                  <a:pt x="742" y="579"/>
                </a:lnTo>
                <a:lnTo>
                  <a:pt x="0" y="579"/>
                </a:lnTo>
                <a:lnTo>
                  <a:pt x="159" y="0"/>
                </a:lnTo>
                <a:lnTo>
                  <a:pt x="797" y="0"/>
                </a:lnTo>
                <a:close/>
              </a:path>
            </a:pathLst>
          </a:custGeom>
          <a:solidFill>
            <a:srgbClr val="01678C"/>
          </a:solidFill>
          <a:ln w="317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1" name="Freeform 20"/>
          <p:cNvSpPr>
            <a:spLocks/>
          </p:cNvSpPr>
          <p:nvPr/>
        </p:nvSpPr>
        <p:spPr bwMode="auto">
          <a:xfrm>
            <a:off x="7379002" y="2523453"/>
            <a:ext cx="1003258" cy="377604"/>
          </a:xfrm>
          <a:custGeom>
            <a:avLst/>
            <a:gdLst>
              <a:gd name="T0" fmla="*/ 635 w 635"/>
              <a:gd name="T1" fmla="*/ 0 h 239"/>
              <a:gd name="T2" fmla="*/ 590 w 635"/>
              <a:gd name="T3" fmla="*/ 239 h 239"/>
              <a:gd name="T4" fmla="*/ 45 w 635"/>
              <a:gd name="T5" fmla="*/ 239 h 239"/>
              <a:gd name="T6" fmla="*/ 0 w 635"/>
              <a:gd name="T7" fmla="*/ 0 h 239"/>
              <a:gd name="T8" fmla="*/ 635 w 635"/>
              <a:gd name="T9" fmla="*/ 0 h 239"/>
            </a:gdLst>
            <a:ahLst/>
            <a:cxnLst>
              <a:cxn ang="0">
                <a:pos x="T0" y="T1"/>
              </a:cxn>
              <a:cxn ang="0">
                <a:pos x="T2" y="T3"/>
              </a:cxn>
              <a:cxn ang="0">
                <a:pos x="T4" y="T5"/>
              </a:cxn>
              <a:cxn ang="0">
                <a:pos x="T6" y="T7"/>
              </a:cxn>
              <a:cxn ang="0">
                <a:pos x="T8" y="T9"/>
              </a:cxn>
            </a:cxnLst>
            <a:rect l="0" t="0" r="r" b="b"/>
            <a:pathLst>
              <a:path w="635" h="239">
                <a:moveTo>
                  <a:pt x="635" y="0"/>
                </a:moveTo>
                <a:lnTo>
                  <a:pt x="590" y="239"/>
                </a:lnTo>
                <a:lnTo>
                  <a:pt x="45" y="239"/>
                </a:lnTo>
                <a:lnTo>
                  <a:pt x="0" y="0"/>
                </a:lnTo>
                <a:lnTo>
                  <a:pt x="635" y="0"/>
                </a:lnTo>
                <a:close/>
              </a:path>
            </a:pathLst>
          </a:custGeom>
          <a:solidFill>
            <a:schemeClr val="accent2">
              <a:lumMod val="75000"/>
            </a:schemeClr>
          </a:solidFill>
          <a:ln w="317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2" name="Freeform 21"/>
          <p:cNvSpPr>
            <a:spLocks/>
          </p:cNvSpPr>
          <p:nvPr/>
        </p:nvSpPr>
        <p:spPr bwMode="auto">
          <a:xfrm>
            <a:off x="7379002" y="1834603"/>
            <a:ext cx="1003258" cy="688850"/>
          </a:xfrm>
          <a:custGeom>
            <a:avLst/>
            <a:gdLst>
              <a:gd name="T0" fmla="*/ 597 w 635"/>
              <a:gd name="T1" fmla="*/ 0 h 436"/>
              <a:gd name="T2" fmla="*/ 635 w 635"/>
              <a:gd name="T3" fmla="*/ 436 h 436"/>
              <a:gd name="T4" fmla="*/ 0 w 635"/>
              <a:gd name="T5" fmla="*/ 436 h 436"/>
              <a:gd name="T6" fmla="*/ 37 w 635"/>
              <a:gd name="T7" fmla="*/ 0 h 436"/>
              <a:gd name="T8" fmla="*/ 597 w 635"/>
              <a:gd name="T9" fmla="*/ 0 h 436"/>
            </a:gdLst>
            <a:ahLst/>
            <a:cxnLst>
              <a:cxn ang="0">
                <a:pos x="T0" y="T1"/>
              </a:cxn>
              <a:cxn ang="0">
                <a:pos x="T2" y="T3"/>
              </a:cxn>
              <a:cxn ang="0">
                <a:pos x="T4" y="T5"/>
              </a:cxn>
              <a:cxn ang="0">
                <a:pos x="T6" y="T7"/>
              </a:cxn>
              <a:cxn ang="0">
                <a:pos x="T8" y="T9"/>
              </a:cxn>
            </a:cxnLst>
            <a:rect l="0" t="0" r="r" b="b"/>
            <a:pathLst>
              <a:path w="635" h="436">
                <a:moveTo>
                  <a:pt x="597" y="0"/>
                </a:moveTo>
                <a:lnTo>
                  <a:pt x="635" y="436"/>
                </a:lnTo>
                <a:lnTo>
                  <a:pt x="0" y="436"/>
                </a:lnTo>
                <a:lnTo>
                  <a:pt x="37" y="0"/>
                </a:lnTo>
                <a:lnTo>
                  <a:pt x="597" y="0"/>
                </a:lnTo>
                <a:close/>
              </a:path>
            </a:pathLst>
          </a:custGeom>
          <a:solidFill>
            <a:srgbClr val="01678C"/>
          </a:solidFill>
          <a:ln w="317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9" name="Freeform 26"/>
          <p:cNvSpPr>
            <a:spLocks/>
          </p:cNvSpPr>
          <p:nvPr/>
        </p:nvSpPr>
        <p:spPr bwMode="auto">
          <a:xfrm>
            <a:off x="7292100" y="3437052"/>
            <a:ext cx="1175470" cy="284388"/>
          </a:xfrm>
          <a:custGeom>
            <a:avLst/>
            <a:gdLst>
              <a:gd name="T0" fmla="*/ 744 w 744"/>
              <a:gd name="T1" fmla="*/ 0 h 180"/>
              <a:gd name="T2" fmla="*/ 682 w 744"/>
              <a:gd name="T3" fmla="*/ 180 h 180"/>
              <a:gd name="T4" fmla="*/ 62 w 744"/>
              <a:gd name="T5" fmla="*/ 180 h 180"/>
              <a:gd name="T6" fmla="*/ 0 w 744"/>
              <a:gd name="T7" fmla="*/ 0 h 180"/>
              <a:gd name="T8" fmla="*/ 744 w 744"/>
              <a:gd name="T9" fmla="*/ 0 h 180"/>
            </a:gdLst>
            <a:ahLst/>
            <a:cxnLst>
              <a:cxn ang="0">
                <a:pos x="T0" y="T1"/>
              </a:cxn>
              <a:cxn ang="0">
                <a:pos x="T2" y="T3"/>
              </a:cxn>
              <a:cxn ang="0">
                <a:pos x="T4" y="T5"/>
              </a:cxn>
              <a:cxn ang="0">
                <a:pos x="T6" y="T7"/>
              </a:cxn>
              <a:cxn ang="0">
                <a:pos x="T8" y="T9"/>
              </a:cxn>
            </a:cxnLst>
            <a:rect l="0" t="0" r="r" b="b"/>
            <a:pathLst>
              <a:path w="744" h="180">
                <a:moveTo>
                  <a:pt x="744" y="0"/>
                </a:moveTo>
                <a:lnTo>
                  <a:pt x="682" y="180"/>
                </a:lnTo>
                <a:lnTo>
                  <a:pt x="62" y="180"/>
                </a:lnTo>
                <a:lnTo>
                  <a:pt x="0" y="0"/>
                </a:lnTo>
                <a:lnTo>
                  <a:pt x="744" y="0"/>
                </a:lnTo>
                <a:close/>
              </a:path>
            </a:pathLst>
          </a:custGeom>
          <a:solidFill>
            <a:schemeClr val="accent5">
              <a:lumMod val="75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0" name="Freeform 27"/>
          <p:cNvSpPr>
            <a:spLocks/>
          </p:cNvSpPr>
          <p:nvPr/>
        </p:nvSpPr>
        <p:spPr bwMode="auto">
          <a:xfrm>
            <a:off x="7292100" y="2522272"/>
            <a:ext cx="1175470" cy="914779"/>
          </a:xfrm>
          <a:custGeom>
            <a:avLst/>
            <a:gdLst>
              <a:gd name="T0" fmla="*/ 690 w 744"/>
              <a:gd name="T1" fmla="*/ 0 h 579"/>
              <a:gd name="T2" fmla="*/ 744 w 744"/>
              <a:gd name="T3" fmla="*/ 579 h 579"/>
              <a:gd name="T4" fmla="*/ 0 w 744"/>
              <a:gd name="T5" fmla="*/ 579 h 579"/>
              <a:gd name="T6" fmla="*/ 55 w 744"/>
              <a:gd name="T7" fmla="*/ 0 h 579"/>
              <a:gd name="T8" fmla="*/ 690 w 744"/>
              <a:gd name="T9" fmla="*/ 0 h 579"/>
            </a:gdLst>
            <a:ahLst/>
            <a:cxnLst>
              <a:cxn ang="0">
                <a:pos x="T0" y="T1"/>
              </a:cxn>
              <a:cxn ang="0">
                <a:pos x="T2" y="T3"/>
              </a:cxn>
              <a:cxn ang="0">
                <a:pos x="T4" y="T5"/>
              </a:cxn>
              <a:cxn ang="0">
                <a:pos x="T6" y="T7"/>
              </a:cxn>
              <a:cxn ang="0">
                <a:pos x="T8" y="T9"/>
              </a:cxn>
            </a:cxnLst>
            <a:rect l="0" t="0" r="r" b="b"/>
            <a:pathLst>
              <a:path w="744" h="579">
                <a:moveTo>
                  <a:pt x="690" y="0"/>
                </a:moveTo>
                <a:lnTo>
                  <a:pt x="744" y="579"/>
                </a:lnTo>
                <a:lnTo>
                  <a:pt x="0" y="579"/>
                </a:lnTo>
                <a:lnTo>
                  <a:pt x="55" y="0"/>
                </a:lnTo>
                <a:lnTo>
                  <a:pt x="690" y="0"/>
                </a:lnTo>
                <a:close/>
              </a:path>
            </a:pathLst>
          </a:custGeom>
          <a:solidFill>
            <a:schemeClr val="bg1">
              <a:lumMod val="85000"/>
            </a:schemeClr>
          </a:solidFill>
          <a:ln w="317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5" name="Freeform 29"/>
          <p:cNvSpPr>
            <a:spLocks/>
          </p:cNvSpPr>
          <p:nvPr/>
        </p:nvSpPr>
        <p:spPr bwMode="auto">
          <a:xfrm>
            <a:off x="7038435" y="3453956"/>
            <a:ext cx="1703341" cy="1548491"/>
          </a:xfrm>
          <a:custGeom>
            <a:avLst/>
            <a:gdLst>
              <a:gd name="T0" fmla="*/ 817 w 891"/>
              <a:gd name="T1" fmla="*/ 0 h 810"/>
              <a:gd name="T2" fmla="*/ 891 w 891"/>
              <a:gd name="T3" fmla="*/ 810 h 810"/>
              <a:gd name="T4" fmla="*/ 0 w 891"/>
              <a:gd name="T5" fmla="*/ 810 h 810"/>
              <a:gd name="T6" fmla="*/ 73 w 891"/>
              <a:gd name="T7" fmla="*/ 0 h 810"/>
              <a:gd name="T8" fmla="*/ 817 w 891"/>
              <a:gd name="T9" fmla="*/ 0 h 810"/>
            </a:gdLst>
            <a:ahLst/>
            <a:cxnLst>
              <a:cxn ang="0">
                <a:pos x="T0" y="T1"/>
              </a:cxn>
              <a:cxn ang="0">
                <a:pos x="T2" y="T3"/>
              </a:cxn>
              <a:cxn ang="0">
                <a:pos x="T4" y="T5"/>
              </a:cxn>
              <a:cxn ang="0">
                <a:pos x="T6" y="T7"/>
              </a:cxn>
              <a:cxn ang="0">
                <a:pos x="T8" y="T9"/>
              </a:cxn>
            </a:cxnLst>
            <a:rect l="0" t="0" r="r" b="b"/>
            <a:pathLst>
              <a:path w="891" h="810">
                <a:moveTo>
                  <a:pt x="817" y="0"/>
                </a:moveTo>
                <a:lnTo>
                  <a:pt x="891" y="810"/>
                </a:lnTo>
                <a:lnTo>
                  <a:pt x="0" y="810"/>
                </a:lnTo>
                <a:lnTo>
                  <a:pt x="73" y="0"/>
                </a:lnTo>
                <a:lnTo>
                  <a:pt x="817" y="0"/>
                </a:lnTo>
                <a:close/>
              </a:path>
            </a:pathLst>
          </a:custGeom>
          <a:solidFill>
            <a:schemeClr val="bg1">
              <a:lumMod val="75000"/>
            </a:schemeClr>
          </a:solidFill>
          <a:ln w="3175">
            <a:solidFill>
              <a:schemeClr val="bg1"/>
            </a:solidFill>
          </a:ln>
          <a:effectLst>
            <a:softEdge rad="152400"/>
          </a:effectLst>
        </p:spPr>
        <p:txBody>
          <a:bodyPr vert="horz" wrap="square" lIns="91440" tIns="45720" rIns="91440" bIns="45720" numCol="1" anchor="t" anchorCtr="0" compatLnSpc="1">
            <a:prstTxWarp prst="textNoShape">
              <a:avLst/>
            </a:prstTxWarp>
          </a:bodyPr>
          <a:lstStyle/>
          <a:p>
            <a:endParaRPr lang="en-US" sz="1400"/>
          </a:p>
        </p:txBody>
      </p:sp>
      <p:sp>
        <p:nvSpPr>
          <p:cNvPr id="17" name="Freeform 28"/>
          <p:cNvSpPr>
            <a:spLocks/>
          </p:cNvSpPr>
          <p:nvPr/>
        </p:nvSpPr>
        <p:spPr bwMode="auto">
          <a:xfrm>
            <a:off x="7176766" y="4721138"/>
            <a:ext cx="1407721" cy="86897"/>
          </a:xfrm>
          <a:custGeom>
            <a:avLst/>
            <a:gdLst>
              <a:gd name="T0" fmla="*/ 891 w 891"/>
              <a:gd name="T1" fmla="*/ 0 h 55"/>
              <a:gd name="T2" fmla="*/ 805 w 891"/>
              <a:gd name="T3" fmla="*/ 55 h 55"/>
              <a:gd name="T4" fmla="*/ 85 w 891"/>
              <a:gd name="T5" fmla="*/ 55 h 55"/>
              <a:gd name="T6" fmla="*/ 0 w 891"/>
              <a:gd name="T7" fmla="*/ 0 h 55"/>
              <a:gd name="T8" fmla="*/ 891 w 891"/>
              <a:gd name="T9" fmla="*/ 0 h 55"/>
            </a:gdLst>
            <a:ahLst/>
            <a:cxnLst>
              <a:cxn ang="0">
                <a:pos x="T0" y="T1"/>
              </a:cxn>
              <a:cxn ang="0">
                <a:pos x="T2" y="T3"/>
              </a:cxn>
              <a:cxn ang="0">
                <a:pos x="T4" y="T5"/>
              </a:cxn>
              <a:cxn ang="0">
                <a:pos x="T6" y="T7"/>
              </a:cxn>
              <a:cxn ang="0">
                <a:pos x="T8" y="T9"/>
              </a:cxn>
            </a:cxnLst>
            <a:rect l="0" t="0" r="r" b="b"/>
            <a:pathLst>
              <a:path w="891" h="55">
                <a:moveTo>
                  <a:pt x="891" y="0"/>
                </a:moveTo>
                <a:lnTo>
                  <a:pt x="805" y="55"/>
                </a:lnTo>
                <a:lnTo>
                  <a:pt x="85" y="55"/>
                </a:lnTo>
                <a:lnTo>
                  <a:pt x="0" y="0"/>
                </a:lnTo>
                <a:lnTo>
                  <a:pt x="891" y="0"/>
                </a:lnTo>
                <a:close/>
              </a:path>
            </a:pathLst>
          </a:custGeom>
          <a:solidFill>
            <a:schemeClr val="accent1">
              <a:lumMod val="75000"/>
            </a:schemeClr>
          </a:solidFill>
          <a:ln w="317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18ABB"/>
              </a:solidFill>
            </a:endParaRPr>
          </a:p>
        </p:txBody>
      </p:sp>
      <p:sp>
        <p:nvSpPr>
          <p:cNvPr id="18" name="Freeform 29"/>
          <p:cNvSpPr>
            <a:spLocks/>
          </p:cNvSpPr>
          <p:nvPr/>
        </p:nvSpPr>
        <p:spPr bwMode="auto">
          <a:xfrm>
            <a:off x="7176766" y="3441394"/>
            <a:ext cx="1407721" cy="1279744"/>
          </a:xfrm>
          <a:custGeom>
            <a:avLst/>
            <a:gdLst>
              <a:gd name="T0" fmla="*/ 817 w 891"/>
              <a:gd name="T1" fmla="*/ 0 h 810"/>
              <a:gd name="T2" fmla="*/ 891 w 891"/>
              <a:gd name="T3" fmla="*/ 810 h 810"/>
              <a:gd name="T4" fmla="*/ 0 w 891"/>
              <a:gd name="T5" fmla="*/ 810 h 810"/>
              <a:gd name="T6" fmla="*/ 73 w 891"/>
              <a:gd name="T7" fmla="*/ 0 h 810"/>
              <a:gd name="T8" fmla="*/ 817 w 891"/>
              <a:gd name="T9" fmla="*/ 0 h 810"/>
            </a:gdLst>
            <a:ahLst/>
            <a:cxnLst>
              <a:cxn ang="0">
                <a:pos x="T0" y="T1"/>
              </a:cxn>
              <a:cxn ang="0">
                <a:pos x="T2" y="T3"/>
              </a:cxn>
              <a:cxn ang="0">
                <a:pos x="T4" y="T5"/>
              </a:cxn>
              <a:cxn ang="0">
                <a:pos x="T6" y="T7"/>
              </a:cxn>
              <a:cxn ang="0">
                <a:pos x="T8" y="T9"/>
              </a:cxn>
            </a:cxnLst>
            <a:rect l="0" t="0" r="r" b="b"/>
            <a:pathLst>
              <a:path w="891" h="810">
                <a:moveTo>
                  <a:pt x="817" y="0"/>
                </a:moveTo>
                <a:lnTo>
                  <a:pt x="891" y="810"/>
                </a:lnTo>
                <a:lnTo>
                  <a:pt x="0" y="810"/>
                </a:lnTo>
                <a:lnTo>
                  <a:pt x="73" y="0"/>
                </a:lnTo>
                <a:lnTo>
                  <a:pt x="817" y="0"/>
                </a:lnTo>
                <a:close/>
              </a:path>
            </a:pathLst>
          </a:custGeom>
          <a:solidFill>
            <a:srgbClr val="01678C"/>
          </a:solidFill>
          <a:ln w="317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7" name="Content Placeholder 2"/>
          <p:cNvSpPr txBox="1">
            <a:spLocks/>
          </p:cNvSpPr>
          <p:nvPr/>
        </p:nvSpPr>
        <p:spPr>
          <a:xfrm>
            <a:off x="7473079" y="4923243"/>
            <a:ext cx="2311273" cy="307777"/>
          </a:xfrm>
          <a:prstGeom prst="rect">
            <a:avLst/>
          </a:prstGeom>
          <a:noFill/>
        </p:spPr>
        <p:txBody>
          <a:bodyPr wrap="square">
            <a:spAutoFit/>
          </a:bodyPr>
          <a:lstStyle>
            <a:defPPr>
              <a:defRPr lang="en-US"/>
            </a:defPPr>
            <a:lvl1pPr>
              <a:defRPr sz="6600" spc="-15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1400" b="1" spc="0" dirty="0">
                <a:solidFill>
                  <a:srgbClr val="01678C"/>
                </a:solidFill>
                <a:latin typeface="Montserrat" panose="00000500000000000000" pitchFamily="2" charset="0"/>
              </a:rPr>
              <a:t>Strengths</a:t>
            </a:r>
          </a:p>
        </p:txBody>
      </p:sp>
      <p:sp>
        <p:nvSpPr>
          <p:cNvPr id="28" name="Rectangle 27"/>
          <p:cNvSpPr/>
          <p:nvPr/>
        </p:nvSpPr>
        <p:spPr>
          <a:xfrm>
            <a:off x="9798751" y="2767886"/>
            <a:ext cx="2043293" cy="707886"/>
          </a:xfrm>
          <a:prstGeom prst="rect">
            <a:avLst/>
          </a:prstGeom>
        </p:spPr>
        <p:txBody>
          <a:bodyPr wrap="square">
            <a:spAutoFit/>
          </a:bodyPr>
          <a:lstStyle/>
          <a:p>
            <a:pPr>
              <a:buClr>
                <a:srgbClr val="E24848"/>
              </a:buClr>
              <a:defRPr/>
            </a:pPr>
            <a:r>
              <a:rPr lang="en-US" sz="10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p>
        </p:txBody>
      </p:sp>
      <p:sp>
        <p:nvSpPr>
          <p:cNvPr id="29" name="Content Placeholder 2"/>
          <p:cNvSpPr txBox="1">
            <a:spLocks/>
          </p:cNvSpPr>
          <p:nvPr/>
        </p:nvSpPr>
        <p:spPr>
          <a:xfrm>
            <a:off x="4063762" y="2480300"/>
            <a:ext cx="1910143" cy="307777"/>
          </a:xfrm>
          <a:prstGeom prst="rect">
            <a:avLst/>
          </a:prstGeom>
          <a:noFill/>
        </p:spPr>
        <p:txBody>
          <a:bodyPr wrap="square">
            <a:spAutoFit/>
          </a:bodyPr>
          <a:lstStyle>
            <a:defPPr>
              <a:defRPr lang="en-US"/>
            </a:defPPr>
            <a:lvl1pPr>
              <a:defRPr sz="6600" spc="-15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pPr algn="r"/>
            <a:r>
              <a:rPr lang="en-US" sz="1400" b="1" spc="0" dirty="0">
                <a:solidFill>
                  <a:srgbClr val="01678C"/>
                </a:solidFill>
                <a:latin typeface="Montserrat" panose="00000500000000000000" pitchFamily="2" charset="0"/>
              </a:rPr>
              <a:t>Strengths</a:t>
            </a:r>
          </a:p>
        </p:txBody>
      </p:sp>
      <p:sp>
        <p:nvSpPr>
          <p:cNvPr id="30" name="Rectangle 29"/>
          <p:cNvSpPr/>
          <p:nvPr/>
        </p:nvSpPr>
        <p:spPr>
          <a:xfrm>
            <a:off x="4380089" y="2788077"/>
            <a:ext cx="1593816" cy="861774"/>
          </a:xfrm>
          <a:prstGeom prst="rect">
            <a:avLst/>
          </a:prstGeom>
        </p:spPr>
        <p:txBody>
          <a:bodyPr wrap="square">
            <a:spAutoFit/>
          </a:bodyPr>
          <a:lstStyle/>
          <a:p>
            <a:pPr algn="r">
              <a:buClr>
                <a:srgbClr val="E24848"/>
              </a:buClr>
              <a:defRPr/>
            </a:pPr>
            <a:r>
              <a:rPr lang="en-US" sz="10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p>
        </p:txBody>
      </p:sp>
      <p:sp>
        <p:nvSpPr>
          <p:cNvPr id="31" name="Content Placeholder 2"/>
          <p:cNvSpPr txBox="1">
            <a:spLocks/>
          </p:cNvSpPr>
          <p:nvPr/>
        </p:nvSpPr>
        <p:spPr>
          <a:xfrm>
            <a:off x="7480778" y="441287"/>
            <a:ext cx="1910143" cy="307777"/>
          </a:xfrm>
          <a:prstGeom prst="rect">
            <a:avLst/>
          </a:prstGeom>
          <a:noFill/>
        </p:spPr>
        <p:txBody>
          <a:bodyPr wrap="square">
            <a:spAutoFit/>
          </a:bodyPr>
          <a:lstStyle>
            <a:defPPr>
              <a:defRPr lang="en-US"/>
            </a:defPPr>
            <a:lvl1pPr>
              <a:defRPr sz="6600" spc="-15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1400" b="1" spc="0" dirty="0">
                <a:solidFill>
                  <a:srgbClr val="01678C"/>
                </a:solidFill>
                <a:latin typeface="Montserrat" panose="00000500000000000000" pitchFamily="2" charset="0"/>
              </a:rPr>
              <a:t>Strengths</a:t>
            </a:r>
          </a:p>
        </p:txBody>
      </p:sp>
      <p:sp>
        <p:nvSpPr>
          <p:cNvPr id="32" name="Rectangle 31"/>
          <p:cNvSpPr/>
          <p:nvPr/>
        </p:nvSpPr>
        <p:spPr>
          <a:xfrm>
            <a:off x="7480778" y="752054"/>
            <a:ext cx="2311273" cy="553998"/>
          </a:xfrm>
          <a:prstGeom prst="rect">
            <a:avLst/>
          </a:prstGeom>
        </p:spPr>
        <p:txBody>
          <a:bodyPr wrap="square">
            <a:spAutoFit/>
          </a:bodyPr>
          <a:lstStyle/>
          <a:p>
            <a:pPr>
              <a:buClr>
                <a:srgbClr val="E24848"/>
              </a:buClr>
              <a:defRPr/>
            </a:pPr>
            <a:r>
              <a:rPr lang="en-US" sz="10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p>
        </p:txBody>
      </p:sp>
      <p:sp>
        <p:nvSpPr>
          <p:cNvPr id="33" name="Content Placeholder 2"/>
          <p:cNvSpPr txBox="1">
            <a:spLocks/>
          </p:cNvSpPr>
          <p:nvPr/>
        </p:nvSpPr>
        <p:spPr>
          <a:xfrm>
            <a:off x="9828810" y="2472152"/>
            <a:ext cx="1910143" cy="307777"/>
          </a:xfrm>
          <a:prstGeom prst="rect">
            <a:avLst/>
          </a:prstGeom>
          <a:noFill/>
        </p:spPr>
        <p:txBody>
          <a:bodyPr wrap="square">
            <a:spAutoFit/>
          </a:bodyPr>
          <a:lstStyle>
            <a:defPPr>
              <a:defRPr lang="en-US"/>
            </a:defPPr>
            <a:lvl1pPr>
              <a:defRPr sz="6600" spc="-15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1400" b="1" spc="0" dirty="0">
                <a:solidFill>
                  <a:srgbClr val="01678C"/>
                </a:solidFill>
                <a:latin typeface="Montserrat" panose="00000500000000000000" pitchFamily="2" charset="0"/>
              </a:rPr>
              <a:t>Strengths</a:t>
            </a:r>
          </a:p>
        </p:txBody>
      </p:sp>
      <p:sp>
        <p:nvSpPr>
          <p:cNvPr id="34" name="Title 11"/>
          <p:cNvSpPr txBox="1">
            <a:spLocks/>
          </p:cNvSpPr>
          <p:nvPr/>
        </p:nvSpPr>
        <p:spPr>
          <a:xfrm>
            <a:off x="615105" y="4735292"/>
            <a:ext cx="3435161" cy="192764"/>
          </a:xfrm>
          <a:prstGeom prst="rect">
            <a:avLst/>
          </a:prstGeom>
        </p:spPr>
        <p:txBody>
          <a:bodyPr vert="horz"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dirty="0">
                <a:solidFill>
                  <a:schemeClr val="tx1">
                    <a:lumMod val="85000"/>
                    <a:lumOff val="15000"/>
                  </a:schemeClr>
                </a:solidFill>
                <a:ea typeface="Roboto" panose="02000000000000000000" pitchFamily="2" charset="0"/>
                <a:cs typeface="Open Sans Light" panose="020B0306030504020204" pitchFamily="34" charset="0"/>
              </a:rPr>
              <a:t>Insert Your Creative Idea </a:t>
            </a:r>
          </a:p>
        </p:txBody>
      </p:sp>
      <p:grpSp>
        <p:nvGrpSpPr>
          <p:cNvPr id="35" name="Group 34"/>
          <p:cNvGrpSpPr/>
          <p:nvPr/>
        </p:nvGrpSpPr>
        <p:grpSpPr>
          <a:xfrm>
            <a:off x="6587857" y="2289138"/>
            <a:ext cx="482600" cy="746126"/>
            <a:chOff x="4692650" y="560388"/>
            <a:chExt cx="482600" cy="746126"/>
          </a:xfrm>
          <a:solidFill>
            <a:schemeClr val="tx1">
              <a:lumMod val="85000"/>
              <a:lumOff val="15000"/>
            </a:schemeClr>
          </a:solidFill>
        </p:grpSpPr>
        <p:sp>
          <p:nvSpPr>
            <p:cNvPr id="36" name="Freeform 152"/>
            <p:cNvSpPr>
              <a:spLocks noEditPoints="1"/>
            </p:cNvSpPr>
            <p:nvPr/>
          </p:nvSpPr>
          <p:spPr bwMode="auto">
            <a:xfrm>
              <a:off x="4735512" y="698501"/>
              <a:ext cx="439738" cy="608013"/>
            </a:xfrm>
            <a:custGeom>
              <a:avLst/>
              <a:gdLst>
                <a:gd name="T0" fmla="*/ 750 w 831"/>
                <a:gd name="T1" fmla="*/ 573 h 1149"/>
                <a:gd name="T2" fmla="*/ 686 w 831"/>
                <a:gd name="T3" fmla="*/ 193 h 1149"/>
                <a:gd name="T4" fmla="*/ 670 w 831"/>
                <a:gd name="T5" fmla="*/ 245 h 1149"/>
                <a:gd name="T6" fmla="*/ 656 w 831"/>
                <a:gd name="T7" fmla="*/ 325 h 1149"/>
                <a:gd name="T8" fmla="*/ 654 w 831"/>
                <a:gd name="T9" fmla="*/ 552 h 1149"/>
                <a:gd name="T10" fmla="*/ 671 w 831"/>
                <a:gd name="T11" fmla="*/ 620 h 1149"/>
                <a:gd name="T12" fmla="*/ 699 w 831"/>
                <a:gd name="T13" fmla="*/ 778 h 1149"/>
                <a:gd name="T14" fmla="*/ 708 w 831"/>
                <a:gd name="T15" fmla="*/ 870 h 1149"/>
                <a:gd name="T16" fmla="*/ 708 w 831"/>
                <a:gd name="T17" fmla="*/ 1149 h 1149"/>
                <a:gd name="T18" fmla="*/ 618 w 831"/>
                <a:gd name="T19" fmla="*/ 1107 h 1149"/>
                <a:gd name="T20" fmla="*/ 612 w 831"/>
                <a:gd name="T21" fmla="*/ 942 h 1149"/>
                <a:gd name="T22" fmla="*/ 602 w 831"/>
                <a:gd name="T23" fmla="*/ 847 h 1149"/>
                <a:gd name="T24" fmla="*/ 585 w 831"/>
                <a:gd name="T25" fmla="*/ 764 h 1149"/>
                <a:gd name="T26" fmla="*/ 514 w 831"/>
                <a:gd name="T27" fmla="*/ 536 h 1149"/>
                <a:gd name="T28" fmla="*/ 384 w 831"/>
                <a:gd name="T29" fmla="*/ 744 h 1149"/>
                <a:gd name="T30" fmla="*/ 392 w 831"/>
                <a:gd name="T31" fmla="*/ 689 h 1149"/>
                <a:gd name="T32" fmla="*/ 393 w 831"/>
                <a:gd name="T33" fmla="*/ 624 h 1149"/>
                <a:gd name="T34" fmla="*/ 380 w 831"/>
                <a:gd name="T35" fmla="*/ 550 h 1149"/>
                <a:gd name="T36" fmla="*/ 358 w 831"/>
                <a:gd name="T37" fmla="*/ 501 h 1149"/>
                <a:gd name="T38" fmla="*/ 334 w 831"/>
                <a:gd name="T39" fmla="*/ 468 h 1149"/>
                <a:gd name="T40" fmla="*/ 301 w 831"/>
                <a:gd name="T41" fmla="*/ 439 h 1149"/>
                <a:gd name="T42" fmla="*/ 321 w 831"/>
                <a:gd name="T43" fmla="*/ 420 h 1149"/>
                <a:gd name="T44" fmla="*/ 349 w 831"/>
                <a:gd name="T45" fmla="*/ 380 h 1149"/>
                <a:gd name="T46" fmla="*/ 360 w 831"/>
                <a:gd name="T47" fmla="*/ 349 h 1149"/>
                <a:gd name="T48" fmla="*/ 362 w 831"/>
                <a:gd name="T49" fmla="*/ 326 h 1149"/>
                <a:gd name="T50" fmla="*/ 292 w 831"/>
                <a:gd name="T51" fmla="*/ 309 h 1149"/>
                <a:gd name="T52" fmla="*/ 284 w 831"/>
                <a:gd name="T53" fmla="*/ 319 h 1149"/>
                <a:gd name="T54" fmla="*/ 262 w 831"/>
                <a:gd name="T55" fmla="*/ 334 h 1149"/>
                <a:gd name="T56" fmla="*/ 236 w 831"/>
                <a:gd name="T57" fmla="*/ 335 h 1149"/>
                <a:gd name="T58" fmla="*/ 202 w 831"/>
                <a:gd name="T59" fmla="*/ 318 h 1149"/>
                <a:gd name="T60" fmla="*/ 0 w 831"/>
                <a:gd name="T61" fmla="*/ 102 h 1149"/>
                <a:gd name="T62" fmla="*/ 224 w 831"/>
                <a:gd name="T63" fmla="*/ 218 h 1149"/>
                <a:gd name="T64" fmla="*/ 256 w 831"/>
                <a:gd name="T65" fmla="*/ 135 h 1149"/>
                <a:gd name="T66" fmla="*/ 275 w 831"/>
                <a:gd name="T67" fmla="*/ 73 h 1149"/>
                <a:gd name="T68" fmla="*/ 287 w 831"/>
                <a:gd name="T69" fmla="*/ 51 h 1149"/>
                <a:gd name="T70" fmla="*/ 304 w 831"/>
                <a:gd name="T71" fmla="*/ 33 h 1149"/>
                <a:gd name="T72" fmla="*/ 351 w 831"/>
                <a:gd name="T73" fmla="*/ 11 h 1149"/>
                <a:gd name="T74" fmla="*/ 403 w 831"/>
                <a:gd name="T75" fmla="*/ 1 h 1149"/>
                <a:gd name="T76" fmla="*/ 470 w 831"/>
                <a:gd name="T77" fmla="*/ 1 h 1149"/>
                <a:gd name="T78" fmla="*/ 585 w 831"/>
                <a:gd name="T79" fmla="*/ 2 h 1149"/>
                <a:gd name="T80" fmla="*/ 632 w 831"/>
                <a:gd name="T81" fmla="*/ 11 h 1149"/>
                <a:gd name="T82" fmla="*/ 676 w 831"/>
                <a:gd name="T83" fmla="*/ 28 h 1149"/>
                <a:gd name="T84" fmla="*/ 720 w 831"/>
                <a:gd name="T85" fmla="*/ 57 h 1149"/>
                <a:gd name="T86" fmla="*/ 755 w 831"/>
                <a:gd name="T87" fmla="*/ 102 h 1149"/>
                <a:gd name="T88" fmla="*/ 764 w 831"/>
                <a:gd name="T89" fmla="*/ 121 h 1149"/>
                <a:gd name="T90" fmla="*/ 831 w 831"/>
                <a:gd name="T91" fmla="*/ 348 h 1149"/>
                <a:gd name="T92" fmla="*/ 497 w 831"/>
                <a:gd name="T93" fmla="*/ 45 h 1149"/>
                <a:gd name="T94" fmla="*/ 585 w 831"/>
                <a:gd name="T95" fmla="*/ 324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31" h="1149">
                  <a:moveTo>
                    <a:pt x="831" y="348"/>
                  </a:moveTo>
                  <a:lnTo>
                    <a:pt x="831" y="573"/>
                  </a:lnTo>
                  <a:lnTo>
                    <a:pt x="750" y="573"/>
                  </a:lnTo>
                  <a:lnTo>
                    <a:pt x="750" y="352"/>
                  </a:lnTo>
                  <a:lnTo>
                    <a:pt x="686" y="193"/>
                  </a:lnTo>
                  <a:lnTo>
                    <a:pt x="686" y="193"/>
                  </a:lnTo>
                  <a:lnTo>
                    <a:pt x="681" y="207"/>
                  </a:lnTo>
                  <a:lnTo>
                    <a:pt x="676" y="223"/>
                  </a:lnTo>
                  <a:lnTo>
                    <a:pt x="670" y="245"/>
                  </a:lnTo>
                  <a:lnTo>
                    <a:pt x="664" y="269"/>
                  </a:lnTo>
                  <a:lnTo>
                    <a:pt x="659" y="297"/>
                  </a:lnTo>
                  <a:lnTo>
                    <a:pt x="656" y="325"/>
                  </a:lnTo>
                  <a:lnTo>
                    <a:pt x="654" y="356"/>
                  </a:lnTo>
                  <a:lnTo>
                    <a:pt x="654" y="356"/>
                  </a:lnTo>
                  <a:lnTo>
                    <a:pt x="654" y="552"/>
                  </a:lnTo>
                  <a:lnTo>
                    <a:pt x="654" y="552"/>
                  </a:lnTo>
                  <a:lnTo>
                    <a:pt x="663" y="584"/>
                  </a:lnTo>
                  <a:lnTo>
                    <a:pt x="671" y="620"/>
                  </a:lnTo>
                  <a:lnTo>
                    <a:pt x="681" y="666"/>
                  </a:lnTo>
                  <a:lnTo>
                    <a:pt x="691" y="720"/>
                  </a:lnTo>
                  <a:lnTo>
                    <a:pt x="699" y="778"/>
                  </a:lnTo>
                  <a:lnTo>
                    <a:pt x="703" y="808"/>
                  </a:lnTo>
                  <a:lnTo>
                    <a:pt x="705" y="840"/>
                  </a:lnTo>
                  <a:lnTo>
                    <a:pt x="708" y="870"/>
                  </a:lnTo>
                  <a:lnTo>
                    <a:pt x="708" y="902"/>
                  </a:lnTo>
                  <a:lnTo>
                    <a:pt x="708" y="902"/>
                  </a:lnTo>
                  <a:lnTo>
                    <a:pt x="708" y="1149"/>
                  </a:lnTo>
                  <a:lnTo>
                    <a:pt x="618" y="1149"/>
                  </a:lnTo>
                  <a:lnTo>
                    <a:pt x="618" y="1149"/>
                  </a:lnTo>
                  <a:lnTo>
                    <a:pt x="618" y="1107"/>
                  </a:lnTo>
                  <a:lnTo>
                    <a:pt x="618" y="1061"/>
                  </a:lnTo>
                  <a:lnTo>
                    <a:pt x="616" y="1005"/>
                  </a:lnTo>
                  <a:lnTo>
                    <a:pt x="612" y="942"/>
                  </a:lnTo>
                  <a:lnTo>
                    <a:pt x="609" y="910"/>
                  </a:lnTo>
                  <a:lnTo>
                    <a:pt x="607" y="878"/>
                  </a:lnTo>
                  <a:lnTo>
                    <a:pt x="602" y="847"/>
                  </a:lnTo>
                  <a:lnTo>
                    <a:pt x="597" y="818"/>
                  </a:lnTo>
                  <a:lnTo>
                    <a:pt x="591" y="790"/>
                  </a:lnTo>
                  <a:lnTo>
                    <a:pt x="585" y="764"/>
                  </a:lnTo>
                  <a:lnTo>
                    <a:pt x="585" y="764"/>
                  </a:lnTo>
                  <a:lnTo>
                    <a:pt x="535" y="603"/>
                  </a:lnTo>
                  <a:lnTo>
                    <a:pt x="514" y="536"/>
                  </a:lnTo>
                  <a:lnTo>
                    <a:pt x="477" y="536"/>
                  </a:lnTo>
                  <a:lnTo>
                    <a:pt x="384" y="744"/>
                  </a:lnTo>
                  <a:lnTo>
                    <a:pt x="384" y="744"/>
                  </a:lnTo>
                  <a:lnTo>
                    <a:pt x="386" y="733"/>
                  </a:lnTo>
                  <a:lnTo>
                    <a:pt x="390" y="706"/>
                  </a:lnTo>
                  <a:lnTo>
                    <a:pt x="392" y="689"/>
                  </a:lnTo>
                  <a:lnTo>
                    <a:pt x="393" y="670"/>
                  </a:lnTo>
                  <a:lnTo>
                    <a:pt x="393" y="648"/>
                  </a:lnTo>
                  <a:lnTo>
                    <a:pt x="393" y="624"/>
                  </a:lnTo>
                  <a:lnTo>
                    <a:pt x="391" y="599"/>
                  </a:lnTo>
                  <a:lnTo>
                    <a:pt x="386" y="575"/>
                  </a:lnTo>
                  <a:lnTo>
                    <a:pt x="380" y="550"/>
                  </a:lnTo>
                  <a:lnTo>
                    <a:pt x="370" y="525"/>
                  </a:lnTo>
                  <a:lnTo>
                    <a:pt x="366" y="513"/>
                  </a:lnTo>
                  <a:lnTo>
                    <a:pt x="358" y="501"/>
                  </a:lnTo>
                  <a:lnTo>
                    <a:pt x="351" y="490"/>
                  </a:lnTo>
                  <a:lnTo>
                    <a:pt x="344" y="479"/>
                  </a:lnTo>
                  <a:lnTo>
                    <a:pt x="334" y="468"/>
                  </a:lnTo>
                  <a:lnTo>
                    <a:pt x="324" y="457"/>
                  </a:lnTo>
                  <a:lnTo>
                    <a:pt x="313" y="448"/>
                  </a:lnTo>
                  <a:lnTo>
                    <a:pt x="301" y="439"/>
                  </a:lnTo>
                  <a:lnTo>
                    <a:pt x="301" y="439"/>
                  </a:lnTo>
                  <a:lnTo>
                    <a:pt x="311" y="431"/>
                  </a:lnTo>
                  <a:lnTo>
                    <a:pt x="321" y="420"/>
                  </a:lnTo>
                  <a:lnTo>
                    <a:pt x="332" y="406"/>
                  </a:lnTo>
                  <a:lnTo>
                    <a:pt x="343" y="389"/>
                  </a:lnTo>
                  <a:lnTo>
                    <a:pt x="349" y="380"/>
                  </a:lnTo>
                  <a:lnTo>
                    <a:pt x="352" y="370"/>
                  </a:lnTo>
                  <a:lnTo>
                    <a:pt x="357" y="360"/>
                  </a:lnTo>
                  <a:lnTo>
                    <a:pt x="360" y="349"/>
                  </a:lnTo>
                  <a:lnTo>
                    <a:pt x="362" y="337"/>
                  </a:lnTo>
                  <a:lnTo>
                    <a:pt x="362" y="326"/>
                  </a:lnTo>
                  <a:lnTo>
                    <a:pt x="362" y="326"/>
                  </a:lnTo>
                  <a:lnTo>
                    <a:pt x="362" y="183"/>
                  </a:lnTo>
                  <a:lnTo>
                    <a:pt x="341" y="183"/>
                  </a:lnTo>
                  <a:lnTo>
                    <a:pt x="292" y="309"/>
                  </a:lnTo>
                  <a:lnTo>
                    <a:pt x="292" y="309"/>
                  </a:lnTo>
                  <a:lnTo>
                    <a:pt x="289" y="313"/>
                  </a:lnTo>
                  <a:lnTo>
                    <a:pt x="284" y="319"/>
                  </a:lnTo>
                  <a:lnTo>
                    <a:pt x="275" y="326"/>
                  </a:lnTo>
                  <a:lnTo>
                    <a:pt x="269" y="330"/>
                  </a:lnTo>
                  <a:lnTo>
                    <a:pt x="262" y="334"/>
                  </a:lnTo>
                  <a:lnTo>
                    <a:pt x="254" y="335"/>
                  </a:lnTo>
                  <a:lnTo>
                    <a:pt x="245" y="336"/>
                  </a:lnTo>
                  <a:lnTo>
                    <a:pt x="236" y="335"/>
                  </a:lnTo>
                  <a:lnTo>
                    <a:pt x="226" y="331"/>
                  </a:lnTo>
                  <a:lnTo>
                    <a:pt x="214" y="326"/>
                  </a:lnTo>
                  <a:lnTo>
                    <a:pt x="202" y="318"/>
                  </a:lnTo>
                  <a:lnTo>
                    <a:pt x="188" y="307"/>
                  </a:lnTo>
                  <a:lnTo>
                    <a:pt x="175" y="294"/>
                  </a:lnTo>
                  <a:lnTo>
                    <a:pt x="0" y="102"/>
                  </a:lnTo>
                  <a:lnTo>
                    <a:pt x="55" y="51"/>
                  </a:lnTo>
                  <a:lnTo>
                    <a:pt x="224" y="218"/>
                  </a:lnTo>
                  <a:lnTo>
                    <a:pt x="224" y="218"/>
                  </a:lnTo>
                  <a:lnTo>
                    <a:pt x="227" y="209"/>
                  </a:lnTo>
                  <a:lnTo>
                    <a:pt x="239" y="180"/>
                  </a:lnTo>
                  <a:lnTo>
                    <a:pt x="256" y="135"/>
                  </a:lnTo>
                  <a:lnTo>
                    <a:pt x="266" y="106"/>
                  </a:lnTo>
                  <a:lnTo>
                    <a:pt x="275" y="73"/>
                  </a:lnTo>
                  <a:lnTo>
                    <a:pt x="275" y="73"/>
                  </a:lnTo>
                  <a:lnTo>
                    <a:pt x="278" y="66"/>
                  </a:lnTo>
                  <a:lnTo>
                    <a:pt x="282" y="57"/>
                  </a:lnTo>
                  <a:lnTo>
                    <a:pt x="287" y="51"/>
                  </a:lnTo>
                  <a:lnTo>
                    <a:pt x="292" y="44"/>
                  </a:lnTo>
                  <a:lnTo>
                    <a:pt x="298" y="39"/>
                  </a:lnTo>
                  <a:lnTo>
                    <a:pt x="304" y="33"/>
                  </a:lnTo>
                  <a:lnTo>
                    <a:pt x="318" y="24"/>
                  </a:lnTo>
                  <a:lnTo>
                    <a:pt x="334" y="17"/>
                  </a:lnTo>
                  <a:lnTo>
                    <a:pt x="351" y="11"/>
                  </a:lnTo>
                  <a:lnTo>
                    <a:pt x="368" y="6"/>
                  </a:lnTo>
                  <a:lnTo>
                    <a:pt x="386" y="4"/>
                  </a:lnTo>
                  <a:lnTo>
                    <a:pt x="403" y="1"/>
                  </a:lnTo>
                  <a:lnTo>
                    <a:pt x="420" y="0"/>
                  </a:lnTo>
                  <a:lnTo>
                    <a:pt x="449" y="0"/>
                  </a:lnTo>
                  <a:lnTo>
                    <a:pt x="470" y="1"/>
                  </a:lnTo>
                  <a:lnTo>
                    <a:pt x="477" y="2"/>
                  </a:lnTo>
                  <a:lnTo>
                    <a:pt x="585" y="2"/>
                  </a:lnTo>
                  <a:lnTo>
                    <a:pt x="585" y="2"/>
                  </a:lnTo>
                  <a:lnTo>
                    <a:pt x="591" y="2"/>
                  </a:lnTo>
                  <a:lnTo>
                    <a:pt x="608" y="5"/>
                  </a:lnTo>
                  <a:lnTo>
                    <a:pt x="632" y="11"/>
                  </a:lnTo>
                  <a:lnTo>
                    <a:pt x="646" y="15"/>
                  </a:lnTo>
                  <a:lnTo>
                    <a:pt x="660" y="21"/>
                  </a:lnTo>
                  <a:lnTo>
                    <a:pt x="676" y="28"/>
                  </a:lnTo>
                  <a:lnTo>
                    <a:pt x="691" y="35"/>
                  </a:lnTo>
                  <a:lnTo>
                    <a:pt x="706" y="45"/>
                  </a:lnTo>
                  <a:lnTo>
                    <a:pt x="720" y="57"/>
                  </a:lnTo>
                  <a:lnTo>
                    <a:pt x="733" y="70"/>
                  </a:lnTo>
                  <a:lnTo>
                    <a:pt x="745" y="85"/>
                  </a:lnTo>
                  <a:lnTo>
                    <a:pt x="755" y="102"/>
                  </a:lnTo>
                  <a:lnTo>
                    <a:pt x="760" y="112"/>
                  </a:lnTo>
                  <a:lnTo>
                    <a:pt x="764" y="121"/>
                  </a:lnTo>
                  <a:lnTo>
                    <a:pt x="764" y="121"/>
                  </a:lnTo>
                  <a:lnTo>
                    <a:pt x="789" y="204"/>
                  </a:lnTo>
                  <a:lnTo>
                    <a:pt x="811" y="277"/>
                  </a:lnTo>
                  <a:lnTo>
                    <a:pt x="831" y="348"/>
                  </a:lnTo>
                  <a:lnTo>
                    <a:pt x="831" y="348"/>
                  </a:lnTo>
                  <a:close/>
                  <a:moveTo>
                    <a:pt x="585" y="324"/>
                  </a:moveTo>
                  <a:lnTo>
                    <a:pt x="497" y="45"/>
                  </a:lnTo>
                  <a:lnTo>
                    <a:pt x="408" y="324"/>
                  </a:lnTo>
                  <a:lnTo>
                    <a:pt x="497" y="440"/>
                  </a:lnTo>
                  <a:lnTo>
                    <a:pt x="585" y="3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53"/>
            <p:cNvSpPr>
              <a:spLocks/>
            </p:cNvSpPr>
            <p:nvPr/>
          </p:nvSpPr>
          <p:spPr bwMode="auto">
            <a:xfrm>
              <a:off x="4951412" y="722313"/>
              <a:ext cx="93663" cy="209550"/>
            </a:xfrm>
            <a:custGeom>
              <a:avLst/>
              <a:gdLst>
                <a:gd name="T0" fmla="*/ 89 w 177"/>
                <a:gd name="T1" fmla="*/ 0 h 395"/>
                <a:gd name="T2" fmla="*/ 177 w 177"/>
                <a:gd name="T3" fmla="*/ 279 h 395"/>
                <a:gd name="T4" fmla="*/ 89 w 177"/>
                <a:gd name="T5" fmla="*/ 395 h 395"/>
                <a:gd name="T6" fmla="*/ 0 w 177"/>
                <a:gd name="T7" fmla="*/ 279 h 395"/>
                <a:gd name="T8" fmla="*/ 89 w 177"/>
                <a:gd name="T9" fmla="*/ 0 h 395"/>
              </a:gdLst>
              <a:ahLst/>
              <a:cxnLst>
                <a:cxn ang="0">
                  <a:pos x="T0" y="T1"/>
                </a:cxn>
                <a:cxn ang="0">
                  <a:pos x="T2" y="T3"/>
                </a:cxn>
                <a:cxn ang="0">
                  <a:pos x="T4" y="T5"/>
                </a:cxn>
                <a:cxn ang="0">
                  <a:pos x="T6" y="T7"/>
                </a:cxn>
                <a:cxn ang="0">
                  <a:pos x="T8" y="T9"/>
                </a:cxn>
              </a:cxnLst>
              <a:rect l="0" t="0" r="r" b="b"/>
              <a:pathLst>
                <a:path w="177" h="395">
                  <a:moveTo>
                    <a:pt x="89" y="0"/>
                  </a:moveTo>
                  <a:lnTo>
                    <a:pt x="177" y="279"/>
                  </a:lnTo>
                  <a:lnTo>
                    <a:pt x="89" y="395"/>
                  </a:lnTo>
                  <a:lnTo>
                    <a:pt x="0" y="279"/>
                  </a:lnTo>
                  <a:lnTo>
                    <a:pt x="8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54"/>
            <p:cNvSpPr>
              <a:spLocks/>
            </p:cNvSpPr>
            <p:nvPr/>
          </p:nvSpPr>
          <p:spPr bwMode="auto">
            <a:xfrm>
              <a:off x="4930775" y="560388"/>
              <a:ext cx="119063" cy="120650"/>
            </a:xfrm>
            <a:custGeom>
              <a:avLst/>
              <a:gdLst>
                <a:gd name="T0" fmla="*/ 113 w 227"/>
                <a:gd name="T1" fmla="*/ 0 h 228"/>
                <a:gd name="T2" fmla="*/ 136 w 227"/>
                <a:gd name="T3" fmla="*/ 3 h 228"/>
                <a:gd name="T4" fmla="*/ 158 w 227"/>
                <a:gd name="T5" fmla="*/ 9 h 228"/>
                <a:gd name="T6" fmla="*/ 177 w 227"/>
                <a:gd name="T7" fmla="*/ 20 h 228"/>
                <a:gd name="T8" fmla="*/ 194 w 227"/>
                <a:gd name="T9" fmla="*/ 33 h 228"/>
                <a:gd name="T10" fmla="*/ 208 w 227"/>
                <a:gd name="T11" fmla="*/ 50 h 228"/>
                <a:gd name="T12" fmla="*/ 219 w 227"/>
                <a:gd name="T13" fmla="*/ 69 h 228"/>
                <a:gd name="T14" fmla="*/ 225 w 227"/>
                <a:gd name="T15" fmla="*/ 91 h 228"/>
                <a:gd name="T16" fmla="*/ 227 w 227"/>
                <a:gd name="T17" fmla="*/ 114 h 228"/>
                <a:gd name="T18" fmla="*/ 227 w 227"/>
                <a:gd name="T19" fmla="*/ 125 h 228"/>
                <a:gd name="T20" fmla="*/ 222 w 227"/>
                <a:gd name="T21" fmla="*/ 148 h 228"/>
                <a:gd name="T22" fmla="*/ 214 w 227"/>
                <a:gd name="T23" fmla="*/ 169 h 228"/>
                <a:gd name="T24" fmla="*/ 202 w 227"/>
                <a:gd name="T25" fmla="*/ 187 h 228"/>
                <a:gd name="T26" fmla="*/ 186 w 227"/>
                <a:gd name="T27" fmla="*/ 202 h 228"/>
                <a:gd name="T28" fmla="*/ 168 w 227"/>
                <a:gd name="T29" fmla="*/ 214 h 228"/>
                <a:gd name="T30" fmla="*/ 147 w 227"/>
                <a:gd name="T31" fmla="*/ 223 h 228"/>
                <a:gd name="T32" fmla="*/ 125 w 227"/>
                <a:gd name="T33" fmla="*/ 227 h 228"/>
                <a:gd name="T34" fmla="*/ 113 w 227"/>
                <a:gd name="T35" fmla="*/ 228 h 228"/>
                <a:gd name="T36" fmla="*/ 90 w 227"/>
                <a:gd name="T37" fmla="*/ 226 h 228"/>
                <a:gd name="T38" fmla="*/ 69 w 227"/>
                <a:gd name="T39" fmla="*/ 219 h 228"/>
                <a:gd name="T40" fmla="*/ 50 w 227"/>
                <a:gd name="T41" fmla="*/ 209 h 228"/>
                <a:gd name="T42" fmla="*/ 33 w 227"/>
                <a:gd name="T43" fmla="*/ 194 h 228"/>
                <a:gd name="T44" fmla="*/ 20 w 227"/>
                <a:gd name="T45" fmla="*/ 177 h 228"/>
                <a:gd name="T46" fmla="*/ 9 w 227"/>
                <a:gd name="T47" fmla="*/ 158 h 228"/>
                <a:gd name="T48" fmla="*/ 1 w 227"/>
                <a:gd name="T49" fmla="*/ 137 h 228"/>
                <a:gd name="T50" fmla="*/ 0 w 227"/>
                <a:gd name="T51" fmla="*/ 114 h 228"/>
                <a:gd name="T52" fmla="*/ 0 w 227"/>
                <a:gd name="T53" fmla="*/ 102 h 228"/>
                <a:gd name="T54" fmla="*/ 5 w 227"/>
                <a:gd name="T55" fmla="*/ 80 h 228"/>
                <a:gd name="T56" fmla="*/ 14 w 227"/>
                <a:gd name="T57" fmla="*/ 60 h 228"/>
                <a:gd name="T58" fmla="*/ 26 w 227"/>
                <a:gd name="T59" fmla="*/ 41 h 228"/>
                <a:gd name="T60" fmla="*/ 41 w 227"/>
                <a:gd name="T61" fmla="*/ 26 h 228"/>
                <a:gd name="T62" fmla="*/ 60 w 227"/>
                <a:gd name="T63" fmla="*/ 13 h 228"/>
                <a:gd name="T64" fmla="*/ 79 w 227"/>
                <a:gd name="T65" fmla="*/ 5 h 228"/>
                <a:gd name="T66" fmla="*/ 102 w 227"/>
                <a:gd name="T67" fmla="*/ 0 h 228"/>
                <a:gd name="T68" fmla="*/ 113 w 227"/>
                <a:gd name="T69"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7" h="228">
                  <a:moveTo>
                    <a:pt x="113" y="0"/>
                  </a:moveTo>
                  <a:lnTo>
                    <a:pt x="113" y="0"/>
                  </a:lnTo>
                  <a:lnTo>
                    <a:pt x="125" y="0"/>
                  </a:lnTo>
                  <a:lnTo>
                    <a:pt x="136" y="3"/>
                  </a:lnTo>
                  <a:lnTo>
                    <a:pt x="147" y="5"/>
                  </a:lnTo>
                  <a:lnTo>
                    <a:pt x="158" y="9"/>
                  </a:lnTo>
                  <a:lnTo>
                    <a:pt x="168" y="13"/>
                  </a:lnTo>
                  <a:lnTo>
                    <a:pt x="177" y="20"/>
                  </a:lnTo>
                  <a:lnTo>
                    <a:pt x="186" y="26"/>
                  </a:lnTo>
                  <a:lnTo>
                    <a:pt x="194" y="33"/>
                  </a:lnTo>
                  <a:lnTo>
                    <a:pt x="202" y="41"/>
                  </a:lnTo>
                  <a:lnTo>
                    <a:pt x="208" y="50"/>
                  </a:lnTo>
                  <a:lnTo>
                    <a:pt x="214" y="60"/>
                  </a:lnTo>
                  <a:lnTo>
                    <a:pt x="219" y="69"/>
                  </a:lnTo>
                  <a:lnTo>
                    <a:pt x="222" y="80"/>
                  </a:lnTo>
                  <a:lnTo>
                    <a:pt x="225" y="91"/>
                  </a:lnTo>
                  <a:lnTo>
                    <a:pt x="227" y="102"/>
                  </a:lnTo>
                  <a:lnTo>
                    <a:pt x="227" y="114"/>
                  </a:lnTo>
                  <a:lnTo>
                    <a:pt x="227" y="114"/>
                  </a:lnTo>
                  <a:lnTo>
                    <a:pt x="227" y="125"/>
                  </a:lnTo>
                  <a:lnTo>
                    <a:pt x="225" y="137"/>
                  </a:lnTo>
                  <a:lnTo>
                    <a:pt x="222" y="148"/>
                  </a:lnTo>
                  <a:lnTo>
                    <a:pt x="219" y="158"/>
                  </a:lnTo>
                  <a:lnTo>
                    <a:pt x="214" y="169"/>
                  </a:lnTo>
                  <a:lnTo>
                    <a:pt x="208" y="177"/>
                  </a:lnTo>
                  <a:lnTo>
                    <a:pt x="202" y="187"/>
                  </a:lnTo>
                  <a:lnTo>
                    <a:pt x="194" y="194"/>
                  </a:lnTo>
                  <a:lnTo>
                    <a:pt x="186" y="202"/>
                  </a:lnTo>
                  <a:lnTo>
                    <a:pt x="177" y="209"/>
                  </a:lnTo>
                  <a:lnTo>
                    <a:pt x="168" y="214"/>
                  </a:lnTo>
                  <a:lnTo>
                    <a:pt x="158" y="219"/>
                  </a:lnTo>
                  <a:lnTo>
                    <a:pt x="147" y="223"/>
                  </a:lnTo>
                  <a:lnTo>
                    <a:pt x="136" y="226"/>
                  </a:lnTo>
                  <a:lnTo>
                    <a:pt x="125" y="227"/>
                  </a:lnTo>
                  <a:lnTo>
                    <a:pt x="113" y="228"/>
                  </a:lnTo>
                  <a:lnTo>
                    <a:pt x="113" y="228"/>
                  </a:lnTo>
                  <a:lnTo>
                    <a:pt x="102" y="227"/>
                  </a:lnTo>
                  <a:lnTo>
                    <a:pt x="90" y="226"/>
                  </a:lnTo>
                  <a:lnTo>
                    <a:pt x="79" y="223"/>
                  </a:lnTo>
                  <a:lnTo>
                    <a:pt x="69" y="219"/>
                  </a:lnTo>
                  <a:lnTo>
                    <a:pt x="60" y="214"/>
                  </a:lnTo>
                  <a:lnTo>
                    <a:pt x="50" y="209"/>
                  </a:lnTo>
                  <a:lnTo>
                    <a:pt x="41" y="202"/>
                  </a:lnTo>
                  <a:lnTo>
                    <a:pt x="33" y="194"/>
                  </a:lnTo>
                  <a:lnTo>
                    <a:pt x="26" y="187"/>
                  </a:lnTo>
                  <a:lnTo>
                    <a:pt x="20" y="177"/>
                  </a:lnTo>
                  <a:lnTo>
                    <a:pt x="14" y="169"/>
                  </a:lnTo>
                  <a:lnTo>
                    <a:pt x="9" y="158"/>
                  </a:lnTo>
                  <a:lnTo>
                    <a:pt x="5" y="148"/>
                  </a:lnTo>
                  <a:lnTo>
                    <a:pt x="1" y="137"/>
                  </a:lnTo>
                  <a:lnTo>
                    <a:pt x="0" y="125"/>
                  </a:lnTo>
                  <a:lnTo>
                    <a:pt x="0" y="114"/>
                  </a:lnTo>
                  <a:lnTo>
                    <a:pt x="0" y="114"/>
                  </a:lnTo>
                  <a:lnTo>
                    <a:pt x="0" y="102"/>
                  </a:lnTo>
                  <a:lnTo>
                    <a:pt x="1" y="91"/>
                  </a:lnTo>
                  <a:lnTo>
                    <a:pt x="5" y="80"/>
                  </a:lnTo>
                  <a:lnTo>
                    <a:pt x="9" y="69"/>
                  </a:lnTo>
                  <a:lnTo>
                    <a:pt x="14" y="60"/>
                  </a:lnTo>
                  <a:lnTo>
                    <a:pt x="20" y="50"/>
                  </a:lnTo>
                  <a:lnTo>
                    <a:pt x="26" y="41"/>
                  </a:lnTo>
                  <a:lnTo>
                    <a:pt x="33" y="33"/>
                  </a:lnTo>
                  <a:lnTo>
                    <a:pt x="41" y="26"/>
                  </a:lnTo>
                  <a:lnTo>
                    <a:pt x="50" y="20"/>
                  </a:lnTo>
                  <a:lnTo>
                    <a:pt x="60" y="13"/>
                  </a:lnTo>
                  <a:lnTo>
                    <a:pt x="69" y="9"/>
                  </a:lnTo>
                  <a:lnTo>
                    <a:pt x="79" y="5"/>
                  </a:lnTo>
                  <a:lnTo>
                    <a:pt x="90" y="3"/>
                  </a:lnTo>
                  <a:lnTo>
                    <a:pt x="102" y="0"/>
                  </a:lnTo>
                  <a:lnTo>
                    <a:pt x="113" y="0"/>
                  </a:lnTo>
                  <a:lnTo>
                    <a:pt x="1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55"/>
            <p:cNvSpPr>
              <a:spLocks/>
            </p:cNvSpPr>
            <p:nvPr/>
          </p:nvSpPr>
          <p:spPr bwMode="auto">
            <a:xfrm>
              <a:off x="4692650" y="1255713"/>
              <a:ext cx="268288" cy="50800"/>
            </a:xfrm>
            <a:custGeom>
              <a:avLst/>
              <a:gdLst>
                <a:gd name="T0" fmla="*/ 507 w 507"/>
                <a:gd name="T1" fmla="*/ 66 h 96"/>
                <a:gd name="T2" fmla="*/ 507 w 507"/>
                <a:gd name="T3" fmla="*/ 66 h 96"/>
                <a:gd name="T4" fmla="*/ 507 w 507"/>
                <a:gd name="T5" fmla="*/ 73 h 96"/>
                <a:gd name="T6" fmla="*/ 506 w 507"/>
                <a:gd name="T7" fmla="*/ 82 h 96"/>
                <a:gd name="T8" fmla="*/ 504 w 507"/>
                <a:gd name="T9" fmla="*/ 89 h 96"/>
                <a:gd name="T10" fmla="*/ 501 w 507"/>
                <a:gd name="T11" fmla="*/ 96 h 96"/>
                <a:gd name="T12" fmla="*/ 6 w 507"/>
                <a:gd name="T13" fmla="*/ 96 h 96"/>
                <a:gd name="T14" fmla="*/ 6 w 507"/>
                <a:gd name="T15" fmla="*/ 96 h 96"/>
                <a:gd name="T16" fmla="*/ 4 w 507"/>
                <a:gd name="T17" fmla="*/ 89 h 96"/>
                <a:gd name="T18" fmla="*/ 1 w 507"/>
                <a:gd name="T19" fmla="*/ 82 h 96"/>
                <a:gd name="T20" fmla="*/ 0 w 507"/>
                <a:gd name="T21" fmla="*/ 73 h 96"/>
                <a:gd name="T22" fmla="*/ 0 w 507"/>
                <a:gd name="T23" fmla="*/ 66 h 96"/>
                <a:gd name="T24" fmla="*/ 0 w 507"/>
                <a:gd name="T25" fmla="*/ 66 h 96"/>
                <a:gd name="T26" fmla="*/ 0 w 507"/>
                <a:gd name="T27" fmla="*/ 52 h 96"/>
                <a:gd name="T28" fmla="*/ 4 w 507"/>
                <a:gd name="T29" fmla="*/ 40 h 96"/>
                <a:gd name="T30" fmla="*/ 9 w 507"/>
                <a:gd name="T31" fmla="*/ 29 h 96"/>
                <a:gd name="T32" fmla="*/ 16 w 507"/>
                <a:gd name="T33" fmla="*/ 20 h 96"/>
                <a:gd name="T34" fmla="*/ 23 w 507"/>
                <a:gd name="T35" fmla="*/ 11 h 96"/>
                <a:gd name="T36" fmla="*/ 33 w 507"/>
                <a:gd name="T37" fmla="*/ 5 h 96"/>
                <a:gd name="T38" fmla="*/ 43 w 507"/>
                <a:gd name="T39" fmla="*/ 1 h 96"/>
                <a:gd name="T40" fmla="*/ 53 w 507"/>
                <a:gd name="T41" fmla="*/ 0 h 96"/>
                <a:gd name="T42" fmla="*/ 454 w 507"/>
                <a:gd name="T43" fmla="*/ 0 h 96"/>
                <a:gd name="T44" fmla="*/ 454 w 507"/>
                <a:gd name="T45" fmla="*/ 0 h 96"/>
                <a:gd name="T46" fmla="*/ 464 w 507"/>
                <a:gd name="T47" fmla="*/ 1 h 96"/>
                <a:gd name="T48" fmla="*/ 474 w 507"/>
                <a:gd name="T49" fmla="*/ 5 h 96"/>
                <a:gd name="T50" fmla="*/ 483 w 507"/>
                <a:gd name="T51" fmla="*/ 11 h 96"/>
                <a:gd name="T52" fmla="*/ 491 w 507"/>
                <a:gd name="T53" fmla="*/ 20 h 96"/>
                <a:gd name="T54" fmla="*/ 498 w 507"/>
                <a:gd name="T55" fmla="*/ 29 h 96"/>
                <a:gd name="T56" fmla="*/ 502 w 507"/>
                <a:gd name="T57" fmla="*/ 40 h 96"/>
                <a:gd name="T58" fmla="*/ 506 w 507"/>
                <a:gd name="T59" fmla="*/ 52 h 96"/>
                <a:gd name="T60" fmla="*/ 507 w 507"/>
                <a:gd name="T61" fmla="*/ 66 h 96"/>
                <a:gd name="T62" fmla="*/ 507 w 507"/>
                <a:gd name="T63" fmla="*/ 6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7" h="96">
                  <a:moveTo>
                    <a:pt x="507" y="66"/>
                  </a:moveTo>
                  <a:lnTo>
                    <a:pt x="507" y="66"/>
                  </a:lnTo>
                  <a:lnTo>
                    <a:pt x="507" y="73"/>
                  </a:lnTo>
                  <a:lnTo>
                    <a:pt x="506" y="82"/>
                  </a:lnTo>
                  <a:lnTo>
                    <a:pt x="504" y="89"/>
                  </a:lnTo>
                  <a:lnTo>
                    <a:pt x="501" y="96"/>
                  </a:lnTo>
                  <a:lnTo>
                    <a:pt x="6" y="96"/>
                  </a:lnTo>
                  <a:lnTo>
                    <a:pt x="6" y="96"/>
                  </a:lnTo>
                  <a:lnTo>
                    <a:pt x="4" y="89"/>
                  </a:lnTo>
                  <a:lnTo>
                    <a:pt x="1" y="82"/>
                  </a:lnTo>
                  <a:lnTo>
                    <a:pt x="0" y="73"/>
                  </a:lnTo>
                  <a:lnTo>
                    <a:pt x="0" y="66"/>
                  </a:lnTo>
                  <a:lnTo>
                    <a:pt x="0" y="66"/>
                  </a:lnTo>
                  <a:lnTo>
                    <a:pt x="0" y="52"/>
                  </a:lnTo>
                  <a:lnTo>
                    <a:pt x="4" y="40"/>
                  </a:lnTo>
                  <a:lnTo>
                    <a:pt x="9" y="29"/>
                  </a:lnTo>
                  <a:lnTo>
                    <a:pt x="16" y="20"/>
                  </a:lnTo>
                  <a:lnTo>
                    <a:pt x="23" y="11"/>
                  </a:lnTo>
                  <a:lnTo>
                    <a:pt x="33" y="5"/>
                  </a:lnTo>
                  <a:lnTo>
                    <a:pt x="43" y="1"/>
                  </a:lnTo>
                  <a:lnTo>
                    <a:pt x="53" y="0"/>
                  </a:lnTo>
                  <a:lnTo>
                    <a:pt x="454" y="0"/>
                  </a:lnTo>
                  <a:lnTo>
                    <a:pt x="454" y="0"/>
                  </a:lnTo>
                  <a:lnTo>
                    <a:pt x="464" y="1"/>
                  </a:lnTo>
                  <a:lnTo>
                    <a:pt x="474" y="5"/>
                  </a:lnTo>
                  <a:lnTo>
                    <a:pt x="483" y="11"/>
                  </a:lnTo>
                  <a:lnTo>
                    <a:pt x="491" y="20"/>
                  </a:lnTo>
                  <a:lnTo>
                    <a:pt x="498" y="29"/>
                  </a:lnTo>
                  <a:lnTo>
                    <a:pt x="502" y="40"/>
                  </a:lnTo>
                  <a:lnTo>
                    <a:pt x="506" y="52"/>
                  </a:lnTo>
                  <a:lnTo>
                    <a:pt x="507" y="66"/>
                  </a:lnTo>
                  <a:lnTo>
                    <a:pt x="507"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6"/>
            <p:cNvSpPr>
              <a:spLocks/>
            </p:cNvSpPr>
            <p:nvPr/>
          </p:nvSpPr>
          <p:spPr bwMode="auto">
            <a:xfrm>
              <a:off x="4714875" y="1212851"/>
              <a:ext cx="223838" cy="36513"/>
            </a:xfrm>
            <a:custGeom>
              <a:avLst/>
              <a:gdLst>
                <a:gd name="T0" fmla="*/ 388 w 422"/>
                <a:gd name="T1" fmla="*/ 0 h 68"/>
                <a:gd name="T2" fmla="*/ 388 w 422"/>
                <a:gd name="T3" fmla="*/ 0 h 68"/>
                <a:gd name="T4" fmla="*/ 394 w 422"/>
                <a:gd name="T5" fmla="*/ 1 h 68"/>
                <a:gd name="T6" fmla="*/ 401 w 422"/>
                <a:gd name="T7" fmla="*/ 2 h 68"/>
                <a:gd name="T8" fmla="*/ 406 w 422"/>
                <a:gd name="T9" fmla="*/ 6 h 68"/>
                <a:gd name="T10" fmla="*/ 411 w 422"/>
                <a:gd name="T11" fmla="*/ 10 h 68"/>
                <a:gd name="T12" fmla="*/ 416 w 422"/>
                <a:gd name="T13" fmla="*/ 14 h 68"/>
                <a:gd name="T14" fmla="*/ 418 w 422"/>
                <a:gd name="T15" fmla="*/ 21 h 68"/>
                <a:gd name="T16" fmla="*/ 421 w 422"/>
                <a:gd name="T17" fmla="*/ 27 h 68"/>
                <a:gd name="T18" fmla="*/ 422 w 422"/>
                <a:gd name="T19" fmla="*/ 34 h 68"/>
                <a:gd name="T20" fmla="*/ 422 w 422"/>
                <a:gd name="T21" fmla="*/ 34 h 68"/>
                <a:gd name="T22" fmla="*/ 421 w 422"/>
                <a:gd name="T23" fmla="*/ 40 h 68"/>
                <a:gd name="T24" fmla="*/ 418 w 422"/>
                <a:gd name="T25" fmla="*/ 47 h 68"/>
                <a:gd name="T26" fmla="*/ 416 w 422"/>
                <a:gd name="T27" fmla="*/ 52 h 68"/>
                <a:gd name="T28" fmla="*/ 411 w 422"/>
                <a:gd name="T29" fmla="*/ 57 h 68"/>
                <a:gd name="T30" fmla="*/ 406 w 422"/>
                <a:gd name="T31" fmla="*/ 62 h 68"/>
                <a:gd name="T32" fmla="*/ 401 w 422"/>
                <a:gd name="T33" fmla="*/ 64 h 68"/>
                <a:gd name="T34" fmla="*/ 394 w 422"/>
                <a:gd name="T35" fmla="*/ 67 h 68"/>
                <a:gd name="T36" fmla="*/ 388 w 422"/>
                <a:gd name="T37" fmla="*/ 68 h 68"/>
                <a:gd name="T38" fmla="*/ 34 w 422"/>
                <a:gd name="T39" fmla="*/ 68 h 68"/>
                <a:gd name="T40" fmla="*/ 34 w 422"/>
                <a:gd name="T41" fmla="*/ 68 h 68"/>
                <a:gd name="T42" fmla="*/ 26 w 422"/>
                <a:gd name="T43" fmla="*/ 67 h 68"/>
                <a:gd name="T44" fmla="*/ 20 w 422"/>
                <a:gd name="T45" fmla="*/ 64 h 68"/>
                <a:gd name="T46" fmla="*/ 14 w 422"/>
                <a:gd name="T47" fmla="*/ 62 h 68"/>
                <a:gd name="T48" fmla="*/ 9 w 422"/>
                <a:gd name="T49" fmla="*/ 57 h 68"/>
                <a:gd name="T50" fmla="*/ 6 w 422"/>
                <a:gd name="T51" fmla="*/ 52 h 68"/>
                <a:gd name="T52" fmla="*/ 2 w 422"/>
                <a:gd name="T53" fmla="*/ 47 h 68"/>
                <a:gd name="T54" fmla="*/ 1 w 422"/>
                <a:gd name="T55" fmla="*/ 40 h 68"/>
                <a:gd name="T56" fmla="*/ 0 w 422"/>
                <a:gd name="T57" fmla="*/ 34 h 68"/>
                <a:gd name="T58" fmla="*/ 0 w 422"/>
                <a:gd name="T59" fmla="*/ 34 h 68"/>
                <a:gd name="T60" fmla="*/ 1 w 422"/>
                <a:gd name="T61" fmla="*/ 27 h 68"/>
                <a:gd name="T62" fmla="*/ 2 w 422"/>
                <a:gd name="T63" fmla="*/ 21 h 68"/>
                <a:gd name="T64" fmla="*/ 6 w 422"/>
                <a:gd name="T65" fmla="*/ 14 h 68"/>
                <a:gd name="T66" fmla="*/ 9 w 422"/>
                <a:gd name="T67" fmla="*/ 10 h 68"/>
                <a:gd name="T68" fmla="*/ 9 w 422"/>
                <a:gd name="T69" fmla="*/ 10 h 68"/>
                <a:gd name="T70" fmla="*/ 14 w 422"/>
                <a:gd name="T71" fmla="*/ 6 h 68"/>
                <a:gd name="T72" fmla="*/ 20 w 422"/>
                <a:gd name="T73" fmla="*/ 2 h 68"/>
                <a:gd name="T74" fmla="*/ 26 w 422"/>
                <a:gd name="T75" fmla="*/ 1 h 68"/>
                <a:gd name="T76" fmla="*/ 34 w 422"/>
                <a:gd name="T77" fmla="*/ 0 h 68"/>
                <a:gd name="T78" fmla="*/ 388 w 422"/>
                <a:gd name="T7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2" h="68">
                  <a:moveTo>
                    <a:pt x="388" y="0"/>
                  </a:moveTo>
                  <a:lnTo>
                    <a:pt x="388" y="0"/>
                  </a:lnTo>
                  <a:lnTo>
                    <a:pt x="394" y="1"/>
                  </a:lnTo>
                  <a:lnTo>
                    <a:pt x="401" y="2"/>
                  </a:lnTo>
                  <a:lnTo>
                    <a:pt x="406" y="6"/>
                  </a:lnTo>
                  <a:lnTo>
                    <a:pt x="411" y="10"/>
                  </a:lnTo>
                  <a:lnTo>
                    <a:pt x="416" y="14"/>
                  </a:lnTo>
                  <a:lnTo>
                    <a:pt x="418" y="21"/>
                  </a:lnTo>
                  <a:lnTo>
                    <a:pt x="421" y="27"/>
                  </a:lnTo>
                  <a:lnTo>
                    <a:pt x="422" y="34"/>
                  </a:lnTo>
                  <a:lnTo>
                    <a:pt x="422" y="34"/>
                  </a:lnTo>
                  <a:lnTo>
                    <a:pt x="421" y="40"/>
                  </a:lnTo>
                  <a:lnTo>
                    <a:pt x="418" y="47"/>
                  </a:lnTo>
                  <a:lnTo>
                    <a:pt x="416" y="52"/>
                  </a:lnTo>
                  <a:lnTo>
                    <a:pt x="411" y="57"/>
                  </a:lnTo>
                  <a:lnTo>
                    <a:pt x="406" y="62"/>
                  </a:lnTo>
                  <a:lnTo>
                    <a:pt x="401" y="64"/>
                  </a:lnTo>
                  <a:lnTo>
                    <a:pt x="394" y="67"/>
                  </a:lnTo>
                  <a:lnTo>
                    <a:pt x="388" y="68"/>
                  </a:lnTo>
                  <a:lnTo>
                    <a:pt x="34" y="68"/>
                  </a:lnTo>
                  <a:lnTo>
                    <a:pt x="34" y="68"/>
                  </a:lnTo>
                  <a:lnTo>
                    <a:pt x="26" y="67"/>
                  </a:lnTo>
                  <a:lnTo>
                    <a:pt x="20" y="64"/>
                  </a:lnTo>
                  <a:lnTo>
                    <a:pt x="14" y="62"/>
                  </a:lnTo>
                  <a:lnTo>
                    <a:pt x="9" y="57"/>
                  </a:lnTo>
                  <a:lnTo>
                    <a:pt x="6" y="52"/>
                  </a:lnTo>
                  <a:lnTo>
                    <a:pt x="2" y="47"/>
                  </a:lnTo>
                  <a:lnTo>
                    <a:pt x="1" y="40"/>
                  </a:lnTo>
                  <a:lnTo>
                    <a:pt x="0" y="34"/>
                  </a:lnTo>
                  <a:lnTo>
                    <a:pt x="0" y="34"/>
                  </a:lnTo>
                  <a:lnTo>
                    <a:pt x="1" y="27"/>
                  </a:lnTo>
                  <a:lnTo>
                    <a:pt x="2" y="21"/>
                  </a:lnTo>
                  <a:lnTo>
                    <a:pt x="6" y="14"/>
                  </a:lnTo>
                  <a:lnTo>
                    <a:pt x="9" y="10"/>
                  </a:lnTo>
                  <a:lnTo>
                    <a:pt x="9" y="10"/>
                  </a:lnTo>
                  <a:lnTo>
                    <a:pt x="14" y="6"/>
                  </a:lnTo>
                  <a:lnTo>
                    <a:pt x="20" y="2"/>
                  </a:lnTo>
                  <a:lnTo>
                    <a:pt x="26" y="1"/>
                  </a:lnTo>
                  <a:lnTo>
                    <a:pt x="34" y="0"/>
                  </a:lnTo>
                  <a:lnTo>
                    <a:pt x="3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57"/>
            <p:cNvSpPr>
              <a:spLocks/>
            </p:cNvSpPr>
            <p:nvPr/>
          </p:nvSpPr>
          <p:spPr bwMode="auto">
            <a:xfrm>
              <a:off x="4725987" y="1163638"/>
              <a:ext cx="200025" cy="39688"/>
            </a:xfrm>
            <a:custGeom>
              <a:avLst/>
              <a:gdLst>
                <a:gd name="T0" fmla="*/ 380 w 380"/>
                <a:gd name="T1" fmla="*/ 47 h 74"/>
                <a:gd name="T2" fmla="*/ 380 w 380"/>
                <a:gd name="T3" fmla="*/ 47 h 74"/>
                <a:gd name="T4" fmla="*/ 380 w 380"/>
                <a:gd name="T5" fmla="*/ 54 h 74"/>
                <a:gd name="T6" fmla="*/ 379 w 380"/>
                <a:gd name="T7" fmla="*/ 62 h 74"/>
                <a:gd name="T8" fmla="*/ 375 w 380"/>
                <a:gd name="T9" fmla="*/ 68 h 74"/>
                <a:gd name="T10" fmla="*/ 373 w 380"/>
                <a:gd name="T11" fmla="*/ 74 h 74"/>
                <a:gd name="T12" fmla="*/ 9 w 380"/>
                <a:gd name="T13" fmla="*/ 74 h 74"/>
                <a:gd name="T14" fmla="*/ 9 w 380"/>
                <a:gd name="T15" fmla="*/ 74 h 74"/>
                <a:gd name="T16" fmla="*/ 5 w 380"/>
                <a:gd name="T17" fmla="*/ 68 h 74"/>
                <a:gd name="T18" fmla="*/ 3 w 380"/>
                <a:gd name="T19" fmla="*/ 62 h 74"/>
                <a:gd name="T20" fmla="*/ 1 w 380"/>
                <a:gd name="T21" fmla="*/ 54 h 74"/>
                <a:gd name="T22" fmla="*/ 0 w 380"/>
                <a:gd name="T23" fmla="*/ 47 h 74"/>
                <a:gd name="T24" fmla="*/ 0 w 380"/>
                <a:gd name="T25" fmla="*/ 47 h 74"/>
                <a:gd name="T26" fmla="*/ 1 w 380"/>
                <a:gd name="T27" fmla="*/ 37 h 74"/>
                <a:gd name="T28" fmla="*/ 4 w 380"/>
                <a:gd name="T29" fmla="*/ 29 h 74"/>
                <a:gd name="T30" fmla="*/ 9 w 380"/>
                <a:gd name="T31" fmla="*/ 20 h 74"/>
                <a:gd name="T32" fmla="*/ 15 w 380"/>
                <a:gd name="T33" fmla="*/ 13 h 74"/>
                <a:gd name="T34" fmla="*/ 21 w 380"/>
                <a:gd name="T35" fmla="*/ 7 h 74"/>
                <a:gd name="T36" fmla="*/ 29 w 380"/>
                <a:gd name="T37" fmla="*/ 3 h 74"/>
                <a:gd name="T38" fmla="*/ 38 w 380"/>
                <a:gd name="T39" fmla="*/ 1 h 74"/>
                <a:gd name="T40" fmla="*/ 48 w 380"/>
                <a:gd name="T41" fmla="*/ 0 h 74"/>
                <a:gd name="T42" fmla="*/ 333 w 380"/>
                <a:gd name="T43" fmla="*/ 0 h 74"/>
                <a:gd name="T44" fmla="*/ 333 w 380"/>
                <a:gd name="T45" fmla="*/ 0 h 74"/>
                <a:gd name="T46" fmla="*/ 342 w 380"/>
                <a:gd name="T47" fmla="*/ 1 h 74"/>
                <a:gd name="T48" fmla="*/ 351 w 380"/>
                <a:gd name="T49" fmla="*/ 3 h 74"/>
                <a:gd name="T50" fmla="*/ 359 w 380"/>
                <a:gd name="T51" fmla="*/ 7 h 74"/>
                <a:gd name="T52" fmla="*/ 367 w 380"/>
                <a:gd name="T53" fmla="*/ 13 h 74"/>
                <a:gd name="T54" fmla="*/ 373 w 380"/>
                <a:gd name="T55" fmla="*/ 20 h 74"/>
                <a:gd name="T56" fmla="*/ 376 w 380"/>
                <a:gd name="T57" fmla="*/ 29 h 74"/>
                <a:gd name="T58" fmla="*/ 380 w 380"/>
                <a:gd name="T59" fmla="*/ 37 h 74"/>
                <a:gd name="T60" fmla="*/ 380 w 380"/>
                <a:gd name="T61" fmla="*/ 47 h 74"/>
                <a:gd name="T62" fmla="*/ 380 w 380"/>
                <a:gd name="T63" fmla="*/ 4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0" h="74">
                  <a:moveTo>
                    <a:pt x="380" y="47"/>
                  </a:moveTo>
                  <a:lnTo>
                    <a:pt x="380" y="47"/>
                  </a:lnTo>
                  <a:lnTo>
                    <a:pt x="380" y="54"/>
                  </a:lnTo>
                  <a:lnTo>
                    <a:pt x="379" y="62"/>
                  </a:lnTo>
                  <a:lnTo>
                    <a:pt x="375" y="68"/>
                  </a:lnTo>
                  <a:lnTo>
                    <a:pt x="373" y="74"/>
                  </a:lnTo>
                  <a:lnTo>
                    <a:pt x="9" y="74"/>
                  </a:lnTo>
                  <a:lnTo>
                    <a:pt x="9" y="74"/>
                  </a:lnTo>
                  <a:lnTo>
                    <a:pt x="5" y="68"/>
                  </a:lnTo>
                  <a:lnTo>
                    <a:pt x="3" y="62"/>
                  </a:lnTo>
                  <a:lnTo>
                    <a:pt x="1" y="54"/>
                  </a:lnTo>
                  <a:lnTo>
                    <a:pt x="0" y="47"/>
                  </a:lnTo>
                  <a:lnTo>
                    <a:pt x="0" y="47"/>
                  </a:lnTo>
                  <a:lnTo>
                    <a:pt x="1" y="37"/>
                  </a:lnTo>
                  <a:lnTo>
                    <a:pt x="4" y="29"/>
                  </a:lnTo>
                  <a:lnTo>
                    <a:pt x="9" y="20"/>
                  </a:lnTo>
                  <a:lnTo>
                    <a:pt x="15" y="13"/>
                  </a:lnTo>
                  <a:lnTo>
                    <a:pt x="21" y="7"/>
                  </a:lnTo>
                  <a:lnTo>
                    <a:pt x="29" y="3"/>
                  </a:lnTo>
                  <a:lnTo>
                    <a:pt x="38" y="1"/>
                  </a:lnTo>
                  <a:lnTo>
                    <a:pt x="48" y="0"/>
                  </a:lnTo>
                  <a:lnTo>
                    <a:pt x="333" y="0"/>
                  </a:lnTo>
                  <a:lnTo>
                    <a:pt x="333" y="0"/>
                  </a:lnTo>
                  <a:lnTo>
                    <a:pt x="342" y="1"/>
                  </a:lnTo>
                  <a:lnTo>
                    <a:pt x="351" y="3"/>
                  </a:lnTo>
                  <a:lnTo>
                    <a:pt x="359" y="7"/>
                  </a:lnTo>
                  <a:lnTo>
                    <a:pt x="367" y="13"/>
                  </a:lnTo>
                  <a:lnTo>
                    <a:pt x="373" y="20"/>
                  </a:lnTo>
                  <a:lnTo>
                    <a:pt x="376" y="29"/>
                  </a:lnTo>
                  <a:lnTo>
                    <a:pt x="380" y="37"/>
                  </a:lnTo>
                  <a:lnTo>
                    <a:pt x="380" y="47"/>
                  </a:lnTo>
                  <a:lnTo>
                    <a:pt x="380"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58"/>
            <p:cNvSpPr>
              <a:spLocks/>
            </p:cNvSpPr>
            <p:nvPr/>
          </p:nvSpPr>
          <p:spPr bwMode="auto">
            <a:xfrm>
              <a:off x="4700587" y="871538"/>
              <a:ext cx="233363" cy="284163"/>
            </a:xfrm>
            <a:custGeom>
              <a:avLst/>
              <a:gdLst>
                <a:gd name="T0" fmla="*/ 247 w 441"/>
                <a:gd name="T1" fmla="*/ 76 h 538"/>
                <a:gd name="T2" fmla="*/ 297 w 441"/>
                <a:gd name="T3" fmla="*/ 93 h 538"/>
                <a:gd name="T4" fmla="*/ 339 w 441"/>
                <a:gd name="T5" fmla="*/ 116 h 538"/>
                <a:gd name="T6" fmla="*/ 375 w 441"/>
                <a:gd name="T7" fmla="*/ 145 h 538"/>
                <a:gd name="T8" fmla="*/ 401 w 441"/>
                <a:gd name="T9" fmla="*/ 180 h 538"/>
                <a:gd name="T10" fmla="*/ 422 w 441"/>
                <a:gd name="T11" fmla="*/ 220 h 538"/>
                <a:gd name="T12" fmla="*/ 435 w 441"/>
                <a:gd name="T13" fmla="*/ 262 h 538"/>
                <a:gd name="T14" fmla="*/ 441 w 441"/>
                <a:gd name="T15" fmla="*/ 309 h 538"/>
                <a:gd name="T16" fmla="*/ 439 w 441"/>
                <a:gd name="T17" fmla="*/ 373 h 538"/>
                <a:gd name="T18" fmla="*/ 416 w 441"/>
                <a:gd name="T19" fmla="*/ 470 h 538"/>
                <a:gd name="T20" fmla="*/ 402 w 441"/>
                <a:gd name="T21" fmla="*/ 493 h 538"/>
                <a:gd name="T22" fmla="*/ 394 w 441"/>
                <a:gd name="T23" fmla="*/ 517 h 538"/>
                <a:gd name="T24" fmla="*/ 394 w 441"/>
                <a:gd name="T25" fmla="*/ 538 h 538"/>
                <a:gd name="T26" fmla="*/ 116 w 441"/>
                <a:gd name="T27" fmla="*/ 537 h 538"/>
                <a:gd name="T28" fmla="*/ 93 w 441"/>
                <a:gd name="T29" fmla="*/ 529 h 538"/>
                <a:gd name="T30" fmla="*/ 83 w 441"/>
                <a:gd name="T31" fmla="*/ 516 h 538"/>
                <a:gd name="T32" fmla="*/ 85 w 441"/>
                <a:gd name="T33" fmla="*/ 489 h 538"/>
                <a:gd name="T34" fmla="*/ 102 w 441"/>
                <a:gd name="T35" fmla="*/ 455 h 538"/>
                <a:gd name="T36" fmla="*/ 264 w 441"/>
                <a:gd name="T37" fmla="*/ 316 h 538"/>
                <a:gd name="T38" fmla="*/ 224 w 441"/>
                <a:gd name="T39" fmla="*/ 316 h 538"/>
                <a:gd name="T40" fmla="*/ 183 w 441"/>
                <a:gd name="T41" fmla="*/ 306 h 538"/>
                <a:gd name="T42" fmla="*/ 139 w 441"/>
                <a:gd name="T43" fmla="*/ 288 h 538"/>
                <a:gd name="T44" fmla="*/ 128 w 441"/>
                <a:gd name="T45" fmla="*/ 289 h 538"/>
                <a:gd name="T46" fmla="*/ 105 w 441"/>
                <a:gd name="T47" fmla="*/ 310 h 538"/>
                <a:gd name="T48" fmla="*/ 77 w 441"/>
                <a:gd name="T49" fmla="*/ 332 h 538"/>
                <a:gd name="T50" fmla="*/ 64 w 441"/>
                <a:gd name="T51" fmla="*/ 337 h 538"/>
                <a:gd name="T52" fmla="*/ 47 w 441"/>
                <a:gd name="T53" fmla="*/ 337 h 538"/>
                <a:gd name="T54" fmla="*/ 35 w 441"/>
                <a:gd name="T55" fmla="*/ 329 h 538"/>
                <a:gd name="T56" fmla="*/ 23 w 441"/>
                <a:gd name="T57" fmla="*/ 306 h 538"/>
                <a:gd name="T58" fmla="*/ 15 w 441"/>
                <a:gd name="T59" fmla="*/ 293 h 538"/>
                <a:gd name="T60" fmla="*/ 2 w 441"/>
                <a:gd name="T61" fmla="*/ 265 h 538"/>
                <a:gd name="T62" fmla="*/ 1 w 441"/>
                <a:gd name="T63" fmla="*/ 244 h 538"/>
                <a:gd name="T64" fmla="*/ 7 w 441"/>
                <a:gd name="T65" fmla="*/ 235 h 538"/>
                <a:gd name="T66" fmla="*/ 26 w 441"/>
                <a:gd name="T67" fmla="*/ 219 h 538"/>
                <a:gd name="T68" fmla="*/ 41 w 441"/>
                <a:gd name="T69" fmla="*/ 216 h 538"/>
                <a:gd name="T70" fmla="*/ 106 w 441"/>
                <a:gd name="T71" fmla="*/ 153 h 538"/>
                <a:gd name="T72" fmla="*/ 120 w 441"/>
                <a:gd name="T73" fmla="*/ 124 h 538"/>
                <a:gd name="T74" fmla="*/ 140 w 441"/>
                <a:gd name="T75" fmla="*/ 104 h 538"/>
                <a:gd name="T76" fmla="*/ 172 w 441"/>
                <a:gd name="T77" fmla="*/ 88 h 538"/>
                <a:gd name="T78" fmla="*/ 185 w 441"/>
                <a:gd name="T79" fmla="*/ 0 h 538"/>
                <a:gd name="T80" fmla="*/ 210 w 441"/>
                <a:gd name="T81" fmla="*/ 23 h 538"/>
                <a:gd name="T82" fmla="*/ 224 w 441"/>
                <a:gd name="T83" fmla="*/ 49 h 538"/>
                <a:gd name="T84" fmla="*/ 229 w 441"/>
                <a:gd name="T85" fmla="*/ 72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1" h="538">
                  <a:moveTo>
                    <a:pt x="229" y="72"/>
                  </a:moveTo>
                  <a:lnTo>
                    <a:pt x="229" y="72"/>
                  </a:lnTo>
                  <a:lnTo>
                    <a:pt x="247" y="76"/>
                  </a:lnTo>
                  <a:lnTo>
                    <a:pt x="265" y="80"/>
                  </a:lnTo>
                  <a:lnTo>
                    <a:pt x="281" y="85"/>
                  </a:lnTo>
                  <a:lnTo>
                    <a:pt x="297" y="93"/>
                  </a:lnTo>
                  <a:lnTo>
                    <a:pt x="313" y="99"/>
                  </a:lnTo>
                  <a:lnTo>
                    <a:pt x="326" y="107"/>
                  </a:lnTo>
                  <a:lnTo>
                    <a:pt x="339" y="116"/>
                  </a:lnTo>
                  <a:lnTo>
                    <a:pt x="352" y="124"/>
                  </a:lnTo>
                  <a:lnTo>
                    <a:pt x="364" y="134"/>
                  </a:lnTo>
                  <a:lnTo>
                    <a:pt x="375" y="145"/>
                  </a:lnTo>
                  <a:lnTo>
                    <a:pt x="384" y="156"/>
                  </a:lnTo>
                  <a:lnTo>
                    <a:pt x="393" y="168"/>
                  </a:lnTo>
                  <a:lnTo>
                    <a:pt x="401" y="180"/>
                  </a:lnTo>
                  <a:lnTo>
                    <a:pt x="409" y="192"/>
                  </a:lnTo>
                  <a:lnTo>
                    <a:pt x="416" y="205"/>
                  </a:lnTo>
                  <a:lnTo>
                    <a:pt x="422" y="220"/>
                  </a:lnTo>
                  <a:lnTo>
                    <a:pt x="427" y="233"/>
                  </a:lnTo>
                  <a:lnTo>
                    <a:pt x="432" y="248"/>
                  </a:lnTo>
                  <a:lnTo>
                    <a:pt x="435" y="262"/>
                  </a:lnTo>
                  <a:lnTo>
                    <a:pt x="438" y="277"/>
                  </a:lnTo>
                  <a:lnTo>
                    <a:pt x="440" y="293"/>
                  </a:lnTo>
                  <a:lnTo>
                    <a:pt x="441" y="309"/>
                  </a:lnTo>
                  <a:lnTo>
                    <a:pt x="441" y="324"/>
                  </a:lnTo>
                  <a:lnTo>
                    <a:pt x="441" y="340"/>
                  </a:lnTo>
                  <a:lnTo>
                    <a:pt x="439" y="373"/>
                  </a:lnTo>
                  <a:lnTo>
                    <a:pt x="434" y="404"/>
                  </a:lnTo>
                  <a:lnTo>
                    <a:pt x="426" y="437"/>
                  </a:lnTo>
                  <a:lnTo>
                    <a:pt x="416" y="470"/>
                  </a:lnTo>
                  <a:lnTo>
                    <a:pt x="416" y="470"/>
                  </a:lnTo>
                  <a:lnTo>
                    <a:pt x="410" y="480"/>
                  </a:lnTo>
                  <a:lnTo>
                    <a:pt x="402" y="493"/>
                  </a:lnTo>
                  <a:lnTo>
                    <a:pt x="396" y="506"/>
                  </a:lnTo>
                  <a:lnTo>
                    <a:pt x="394" y="512"/>
                  </a:lnTo>
                  <a:lnTo>
                    <a:pt x="394" y="517"/>
                  </a:lnTo>
                  <a:lnTo>
                    <a:pt x="394" y="517"/>
                  </a:lnTo>
                  <a:lnTo>
                    <a:pt x="394" y="538"/>
                  </a:lnTo>
                  <a:lnTo>
                    <a:pt x="394" y="538"/>
                  </a:lnTo>
                  <a:lnTo>
                    <a:pt x="134" y="538"/>
                  </a:lnTo>
                  <a:lnTo>
                    <a:pt x="134" y="538"/>
                  </a:lnTo>
                  <a:lnTo>
                    <a:pt x="116" y="537"/>
                  </a:lnTo>
                  <a:lnTo>
                    <a:pt x="103" y="534"/>
                  </a:lnTo>
                  <a:lnTo>
                    <a:pt x="98" y="532"/>
                  </a:lnTo>
                  <a:lnTo>
                    <a:pt x="93" y="529"/>
                  </a:lnTo>
                  <a:lnTo>
                    <a:pt x="89" y="526"/>
                  </a:lnTo>
                  <a:lnTo>
                    <a:pt x="87" y="523"/>
                  </a:lnTo>
                  <a:lnTo>
                    <a:pt x="83" y="516"/>
                  </a:lnTo>
                  <a:lnTo>
                    <a:pt x="82" y="508"/>
                  </a:lnTo>
                  <a:lnTo>
                    <a:pt x="82" y="499"/>
                  </a:lnTo>
                  <a:lnTo>
                    <a:pt x="85" y="489"/>
                  </a:lnTo>
                  <a:lnTo>
                    <a:pt x="88" y="481"/>
                  </a:lnTo>
                  <a:lnTo>
                    <a:pt x="92" y="471"/>
                  </a:lnTo>
                  <a:lnTo>
                    <a:pt x="102" y="455"/>
                  </a:lnTo>
                  <a:lnTo>
                    <a:pt x="110" y="445"/>
                  </a:lnTo>
                  <a:lnTo>
                    <a:pt x="114" y="441"/>
                  </a:lnTo>
                  <a:lnTo>
                    <a:pt x="264" y="316"/>
                  </a:lnTo>
                  <a:lnTo>
                    <a:pt x="264" y="316"/>
                  </a:lnTo>
                  <a:lnTo>
                    <a:pt x="224" y="316"/>
                  </a:lnTo>
                  <a:lnTo>
                    <a:pt x="224" y="316"/>
                  </a:lnTo>
                  <a:lnTo>
                    <a:pt x="210" y="315"/>
                  </a:lnTo>
                  <a:lnTo>
                    <a:pt x="196" y="311"/>
                  </a:lnTo>
                  <a:lnTo>
                    <a:pt x="183" y="306"/>
                  </a:lnTo>
                  <a:lnTo>
                    <a:pt x="171" y="301"/>
                  </a:lnTo>
                  <a:lnTo>
                    <a:pt x="149" y="292"/>
                  </a:lnTo>
                  <a:lnTo>
                    <a:pt x="139" y="288"/>
                  </a:lnTo>
                  <a:lnTo>
                    <a:pt x="132" y="288"/>
                  </a:lnTo>
                  <a:lnTo>
                    <a:pt x="132" y="288"/>
                  </a:lnTo>
                  <a:lnTo>
                    <a:pt x="128" y="289"/>
                  </a:lnTo>
                  <a:lnTo>
                    <a:pt x="125" y="290"/>
                  </a:lnTo>
                  <a:lnTo>
                    <a:pt x="119" y="295"/>
                  </a:lnTo>
                  <a:lnTo>
                    <a:pt x="105" y="310"/>
                  </a:lnTo>
                  <a:lnTo>
                    <a:pt x="97" y="317"/>
                  </a:lnTo>
                  <a:lnTo>
                    <a:pt x="88" y="326"/>
                  </a:lnTo>
                  <a:lnTo>
                    <a:pt x="77" y="332"/>
                  </a:lnTo>
                  <a:lnTo>
                    <a:pt x="71" y="334"/>
                  </a:lnTo>
                  <a:lnTo>
                    <a:pt x="64" y="337"/>
                  </a:lnTo>
                  <a:lnTo>
                    <a:pt x="64" y="337"/>
                  </a:lnTo>
                  <a:lnTo>
                    <a:pt x="58" y="338"/>
                  </a:lnTo>
                  <a:lnTo>
                    <a:pt x="52" y="338"/>
                  </a:lnTo>
                  <a:lnTo>
                    <a:pt x="47" y="337"/>
                  </a:lnTo>
                  <a:lnTo>
                    <a:pt x="42" y="334"/>
                  </a:lnTo>
                  <a:lnTo>
                    <a:pt x="38" y="332"/>
                  </a:lnTo>
                  <a:lnTo>
                    <a:pt x="35" y="329"/>
                  </a:lnTo>
                  <a:lnTo>
                    <a:pt x="29" y="322"/>
                  </a:lnTo>
                  <a:lnTo>
                    <a:pt x="25" y="313"/>
                  </a:lnTo>
                  <a:lnTo>
                    <a:pt x="23" y="306"/>
                  </a:lnTo>
                  <a:lnTo>
                    <a:pt x="20" y="299"/>
                  </a:lnTo>
                  <a:lnTo>
                    <a:pt x="20" y="299"/>
                  </a:lnTo>
                  <a:lnTo>
                    <a:pt x="15" y="293"/>
                  </a:lnTo>
                  <a:lnTo>
                    <a:pt x="11" y="286"/>
                  </a:lnTo>
                  <a:lnTo>
                    <a:pt x="6" y="276"/>
                  </a:lnTo>
                  <a:lnTo>
                    <a:pt x="2" y="265"/>
                  </a:lnTo>
                  <a:lnTo>
                    <a:pt x="0" y="254"/>
                  </a:lnTo>
                  <a:lnTo>
                    <a:pt x="0" y="249"/>
                  </a:lnTo>
                  <a:lnTo>
                    <a:pt x="1" y="244"/>
                  </a:lnTo>
                  <a:lnTo>
                    <a:pt x="3" y="239"/>
                  </a:lnTo>
                  <a:lnTo>
                    <a:pt x="7" y="235"/>
                  </a:lnTo>
                  <a:lnTo>
                    <a:pt x="7" y="235"/>
                  </a:lnTo>
                  <a:lnTo>
                    <a:pt x="14" y="227"/>
                  </a:lnTo>
                  <a:lnTo>
                    <a:pt x="20" y="221"/>
                  </a:lnTo>
                  <a:lnTo>
                    <a:pt x="26" y="219"/>
                  </a:lnTo>
                  <a:lnTo>
                    <a:pt x="32" y="216"/>
                  </a:lnTo>
                  <a:lnTo>
                    <a:pt x="38" y="215"/>
                  </a:lnTo>
                  <a:lnTo>
                    <a:pt x="41" y="216"/>
                  </a:lnTo>
                  <a:lnTo>
                    <a:pt x="104" y="163"/>
                  </a:lnTo>
                  <a:lnTo>
                    <a:pt x="104" y="163"/>
                  </a:lnTo>
                  <a:lnTo>
                    <a:pt x="106" y="153"/>
                  </a:lnTo>
                  <a:lnTo>
                    <a:pt x="110" y="142"/>
                  </a:lnTo>
                  <a:lnTo>
                    <a:pt x="116" y="130"/>
                  </a:lnTo>
                  <a:lnTo>
                    <a:pt x="120" y="124"/>
                  </a:lnTo>
                  <a:lnTo>
                    <a:pt x="126" y="117"/>
                  </a:lnTo>
                  <a:lnTo>
                    <a:pt x="132" y="111"/>
                  </a:lnTo>
                  <a:lnTo>
                    <a:pt x="140" y="104"/>
                  </a:lnTo>
                  <a:lnTo>
                    <a:pt x="149" y="97"/>
                  </a:lnTo>
                  <a:lnTo>
                    <a:pt x="160" y="93"/>
                  </a:lnTo>
                  <a:lnTo>
                    <a:pt x="172" y="88"/>
                  </a:lnTo>
                  <a:lnTo>
                    <a:pt x="185" y="84"/>
                  </a:lnTo>
                  <a:lnTo>
                    <a:pt x="185" y="0"/>
                  </a:lnTo>
                  <a:lnTo>
                    <a:pt x="185" y="0"/>
                  </a:lnTo>
                  <a:lnTo>
                    <a:pt x="190" y="5"/>
                  </a:lnTo>
                  <a:lnTo>
                    <a:pt x="203" y="16"/>
                  </a:lnTo>
                  <a:lnTo>
                    <a:pt x="210" y="23"/>
                  </a:lnTo>
                  <a:lnTo>
                    <a:pt x="217" y="32"/>
                  </a:lnTo>
                  <a:lnTo>
                    <a:pt x="222" y="40"/>
                  </a:lnTo>
                  <a:lnTo>
                    <a:pt x="224" y="49"/>
                  </a:lnTo>
                  <a:lnTo>
                    <a:pt x="224" y="49"/>
                  </a:lnTo>
                  <a:lnTo>
                    <a:pt x="229" y="72"/>
                  </a:lnTo>
                  <a:lnTo>
                    <a:pt x="22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3" name="Group 42"/>
          <p:cNvGrpSpPr/>
          <p:nvPr/>
        </p:nvGrpSpPr>
        <p:grpSpPr>
          <a:xfrm>
            <a:off x="7303988" y="1563810"/>
            <a:ext cx="728663" cy="688975"/>
            <a:chOff x="7088187" y="603250"/>
            <a:chExt cx="728663" cy="688975"/>
          </a:xfrm>
          <a:solidFill>
            <a:schemeClr val="tx1">
              <a:lumMod val="85000"/>
              <a:lumOff val="15000"/>
            </a:schemeClr>
          </a:solidFill>
        </p:grpSpPr>
        <p:sp>
          <p:nvSpPr>
            <p:cNvPr id="44" name="Freeform 309"/>
            <p:cNvSpPr>
              <a:spLocks noEditPoints="1"/>
            </p:cNvSpPr>
            <p:nvPr/>
          </p:nvSpPr>
          <p:spPr bwMode="auto">
            <a:xfrm>
              <a:off x="7088187" y="608012"/>
              <a:ext cx="303213" cy="361950"/>
            </a:xfrm>
            <a:custGeom>
              <a:avLst/>
              <a:gdLst>
                <a:gd name="T0" fmla="*/ 507 w 573"/>
                <a:gd name="T1" fmla="*/ 139 h 683"/>
                <a:gd name="T2" fmla="*/ 533 w 573"/>
                <a:gd name="T3" fmla="*/ 204 h 683"/>
                <a:gd name="T4" fmla="*/ 541 w 573"/>
                <a:gd name="T5" fmla="*/ 271 h 683"/>
                <a:gd name="T6" fmla="*/ 533 w 573"/>
                <a:gd name="T7" fmla="*/ 337 h 683"/>
                <a:gd name="T8" fmla="*/ 508 w 573"/>
                <a:gd name="T9" fmla="*/ 400 h 683"/>
                <a:gd name="T10" fmla="*/ 468 w 573"/>
                <a:gd name="T11" fmla="*/ 455 h 683"/>
                <a:gd name="T12" fmla="*/ 479 w 573"/>
                <a:gd name="T13" fmla="*/ 466 h 683"/>
                <a:gd name="T14" fmla="*/ 569 w 573"/>
                <a:gd name="T15" fmla="*/ 601 h 683"/>
                <a:gd name="T16" fmla="*/ 573 w 573"/>
                <a:gd name="T17" fmla="*/ 626 h 683"/>
                <a:gd name="T18" fmla="*/ 561 w 573"/>
                <a:gd name="T19" fmla="*/ 649 h 683"/>
                <a:gd name="T20" fmla="*/ 524 w 573"/>
                <a:gd name="T21" fmla="*/ 675 h 683"/>
                <a:gd name="T22" fmla="*/ 499 w 573"/>
                <a:gd name="T23" fmla="*/ 683 h 683"/>
                <a:gd name="T24" fmla="*/ 475 w 573"/>
                <a:gd name="T25" fmla="*/ 676 h 683"/>
                <a:gd name="T26" fmla="*/ 376 w 573"/>
                <a:gd name="T27" fmla="*/ 536 h 683"/>
                <a:gd name="T28" fmla="*/ 370 w 573"/>
                <a:gd name="T29" fmla="*/ 523 h 683"/>
                <a:gd name="T30" fmla="*/ 325 w 573"/>
                <a:gd name="T31" fmla="*/ 536 h 683"/>
                <a:gd name="T32" fmla="*/ 259 w 573"/>
                <a:gd name="T33" fmla="*/ 541 h 683"/>
                <a:gd name="T34" fmla="*/ 192 w 573"/>
                <a:gd name="T35" fmla="*/ 530 h 683"/>
                <a:gd name="T36" fmla="*/ 131 w 573"/>
                <a:gd name="T37" fmla="*/ 502 h 683"/>
                <a:gd name="T38" fmla="*/ 77 w 573"/>
                <a:gd name="T39" fmla="*/ 460 h 683"/>
                <a:gd name="T40" fmla="*/ 47 w 573"/>
                <a:gd name="T41" fmla="*/ 422 h 683"/>
                <a:gd name="T42" fmla="*/ 12 w 573"/>
                <a:gd name="T43" fmla="*/ 349 h 683"/>
                <a:gd name="T44" fmla="*/ 0 w 573"/>
                <a:gd name="T45" fmla="*/ 272 h 683"/>
                <a:gd name="T46" fmla="*/ 11 w 573"/>
                <a:gd name="T47" fmla="*/ 194 h 683"/>
                <a:gd name="T48" fmla="*/ 44 w 573"/>
                <a:gd name="T49" fmla="*/ 124 h 683"/>
                <a:gd name="T50" fmla="*/ 97 w 573"/>
                <a:gd name="T51" fmla="*/ 63 h 683"/>
                <a:gd name="T52" fmla="*/ 142 w 573"/>
                <a:gd name="T53" fmla="*/ 33 h 683"/>
                <a:gd name="T54" fmla="*/ 217 w 573"/>
                <a:gd name="T55" fmla="*/ 5 h 683"/>
                <a:gd name="T56" fmla="*/ 296 w 573"/>
                <a:gd name="T57" fmla="*/ 1 h 683"/>
                <a:gd name="T58" fmla="*/ 371 w 573"/>
                <a:gd name="T59" fmla="*/ 19 h 683"/>
                <a:gd name="T60" fmla="*/ 439 w 573"/>
                <a:gd name="T61" fmla="*/ 59 h 683"/>
                <a:gd name="T62" fmla="*/ 495 w 573"/>
                <a:gd name="T63" fmla="*/ 119 h 683"/>
                <a:gd name="T64" fmla="*/ 392 w 573"/>
                <a:gd name="T65" fmla="*/ 449 h 683"/>
                <a:gd name="T66" fmla="*/ 439 w 573"/>
                <a:gd name="T67" fmla="*/ 405 h 683"/>
                <a:gd name="T68" fmla="*/ 471 w 573"/>
                <a:gd name="T69" fmla="*/ 351 h 683"/>
                <a:gd name="T70" fmla="*/ 485 w 573"/>
                <a:gd name="T71" fmla="*/ 291 h 683"/>
                <a:gd name="T72" fmla="*/ 482 w 573"/>
                <a:gd name="T73" fmla="*/ 228 h 683"/>
                <a:gd name="T74" fmla="*/ 460 w 573"/>
                <a:gd name="T75" fmla="*/ 169 h 683"/>
                <a:gd name="T76" fmla="*/ 436 w 573"/>
                <a:gd name="T77" fmla="*/ 132 h 683"/>
                <a:gd name="T78" fmla="*/ 388 w 573"/>
                <a:gd name="T79" fmla="*/ 90 h 683"/>
                <a:gd name="T80" fmla="*/ 331 w 573"/>
                <a:gd name="T81" fmla="*/ 64 h 683"/>
                <a:gd name="T82" fmla="*/ 271 w 573"/>
                <a:gd name="T83" fmla="*/ 56 h 683"/>
                <a:gd name="T84" fmla="*/ 209 w 573"/>
                <a:gd name="T85" fmla="*/ 64 h 683"/>
                <a:gd name="T86" fmla="*/ 149 w 573"/>
                <a:gd name="T87" fmla="*/ 92 h 683"/>
                <a:gd name="T88" fmla="*/ 117 w 573"/>
                <a:gd name="T89" fmla="*/ 120 h 683"/>
                <a:gd name="T90" fmla="*/ 79 w 573"/>
                <a:gd name="T91" fmla="*/ 172 h 683"/>
                <a:gd name="T92" fmla="*/ 60 w 573"/>
                <a:gd name="T93" fmla="*/ 230 h 683"/>
                <a:gd name="T94" fmla="*/ 56 w 573"/>
                <a:gd name="T95" fmla="*/ 292 h 683"/>
                <a:gd name="T96" fmla="*/ 72 w 573"/>
                <a:gd name="T97" fmla="*/ 353 h 683"/>
                <a:gd name="T98" fmla="*/ 92 w 573"/>
                <a:gd name="T99" fmla="*/ 392 h 683"/>
                <a:gd name="T100" fmla="*/ 137 w 573"/>
                <a:gd name="T101" fmla="*/ 439 h 683"/>
                <a:gd name="T102" fmla="*/ 191 w 573"/>
                <a:gd name="T103" fmla="*/ 471 h 683"/>
                <a:gd name="T104" fmla="*/ 251 w 573"/>
                <a:gd name="T105" fmla="*/ 485 h 683"/>
                <a:gd name="T106" fmla="*/ 313 w 573"/>
                <a:gd name="T107" fmla="*/ 482 h 683"/>
                <a:gd name="T108" fmla="*/ 373 w 573"/>
                <a:gd name="T109" fmla="*/ 460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3" h="683">
                  <a:moveTo>
                    <a:pt x="495" y="119"/>
                  </a:moveTo>
                  <a:lnTo>
                    <a:pt x="495" y="119"/>
                  </a:lnTo>
                  <a:lnTo>
                    <a:pt x="507" y="139"/>
                  </a:lnTo>
                  <a:lnTo>
                    <a:pt x="518" y="160"/>
                  </a:lnTo>
                  <a:lnTo>
                    <a:pt x="527" y="182"/>
                  </a:lnTo>
                  <a:lnTo>
                    <a:pt x="533" y="204"/>
                  </a:lnTo>
                  <a:lnTo>
                    <a:pt x="538" y="226"/>
                  </a:lnTo>
                  <a:lnTo>
                    <a:pt x="540" y="249"/>
                  </a:lnTo>
                  <a:lnTo>
                    <a:pt x="541" y="271"/>
                  </a:lnTo>
                  <a:lnTo>
                    <a:pt x="540" y="294"/>
                  </a:lnTo>
                  <a:lnTo>
                    <a:pt x="538" y="315"/>
                  </a:lnTo>
                  <a:lnTo>
                    <a:pt x="533" y="337"/>
                  </a:lnTo>
                  <a:lnTo>
                    <a:pt x="527" y="359"/>
                  </a:lnTo>
                  <a:lnTo>
                    <a:pt x="518" y="380"/>
                  </a:lnTo>
                  <a:lnTo>
                    <a:pt x="508" y="400"/>
                  </a:lnTo>
                  <a:lnTo>
                    <a:pt x="498" y="420"/>
                  </a:lnTo>
                  <a:lnTo>
                    <a:pt x="484" y="438"/>
                  </a:lnTo>
                  <a:lnTo>
                    <a:pt x="468" y="455"/>
                  </a:lnTo>
                  <a:lnTo>
                    <a:pt x="468" y="455"/>
                  </a:lnTo>
                  <a:lnTo>
                    <a:pt x="475" y="460"/>
                  </a:lnTo>
                  <a:lnTo>
                    <a:pt x="479" y="466"/>
                  </a:lnTo>
                  <a:lnTo>
                    <a:pt x="566" y="593"/>
                  </a:lnTo>
                  <a:lnTo>
                    <a:pt x="566" y="593"/>
                  </a:lnTo>
                  <a:lnTo>
                    <a:pt x="569" y="601"/>
                  </a:lnTo>
                  <a:lnTo>
                    <a:pt x="573" y="609"/>
                  </a:lnTo>
                  <a:lnTo>
                    <a:pt x="573" y="618"/>
                  </a:lnTo>
                  <a:lnTo>
                    <a:pt x="573" y="626"/>
                  </a:lnTo>
                  <a:lnTo>
                    <a:pt x="570" y="635"/>
                  </a:lnTo>
                  <a:lnTo>
                    <a:pt x="566" y="642"/>
                  </a:lnTo>
                  <a:lnTo>
                    <a:pt x="561" y="649"/>
                  </a:lnTo>
                  <a:lnTo>
                    <a:pt x="553" y="655"/>
                  </a:lnTo>
                  <a:lnTo>
                    <a:pt x="524" y="675"/>
                  </a:lnTo>
                  <a:lnTo>
                    <a:pt x="524" y="675"/>
                  </a:lnTo>
                  <a:lnTo>
                    <a:pt x="516" y="679"/>
                  </a:lnTo>
                  <a:lnTo>
                    <a:pt x="507" y="682"/>
                  </a:lnTo>
                  <a:lnTo>
                    <a:pt x="499" y="683"/>
                  </a:lnTo>
                  <a:lnTo>
                    <a:pt x="490" y="682"/>
                  </a:lnTo>
                  <a:lnTo>
                    <a:pt x="482" y="679"/>
                  </a:lnTo>
                  <a:lnTo>
                    <a:pt x="475" y="676"/>
                  </a:lnTo>
                  <a:lnTo>
                    <a:pt x="467" y="670"/>
                  </a:lnTo>
                  <a:lnTo>
                    <a:pt x="462" y="664"/>
                  </a:lnTo>
                  <a:lnTo>
                    <a:pt x="376" y="536"/>
                  </a:lnTo>
                  <a:lnTo>
                    <a:pt x="376" y="536"/>
                  </a:lnTo>
                  <a:lnTo>
                    <a:pt x="373" y="530"/>
                  </a:lnTo>
                  <a:lnTo>
                    <a:pt x="370" y="523"/>
                  </a:lnTo>
                  <a:lnTo>
                    <a:pt x="370" y="523"/>
                  </a:lnTo>
                  <a:lnTo>
                    <a:pt x="348" y="530"/>
                  </a:lnTo>
                  <a:lnTo>
                    <a:pt x="325" y="536"/>
                  </a:lnTo>
                  <a:lnTo>
                    <a:pt x="303" y="540"/>
                  </a:lnTo>
                  <a:lnTo>
                    <a:pt x="280" y="541"/>
                  </a:lnTo>
                  <a:lnTo>
                    <a:pt x="259" y="541"/>
                  </a:lnTo>
                  <a:lnTo>
                    <a:pt x="236" y="539"/>
                  </a:lnTo>
                  <a:lnTo>
                    <a:pt x="214" y="535"/>
                  </a:lnTo>
                  <a:lnTo>
                    <a:pt x="192" y="530"/>
                  </a:lnTo>
                  <a:lnTo>
                    <a:pt x="171" y="523"/>
                  </a:lnTo>
                  <a:lnTo>
                    <a:pt x="151" y="513"/>
                  </a:lnTo>
                  <a:lnTo>
                    <a:pt x="131" y="502"/>
                  </a:lnTo>
                  <a:lnTo>
                    <a:pt x="112" y="490"/>
                  </a:lnTo>
                  <a:lnTo>
                    <a:pt x="94" y="476"/>
                  </a:lnTo>
                  <a:lnTo>
                    <a:pt x="77" y="460"/>
                  </a:lnTo>
                  <a:lnTo>
                    <a:pt x="61" y="442"/>
                  </a:lnTo>
                  <a:lnTo>
                    <a:pt x="47" y="422"/>
                  </a:lnTo>
                  <a:lnTo>
                    <a:pt x="47" y="422"/>
                  </a:lnTo>
                  <a:lnTo>
                    <a:pt x="33" y="399"/>
                  </a:lnTo>
                  <a:lnTo>
                    <a:pt x="21" y="375"/>
                  </a:lnTo>
                  <a:lnTo>
                    <a:pt x="12" y="349"/>
                  </a:lnTo>
                  <a:lnTo>
                    <a:pt x="5" y="324"/>
                  </a:lnTo>
                  <a:lnTo>
                    <a:pt x="1" y="297"/>
                  </a:lnTo>
                  <a:lnTo>
                    <a:pt x="0" y="272"/>
                  </a:lnTo>
                  <a:lnTo>
                    <a:pt x="1" y="245"/>
                  </a:lnTo>
                  <a:lnTo>
                    <a:pt x="5" y="220"/>
                  </a:lnTo>
                  <a:lnTo>
                    <a:pt x="11" y="194"/>
                  </a:lnTo>
                  <a:lnTo>
                    <a:pt x="20" y="170"/>
                  </a:lnTo>
                  <a:lnTo>
                    <a:pt x="30" y="147"/>
                  </a:lnTo>
                  <a:lnTo>
                    <a:pt x="44" y="124"/>
                  </a:lnTo>
                  <a:lnTo>
                    <a:pt x="60" y="102"/>
                  </a:lnTo>
                  <a:lnTo>
                    <a:pt x="77" y="82"/>
                  </a:lnTo>
                  <a:lnTo>
                    <a:pt x="97" y="63"/>
                  </a:lnTo>
                  <a:lnTo>
                    <a:pt x="119" y="47"/>
                  </a:lnTo>
                  <a:lnTo>
                    <a:pt x="119" y="47"/>
                  </a:lnTo>
                  <a:lnTo>
                    <a:pt x="142" y="33"/>
                  </a:lnTo>
                  <a:lnTo>
                    <a:pt x="168" y="21"/>
                  </a:lnTo>
                  <a:lnTo>
                    <a:pt x="192" y="12"/>
                  </a:lnTo>
                  <a:lnTo>
                    <a:pt x="217" y="5"/>
                  </a:lnTo>
                  <a:lnTo>
                    <a:pt x="244" y="1"/>
                  </a:lnTo>
                  <a:lnTo>
                    <a:pt x="269" y="0"/>
                  </a:lnTo>
                  <a:lnTo>
                    <a:pt x="296" y="1"/>
                  </a:lnTo>
                  <a:lnTo>
                    <a:pt x="322" y="5"/>
                  </a:lnTo>
                  <a:lnTo>
                    <a:pt x="347" y="11"/>
                  </a:lnTo>
                  <a:lnTo>
                    <a:pt x="371" y="19"/>
                  </a:lnTo>
                  <a:lnTo>
                    <a:pt x="396" y="30"/>
                  </a:lnTo>
                  <a:lnTo>
                    <a:pt x="417" y="44"/>
                  </a:lnTo>
                  <a:lnTo>
                    <a:pt x="439" y="59"/>
                  </a:lnTo>
                  <a:lnTo>
                    <a:pt x="460" y="76"/>
                  </a:lnTo>
                  <a:lnTo>
                    <a:pt x="478" y="97"/>
                  </a:lnTo>
                  <a:lnTo>
                    <a:pt x="495" y="119"/>
                  </a:lnTo>
                  <a:lnTo>
                    <a:pt x="495" y="119"/>
                  </a:lnTo>
                  <a:close/>
                  <a:moveTo>
                    <a:pt x="392" y="449"/>
                  </a:moveTo>
                  <a:lnTo>
                    <a:pt x="392" y="449"/>
                  </a:lnTo>
                  <a:lnTo>
                    <a:pt x="409" y="436"/>
                  </a:lnTo>
                  <a:lnTo>
                    <a:pt x="425" y="421"/>
                  </a:lnTo>
                  <a:lnTo>
                    <a:pt x="439" y="405"/>
                  </a:lnTo>
                  <a:lnTo>
                    <a:pt x="451" y="388"/>
                  </a:lnTo>
                  <a:lnTo>
                    <a:pt x="462" y="370"/>
                  </a:lnTo>
                  <a:lnTo>
                    <a:pt x="471" y="351"/>
                  </a:lnTo>
                  <a:lnTo>
                    <a:pt x="478" y="331"/>
                  </a:lnTo>
                  <a:lnTo>
                    <a:pt x="483" y="311"/>
                  </a:lnTo>
                  <a:lnTo>
                    <a:pt x="485" y="291"/>
                  </a:lnTo>
                  <a:lnTo>
                    <a:pt x="487" y="269"/>
                  </a:lnTo>
                  <a:lnTo>
                    <a:pt x="485" y="249"/>
                  </a:lnTo>
                  <a:lnTo>
                    <a:pt x="482" y="228"/>
                  </a:lnTo>
                  <a:lnTo>
                    <a:pt x="477" y="209"/>
                  </a:lnTo>
                  <a:lnTo>
                    <a:pt x="470" y="188"/>
                  </a:lnTo>
                  <a:lnTo>
                    <a:pt x="460" y="169"/>
                  </a:lnTo>
                  <a:lnTo>
                    <a:pt x="449" y="149"/>
                  </a:lnTo>
                  <a:lnTo>
                    <a:pt x="449" y="149"/>
                  </a:lnTo>
                  <a:lnTo>
                    <a:pt x="436" y="132"/>
                  </a:lnTo>
                  <a:lnTo>
                    <a:pt x="421" y="116"/>
                  </a:lnTo>
                  <a:lnTo>
                    <a:pt x="405" y="102"/>
                  </a:lnTo>
                  <a:lnTo>
                    <a:pt x="388" y="90"/>
                  </a:lnTo>
                  <a:lnTo>
                    <a:pt x="370" y="79"/>
                  </a:lnTo>
                  <a:lnTo>
                    <a:pt x="351" y="70"/>
                  </a:lnTo>
                  <a:lnTo>
                    <a:pt x="331" y="64"/>
                  </a:lnTo>
                  <a:lnTo>
                    <a:pt x="311" y="59"/>
                  </a:lnTo>
                  <a:lnTo>
                    <a:pt x="291" y="56"/>
                  </a:lnTo>
                  <a:lnTo>
                    <a:pt x="271" y="56"/>
                  </a:lnTo>
                  <a:lnTo>
                    <a:pt x="249" y="56"/>
                  </a:lnTo>
                  <a:lnTo>
                    <a:pt x="228" y="59"/>
                  </a:lnTo>
                  <a:lnTo>
                    <a:pt x="209" y="64"/>
                  </a:lnTo>
                  <a:lnTo>
                    <a:pt x="188" y="72"/>
                  </a:lnTo>
                  <a:lnTo>
                    <a:pt x="169" y="81"/>
                  </a:lnTo>
                  <a:lnTo>
                    <a:pt x="149" y="92"/>
                  </a:lnTo>
                  <a:lnTo>
                    <a:pt x="149" y="92"/>
                  </a:lnTo>
                  <a:lnTo>
                    <a:pt x="132" y="105"/>
                  </a:lnTo>
                  <a:lnTo>
                    <a:pt x="117" y="120"/>
                  </a:lnTo>
                  <a:lnTo>
                    <a:pt x="102" y="137"/>
                  </a:lnTo>
                  <a:lnTo>
                    <a:pt x="90" y="154"/>
                  </a:lnTo>
                  <a:lnTo>
                    <a:pt x="79" y="172"/>
                  </a:lnTo>
                  <a:lnTo>
                    <a:pt x="71" y="190"/>
                  </a:lnTo>
                  <a:lnTo>
                    <a:pt x="64" y="210"/>
                  </a:lnTo>
                  <a:lnTo>
                    <a:pt x="60" y="230"/>
                  </a:lnTo>
                  <a:lnTo>
                    <a:pt x="56" y="251"/>
                  </a:lnTo>
                  <a:lnTo>
                    <a:pt x="56" y="272"/>
                  </a:lnTo>
                  <a:lnTo>
                    <a:pt x="56" y="292"/>
                  </a:lnTo>
                  <a:lnTo>
                    <a:pt x="60" y="313"/>
                  </a:lnTo>
                  <a:lnTo>
                    <a:pt x="64" y="334"/>
                  </a:lnTo>
                  <a:lnTo>
                    <a:pt x="72" y="353"/>
                  </a:lnTo>
                  <a:lnTo>
                    <a:pt x="81" y="372"/>
                  </a:lnTo>
                  <a:lnTo>
                    <a:pt x="92" y="392"/>
                  </a:lnTo>
                  <a:lnTo>
                    <a:pt x="92" y="392"/>
                  </a:lnTo>
                  <a:lnTo>
                    <a:pt x="106" y="409"/>
                  </a:lnTo>
                  <a:lnTo>
                    <a:pt x="120" y="425"/>
                  </a:lnTo>
                  <a:lnTo>
                    <a:pt x="137" y="439"/>
                  </a:lnTo>
                  <a:lnTo>
                    <a:pt x="154" y="451"/>
                  </a:lnTo>
                  <a:lnTo>
                    <a:pt x="172" y="462"/>
                  </a:lnTo>
                  <a:lnTo>
                    <a:pt x="191" y="471"/>
                  </a:lnTo>
                  <a:lnTo>
                    <a:pt x="210" y="478"/>
                  </a:lnTo>
                  <a:lnTo>
                    <a:pt x="231" y="483"/>
                  </a:lnTo>
                  <a:lnTo>
                    <a:pt x="251" y="485"/>
                  </a:lnTo>
                  <a:lnTo>
                    <a:pt x="272" y="486"/>
                  </a:lnTo>
                  <a:lnTo>
                    <a:pt x="293" y="485"/>
                  </a:lnTo>
                  <a:lnTo>
                    <a:pt x="313" y="482"/>
                  </a:lnTo>
                  <a:lnTo>
                    <a:pt x="334" y="477"/>
                  </a:lnTo>
                  <a:lnTo>
                    <a:pt x="353" y="469"/>
                  </a:lnTo>
                  <a:lnTo>
                    <a:pt x="373" y="460"/>
                  </a:lnTo>
                  <a:lnTo>
                    <a:pt x="392" y="449"/>
                  </a:lnTo>
                  <a:lnTo>
                    <a:pt x="392" y="4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10"/>
            <p:cNvSpPr>
              <a:spLocks/>
            </p:cNvSpPr>
            <p:nvPr/>
          </p:nvSpPr>
          <p:spPr bwMode="auto">
            <a:xfrm>
              <a:off x="7169150" y="744537"/>
              <a:ext cx="127000" cy="77787"/>
            </a:xfrm>
            <a:custGeom>
              <a:avLst/>
              <a:gdLst>
                <a:gd name="T0" fmla="*/ 0 w 240"/>
                <a:gd name="T1" fmla="*/ 134 h 148"/>
                <a:gd name="T2" fmla="*/ 0 w 240"/>
                <a:gd name="T3" fmla="*/ 134 h 148"/>
                <a:gd name="T4" fmla="*/ 1 w 240"/>
                <a:gd name="T5" fmla="*/ 148 h 148"/>
                <a:gd name="T6" fmla="*/ 239 w 240"/>
                <a:gd name="T7" fmla="*/ 148 h 148"/>
                <a:gd name="T8" fmla="*/ 239 w 240"/>
                <a:gd name="T9" fmla="*/ 148 h 148"/>
                <a:gd name="T10" fmla="*/ 240 w 240"/>
                <a:gd name="T11" fmla="*/ 134 h 148"/>
                <a:gd name="T12" fmla="*/ 240 w 240"/>
                <a:gd name="T13" fmla="*/ 134 h 148"/>
                <a:gd name="T14" fmla="*/ 240 w 240"/>
                <a:gd name="T15" fmla="*/ 120 h 148"/>
                <a:gd name="T16" fmla="*/ 237 w 240"/>
                <a:gd name="T17" fmla="*/ 108 h 148"/>
                <a:gd name="T18" fmla="*/ 235 w 240"/>
                <a:gd name="T19" fmla="*/ 96 h 148"/>
                <a:gd name="T20" fmla="*/ 231 w 240"/>
                <a:gd name="T21" fmla="*/ 85 h 148"/>
                <a:gd name="T22" fmla="*/ 228 w 240"/>
                <a:gd name="T23" fmla="*/ 74 h 148"/>
                <a:gd name="T24" fmla="*/ 222 w 240"/>
                <a:gd name="T25" fmla="*/ 63 h 148"/>
                <a:gd name="T26" fmla="*/ 217 w 240"/>
                <a:gd name="T27" fmla="*/ 54 h 148"/>
                <a:gd name="T28" fmla="*/ 209 w 240"/>
                <a:gd name="T29" fmla="*/ 44 h 148"/>
                <a:gd name="T30" fmla="*/ 202 w 240"/>
                <a:gd name="T31" fmla="*/ 36 h 148"/>
                <a:gd name="T32" fmla="*/ 194 w 240"/>
                <a:gd name="T33" fmla="*/ 28 h 148"/>
                <a:gd name="T34" fmla="*/ 185 w 240"/>
                <a:gd name="T35" fmla="*/ 21 h 148"/>
                <a:gd name="T36" fmla="*/ 177 w 240"/>
                <a:gd name="T37" fmla="*/ 15 h 148"/>
                <a:gd name="T38" fmla="*/ 167 w 240"/>
                <a:gd name="T39" fmla="*/ 10 h 148"/>
                <a:gd name="T40" fmla="*/ 156 w 240"/>
                <a:gd name="T41" fmla="*/ 5 h 148"/>
                <a:gd name="T42" fmla="*/ 146 w 240"/>
                <a:gd name="T43" fmla="*/ 3 h 148"/>
                <a:gd name="T44" fmla="*/ 135 w 240"/>
                <a:gd name="T45" fmla="*/ 0 h 148"/>
                <a:gd name="T46" fmla="*/ 120 w 240"/>
                <a:gd name="T47" fmla="*/ 21 h 148"/>
                <a:gd name="T48" fmla="*/ 104 w 240"/>
                <a:gd name="T49" fmla="*/ 0 h 148"/>
                <a:gd name="T50" fmla="*/ 104 w 240"/>
                <a:gd name="T51" fmla="*/ 0 h 148"/>
                <a:gd name="T52" fmla="*/ 93 w 240"/>
                <a:gd name="T53" fmla="*/ 3 h 148"/>
                <a:gd name="T54" fmla="*/ 83 w 240"/>
                <a:gd name="T55" fmla="*/ 5 h 148"/>
                <a:gd name="T56" fmla="*/ 72 w 240"/>
                <a:gd name="T57" fmla="*/ 10 h 148"/>
                <a:gd name="T58" fmla="*/ 63 w 240"/>
                <a:gd name="T59" fmla="*/ 15 h 148"/>
                <a:gd name="T60" fmla="*/ 54 w 240"/>
                <a:gd name="T61" fmla="*/ 21 h 148"/>
                <a:gd name="T62" fmla="*/ 46 w 240"/>
                <a:gd name="T63" fmla="*/ 28 h 148"/>
                <a:gd name="T64" fmla="*/ 37 w 240"/>
                <a:gd name="T65" fmla="*/ 36 h 148"/>
                <a:gd name="T66" fmla="*/ 30 w 240"/>
                <a:gd name="T67" fmla="*/ 44 h 148"/>
                <a:gd name="T68" fmla="*/ 24 w 240"/>
                <a:gd name="T69" fmla="*/ 54 h 148"/>
                <a:gd name="T70" fmla="*/ 18 w 240"/>
                <a:gd name="T71" fmla="*/ 63 h 148"/>
                <a:gd name="T72" fmla="*/ 13 w 240"/>
                <a:gd name="T73" fmla="*/ 74 h 148"/>
                <a:gd name="T74" fmla="*/ 8 w 240"/>
                <a:gd name="T75" fmla="*/ 85 h 148"/>
                <a:gd name="T76" fmla="*/ 4 w 240"/>
                <a:gd name="T77" fmla="*/ 96 h 148"/>
                <a:gd name="T78" fmla="*/ 2 w 240"/>
                <a:gd name="T79" fmla="*/ 108 h 148"/>
                <a:gd name="T80" fmla="*/ 1 w 240"/>
                <a:gd name="T81" fmla="*/ 120 h 148"/>
                <a:gd name="T82" fmla="*/ 0 w 240"/>
                <a:gd name="T83" fmla="*/ 134 h 148"/>
                <a:gd name="T84" fmla="*/ 0 w 240"/>
                <a:gd name="T85" fmla="*/ 13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0" h="148">
                  <a:moveTo>
                    <a:pt x="0" y="134"/>
                  </a:moveTo>
                  <a:lnTo>
                    <a:pt x="0" y="134"/>
                  </a:lnTo>
                  <a:lnTo>
                    <a:pt x="1" y="148"/>
                  </a:lnTo>
                  <a:lnTo>
                    <a:pt x="239" y="148"/>
                  </a:lnTo>
                  <a:lnTo>
                    <a:pt x="239" y="148"/>
                  </a:lnTo>
                  <a:lnTo>
                    <a:pt x="240" y="134"/>
                  </a:lnTo>
                  <a:lnTo>
                    <a:pt x="240" y="134"/>
                  </a:lnTo>
                  <a:lnTo>
                    <a:pt x="240" y="120"/>
                  </a:lnTo>
                  <a:lnTo>
                    <a:pt x="237" y="108"/>
                  </a:lnTo>
                  <a:lnTo>
                    <a:pt x="235" y="96"/>
                  </a:lnTo>
                  <a:lnTo>
                    <a:pt x="231" y="85"/>
                  </a:lnTo>
                  <a:lnTo>
                    <a:pt x="228" y="74"/>
                  </a:lnTo>
                  <a:lnTo>
                    <a:pt x="222" y="63"/>
                  </a:lnTo>
                  <a:lnTo>
                    <a:pt x="217" y="54"/>
                  </a:lnTo>
                  <a:lnTo>
                    <a:pt x="209" y="44"/>
                  </a:lnTo>
                  <a:lnTo>
                    <a:pt x="202" y="36"/>
                  </a:lnTo>
                  <a:lnTo>
                    <a:pt x="194" y="28"/>
                  </a:lnTo>
                  <a:lnTo>
                    <a:pt x="185" y="21"/>
                  </a:lnTo>
                  <a:lnTo>
                    <a:pt x="177" y="15"/>
                  </a:lnTo>
                  <a:lnTo>
                    <a:pt x="167" y="10"/>
                  </a:lnTo>
                  <a:lnTo>
                    <a:pt x="156" y="5"/>
                  </a:lnTo>
                  <a:lnTo>
                    <a:pt x="146" y="3"/>
                  </a:lnTo>
                  <a:lnTo>
                    <a:pt x="135" y="0"/>
                  </a:lnTo>
                  <a:lnTo>
                    <a:pt x="120" y="21"/>
                  </a:lnTo>
                  <a:lnTo>
                    <a:pt x="104" y="0"/>
                  </a:lnTo>
                  <a:lnTo>
                    <a:pt x="104" y="0"/>
                  </a:lnTo>
                  <a:lnTo>
                    <a:pt x="93" y="3"/>
                  </a:lnTo>
                  <a:lnTo>
                    <a:pt x="83" y="5"/>
                  </a:lnTo>
                  <a:lnTo>
                    <a:pt x="72" y="10"/>
                  </a:lnTo>
                  <a:lnTo>
                    <a:pt x="63" y="15"/>
                  </a:lnTo>
                  <a:lnTo>
                    <a:pt x="54" y="21"/>
                  </a:lnTo>
                  <a:lnTo>
                    <a:pt x="46" y="28"/>
                  </a:lnTo>
                  <a:lnTo>
                    <a:pt x="37" y="36"/>
                  </a:lnTo>
                  <a:lnTo>
                    <a:pt x="30" y="44"/>
                  </a:lnTo>
                  <a:lnTo>
                    <a:pt x="24" y="54"/>
                  </a:lnTo>
                  <a:lnTo>
                    <a:pt x="18" y="63"/>
                  </a:lnTo>
                  <a:lnTo>
                    <a:pt x="13" y="74"/>
                  </a:lnTo>
                  <a:lnTo>
                    <a:pt x="8" y="85"/>
                  </a:lnTo>
                  <a:lnTo>
                    <a:pt x="4" y="96"/>
                  </a:lnTo>
                  <a:lnTo>
                    <a:pt x="2" y="108"/>
                  </a:lnTo>
                  <a:lnTo>
                    <a:pt x="1" y="120"/>
                  </a:lnTo>
                  <a:lnTo>
                    <a:pt x="0" y="134"/>
                  </a:lnTo>
                  <a:lnTo>
                    <a:pt x="0"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11"/>
            <p:cNvSpPr>
              <a:spLocks noEditPoints="1"/>
            </p:cNvSpPr>
            <p:nvPr/>
          </p:nvSpPr>
          <p:spPr bwMode="auto">
            <a:xfrm>
              <a:off x="7191375" y="661987"/>
              <a:ext cx="80963" cy="79375"/>
            </a:xfrm>
            <a:custGeom>
              <a:avLst/>
              <a:gdLst>
                <a:gd name="T0" fmla="*/ 22 w 151"/>
                <a:gd name="T1" fmla="*/ 22 h 150"/>
                <a:gd name="T2" fmla="*/ 41 w 151"/>
                <a:gd name="T3" fmla="*/ 8 h 150"/>
                <a:gd name="T4" fmla="*/ 47 w 151"/>
                <a:gd name="T5" fmla="*/ 6 h 150"/>
                <a:gd name="T6" fmla="*/ 61 w 151"/>
                <a:gd name="T7" fmla="*/ 1 h 150"/>
                <a:gd name="T8" fmla="*/ 76 w 151"/>
                <a:gd name="T9" fmla="*/ 0 h 150"/>
                <a:gd name="T10" fmla="*/ 98 w 151"/>
                <a:gd name="T11" fmla="*/ 3 h 150"/>
                <a:gd name="T12" fmla="*/ 105 w 151"/>
                <a:gd name="T13" fmla="*/ 6 h 150"/>
                <a:gd name="T14" fmla="*/ 118 w 151"/>
                <a:gd name="T15" fmla="*/ 12 h 150"/>
                <a:gd name="T16" fmla="*/ 129 w 151"/>
                <a:gd name="T17" fmla="*/ 22 h 150"/>
                <a:gd name="T18" fmla="*/ 145 w 151"/>
                <a:gd name="T19" fmla="*/ 46 h 150"/>
                <a:gd name="T20" fmla="*/ 147 w 151"/>
                <a:gd name="T21" fmla="*/ 53 h 150"/>
                <a:gd name="T22" fmla="*/ 151 w 151"/>
                <a:gd name="T23" fmla="*/ 68 h 150"/>
                <a:gd name="T24" fmla="*/ 151 w 151"/>
                <a:gd name="T25" fmla="*/ 75 h 150"/>
                <a:gd name="T26" fmla="*/ 150 w 151"/>
                <a:gd name="T27" fmla="*/ 90 h 150"/>
                <a:gd name="T28" fmla="*/ 145 w 151"/>
                <a:gd name="T29" fmla="*/ 104 h 150"/>
                <a:gd name="T30" fmla="*/ 142 w 151"/>
                <a:gd name="T31" fmla="*/ 110 h 150"/>
                <a:gd name="T32" fmla="*/ 129 w 151"/>
                <a:gd name="T33" fmla="*/ 128 h 150"/>
                <a:gd name="T34" fmla="*/ 123 w 151"/>
                <a:gd name="T35" fmla="*/ 133 h 150"/>
                <a:gd name="T36" fmla="*/ 111 w 151"/>
                <a:gd name="T37" fmla="*/ 142 h 150"/>
                <a:gd name="T38" fmla="*/ 105 w 151"/>
                <a:gd name="T39" fmla="*/ 144 h 150"/>
                <a:gd name="T40" fmla="*/ 90 w 151"/>
                <a:gd name="T41" fmla="*/ 149 h 150"/>
                <a:gd name="T42" fmla="*/ 76 w 151"/>
                <a:gd name="T43" fmla="*/ 150 h 150"/>
                <a:gd name="T44" fmla="*/ 54 w 151"/>
                <a:gd name="T45" fmla="*/ 147 h 150"/>
                <a:gd name="T46" fmla="*/ 47 w 151"/>
                <a:gd name="T47" fmla="*/ 144 h 150"/>
                <a:gd name="T48" fmla="*/ 34 w 151"/>
                <a:gd name="T49" fmla="*/ 137 h 150"/>
                <a:gd name="T50" fmla="*/ 22 w 151"/>
                <a:gd name="T51" fmla="*/ 128 h 150"/>
                <a:gd name="T52" fmla="*/ 9 w 151"/>
                <a:gd name="T53" fmla="*/ 110 h 150"/>
                <a:gd name="T54" fmla="*/ 7 w 151"/>
                <a:gd name="T55" fmla="*/ 104 h 150"/>
                <a:gd name="T56" fmla="*/ 2 w 151"/>
                <a:gd name="T57" fmla="*/ 90 h 150"/>
                <a:gd name="T58" fmla="*/ 0 w 151"/>
                <a:gd name="T59" fmla="*/ 75 h 150"/>
                <a:gd name="T60" fmla="*/ 4 w 151"/>
                <a:gd name="T61" fmla="*/ 53 h 150"/>
                <a:gd name="T62" fmla="*/ 7 w 151"/>
                <a:gd name="T63" fmla="*/ 46 h 150"/>
                <a:gd name="T64" fmla="*/ 14 w 151"/>
                <a:gd name="T65" fmla="*/ 33 h 150"/>
                <a:gd name="T66" fmla="*/ 22 w 151"/>
                <a:gd name="T67" fmla="*/ 22 h 150"/>
                <a:gd name="T68" fmla="*/ 17 w 151"/>
                <a:gd name="T69" fmla="*/ 99 h 150"/>
                <a:gd name="T70" fmla="*/ 32 w 151"/>
                <a:gd name="T71" fmla="*/ 119 h 150"/>
                <a:gd name="T72" fmla="*/ 41 w 151"/>
                <a:gd name="T73" fmla="*/ 127 h 150"/>
                <a:gd name="T74" fmla="*/ 51 w 151"/>
                <a:gd name="T75" fmla="*/ 133 h 150"/>
                <a:gd name="T76" fmla="*/ 76 w 151"/>
                <a:gd name="T77" fmla="*/ 138 h 150"/>
                <a:gd name="T78" fmla="*/ 88 w 151"/>
                <a:gd name="T79" fmla="*/ 137 h 150"/>
                <a:gd name="T80" fmla="*/ 100 w 151"/>
                <a:gd name="T81" fmla="*/ 133 h 150"/>
                <a:gd name="T82" fmla="*/ 121 w 151"/>
                <a:gd name="T83" fmla="*/ 119 h 150"/>
                <a:gd name="T84" fmla="*/ 128 w 151"/>
                <a:gd name="T85" fmla="*/ 110 h 150"/>
                <a:gd name="T86" fmla="*/ 134 w 151"/>
                <a:gd name="T87" fmla="*/ 99 h 150"/>
                <a:gd name="T88" fmla="*/ 139 w 151"/>
                <a:gd name="T89" fmla="*/ 75 h 150"/>
                <a:gd name="T90" fmla="*/ 138 w 151"/>
                <a:gd name="T91" fmla="*/ 63 h 150"/>
                <a:gd name="T92" fmla="*/ 134 w 151"/>
                <a:gd name="T93" fmla="*/ 51 h 150"/>
                <a:gd name="T94" fmla="*/ 121 w 151"/>
                <a:gd name="T95" fmla="*/ 30 h 150"/>
                <a:gd name="T96" fmla="*/ 111 w 151"/>
                <a:gd name="T97" fmla="*/ 23 h 150"/>
                <a:gd name="T98" fmla="*/ 100 w 151"/>
                <a:gd name="T99" fmla="*/ 17 h 150"/>
                <a:gd name="T100" fmla="*/ 76 w 151"/>
                <a:gd name="T101" fmla="*/ 12 h 150"/>
                <a:gd name="T102" fmla="*/ 64 w 151"/>
                <a:gd name="T103" fmla="*/ 13 h 150"/>
                <a:gd name="T104" fmla="*/ 51 w 151"/>
                <a:gd name="T105" fmla="*/ 17 h 150"/>
                <a:gd name="T106" fmla="*/ 32 w 151"/>
                <a:gd name="T107" fmla="*/ 30 h 150"/>
                <a:gd name="T108" fmla="*/ 24 w 151"/>
                <a:gd name="T109" fmla="*/ 40 h 150"/>
                <a:gd name="T110" fmla="*/ 17 w 151"/>
                <a:gd name="T111" fmla="*/ 51 h 150"/>
                <a:gd name="T112" fmla="*/ 14 w 151"/>
                <a:gd name="T113" fmla="*/ 75 h 150"/>
                <a:gd name="T114" fmla="*/ 14 w 151"/>
                <a:gd name="T115" fmla="*/ 87 h 150"/>
                <a:gd name="T116" fmla="*/ 17 w 151"/>
                <a:gd name="T117" fmla="*/ 9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1" h="150">
                  <a:moveTo>
                    <a:pt x="22" y="22"/>
                  </a:moveTo>
                  <a:lnTo>
                    <a:pt x="22" y="22"/>
                  </a:lnTo>
                  <a:lnTo>
                    <a:pt x="34" y="12"/>
                  </a:lnTo>
                  <a:lnTo>
                    <a:pt x="41" y="8"/>
                  </a:lnTo>
                  <a:lnTo>
                    <a:pt x="47" y="6"/>
                  </a:lnTo>
                  <a:lnTo>
                    <a:pt x="47" y="6"/>
                  </a:lnTo>
                  <a:lnTo>
                    <a:pt x="54" y="3"/>
                  </a:lnTo>
                  <a:lnTo>
                    <a:pt x="61" y="1"/>
                  </a:lnTo>
                  <a:lnTo>
                    <a:pt x="76" y="0"/>
                  </a:lnTo>
                  <a:lnTo>
                    <a:pt x="76" y="0"/>
                  </a:lnTo>
                  <a:lnTo>
                    <a:pt x="90" y="1"/>
                  </a:lnTo>
                  <a:lnTo>
                    <a:pt x="98" y="3"/>
                  </a:lnTo>
                  <a:lnTo>
                    <a:pt x="105" y="6"/>
                  </a:lnTo>
                  <a:lnTo>
                    <a:pt x="105" y="6"/>
                  </a:lnTo>
                  <a:lnTo>
                    <a:pt x="111" y="8"/>
                  </a:lnTo>
                  <a:lnTo>
                    <a:pt x="118" y="12"/>
                  </a:lnTo>
                  <a:lnTo>
                    <a:pt x="129" y="22"/>
                  </a:lnTo>
                  <a:lnTo>
                    <a:pt x="129" y="22"/>
                  </a:lnTo>
                  <a:lnTo>
                    <a:pt x="139" y="33"/>
                  </a:lnTo>
                  <a:lnTo>
                    <a:pt x="145" y="46"/>
                  </a:lnTo>
                  <a:lnTo>
                    <a:pt x="145" y="46"/>
                  </a:lnTo>
                  <a:lnTo>
                    <a:pt x="147" y="53"/>
                  </a:lnTo>
                  <a:lnTo>
                    <a:pt x="150" y="61"/>
                  </a:lnTo>
                  <a:lnTo>
                    <a:pt x="151" y="68"/>
                  </a:lnTo>
                  <a:lnTo>
                    <a:pt x="151" y="75"/>
                  </a:lnTo>
                  <a:lnTo>
                    <a:pt x="151" y="75"/>
                  </a:lnTo>
                  <a:lnTo>
                    <a:pt x="151" y="82"/>
                  </a:lnTo>
                  <a:lnTo>
                    <a:pt x="150" y="90"/>
                  </a:lnTo>
                  <a:lnTo>
                    <a:pt x="147" y="97"/>
                  </a:lnTo>
                  <a:lnTo>
                    <a:pt x="145" y="104"/>
                  </a:lnTo>
                  <a:lnTo>
                    <a:pt x="145" y="104"/>
                  </a:lnTo>
                  <a:lnTo>
                    <a:pt x="142" y="110"/>
                  </a:lnTo>
                  <a:lnTo>
                    <a:pt x="139" y="116"/>
                  </a:lnTo>
                  <a:lnTo>
                    <a:pt x="129" y="128"/>
                  </a:lnTo>
                  <a:lnTo>
                    <a:pt x="129" y="128"/>
                  </a:lnTo>
                  <a:lnTo>
                    <a:pt x="123" y="133"/>
                  </a:lnTo>
                  <a:lnTo>
                    <a:pt x="118" y="137"/>
                  </a:lnTo>
                  <a:lnTo>
                    <a:pt x="111" y="142"/>
                  </a:lnTo>
                  <a:lnTo>
                    <a:pt x="105" y="144"/>
                  </a:lnTo>
                  <a:lnTo>
                    <a:pt x="105" y="144"/>
                  </a:lnTo>
                  <a:lnTo>
                    <a:pt x="98" y="147"/>
                  </a:lnTo>
                  <a:lnTo>
                    <a:pt x="90" y="149"/>
                  </a:lnTo>
                  <a:lnTo>
                    <a:pt x="76" y="150"/>
                  </a:lnTo>
                  <a:lnTo>
                    <a:pt x="76" y="150"/>
                  </a:lnTo>
                  <a:lnTo>
                    <a:pt x="61" y="149"/>
                  </a:lnTo>
                  <a:lnTo>
                    <a:pt x="54" y="147"/>
                  </a:lnTo>
                  <a:lnTo>
                    <a:pt x="47" y="144"/>
                  </a:lnTo>
                  <a:lnTo>
                    <a:pt x="47" y="144"/>
                  </a:lnTo>
                  <a:lnTo>
                    <a:pt x="41" y="142"/>
                  </a:lnTo>
                  <a:lnTo>
                    <a:pt x="34" y="137"/>
                  </a:lnTo>
                  <a:lnTo>
                    <a:pt x="22" y="128"/>
                  </a:lnTo>
                  <a:lnTo>
                    <a:pt x="22" y="128"/>
                  </a:lnTo>
                  <a:lnTo>
                    <a:pt x="14" y="116"/>
                  </a:lnTo>
                  <a:lnTo>
                    <a:pt x="9" y="110"/>
                  </a:lnTo>
                  <a:lnTo>
                    <a:pt x="7" y="104"/>
                  </a:lnTo>
                  <a:lnTo>
                    <a:pt x="7" y="104"/>
                  </a:lnTo>
                  <a:lnTo>
                    <a:pt x="4" y="97"/>
                  </a:lnTo>
                  <a:lnTo>
                    <a:pt x="2" y="90"/>
                  </a:lnTo>
                  <a:lnTo>
                    <a:pt x="0" y="75"/>
                  </a:lnTo>
                  <a:lnTo>
                    <a:pt x="0" y="75"/>
                  </a:lnTo>
                  <a:lnTo>
                    <a:pt x="2" y="61"/>
                  </a:lnTo>
                  <a:lnTo>
                    <a:pt x="4" y="53"/>
                  </a:lnTo>
                  <a:lnTo>
                    <a:pt x="7" y="46"/>
                  </a:lnTo>
                  <a:lnTo>
                    <a:pt x="7" y="46"/>
                  </a:lnTo>
                  <a:lnTo>
                    <a:pt x="9" y="40"/>
                  </a:lnTo>
                  <a:lnTo>
                    <a:pt x="14" y="33"/>
                  </a:lnTo>
                  <a:lnTo>
                    <a:pt x="22" y="22"/>
                  </a:lnTo>
                  <a:lnTo>
                    <a:pt x="22" y="22"/>
                  </a:lnTo>
                  <a:close/>
                  <a:moveTo>
                    <a:pt x="17" y="99"/>
                  </a:moveTo>
                  <a:lnTo>
                    <a:pt x="17" y="99"/>
                  </a:lnTo>
                  <a:lnTo>
                    <a:pt x="24" y="110"/>
                  </a:lnTo>
                  <a:lnTo>
                    <a:pt x="32" y="119"/>
                  </a:lnTo>
                  <a:lnTo>
                    <a:pt x="32" y="119"/>
                  </a:lnTo>
                  <a:lnTo>
                    <a:pt x="41" y="127"/>
                  </a:lnTo>
                  <a:lnTo>
                    <a:pt x="51" y="133"/>
                  </a:lnTo>
                  <a:lnTo>
                    <a:pt x="51" y="133"/>
                  </a:lnTo>
                  <a:lnTo>
                    <a:pt x="64" y="137"/>
                  </a:lnTo>
                  <a:lnTo>
                    <a:pt x="76" y="138"/>
                  </a:lnTo>
                  <a:lnTo>
                    <a:pt x="76" y="138"/>
                  </a:lnTo>
                  <a:lnTo>
                    <a:pt x="88" y="137"/>
                  </a:lnTo>
                  <a:lnTo>
                    <a:pt x="100" y="133"/>
                  </a:lnTo>
                  <a:lnTo>
                    <a:pt x="100" y="133"/>
                  </a:lnTo>
                  <a:lnTo>
                    <a:pt x="111" y="127"/>
                  </a:lnTo>
                  <a:lnTo>
                    <a:pt x="121" y="119"/>
                  </a:lnTo>
                  <a:lnTo>
                    <a:pt x="121" y="119"/>
                  </a:lnTo>
                  <a:lnTo>
                    <a:pt x="128" y="110"/>
                  </a:lnTo>
                  <a:lnTo>
                    <a:pt x="134" y="99"/>
                  </a:lnTo>
                  <a:lnTo>
                    <a:pt x="134" y="99"/>
                  </a:lnTo>
                  <a:lnTo>
                    <a:pt x="138" y="87"/>
                  </a:lnTo>
                  <a:lnTo>
                    <a:pt x="139" y="75"/>
                  </a:lnTo>
                  <a:lnTo>
                    <a:pt x="139" y="75"/>
                  </a:lnTo>
                  <a:lnTo>
                    <a:pt x="138" y="63"/>
                  </a:lnTo>
                  <a:lnTo>
                    <a:pt x="134" y="51"/>
                  </a:lnTo>
                  <a:lnTo>
                    <a:pt x="134" y="51"/>
                  </a:lnTo>
                  <a:lnTo>
                    <a:pt x="128" y="40"/>
                  </a:lnTo>
                  <a:lnTo>
                    <a:pt x="121" y="30"/>
                  </a:lnTo>
                  <a:lnTo>
                    <a:pt x="121" y="30"/>
                  </a:lnTo>
                  <a:lnTo>
                    <a:pt x="111" y="23"/>
                  </a:lnTo>
                  <a:lnTo>
                    <a:pt x="100" y="17"/>
                  </a:lnTo>
                  <a:lnTo>
                    <a:pt x="100" y="17"/>
                  </a:lnTo>
                  <a:lnTo>
                    <a:pt x="88" y="13"/>
                  </a:lnTo>
                  <a:lnTo>
                    <a:pt x="76" y="12"/>
                  </a:lnTo>
                  <a:lnTo>
                    <a:pt x="76" y="12"/>
                  </a:lnTo>
                  <a:lnTo>
                    <a:pt x="64" y="13"/>
                  </a:lnTo>
                  <a:lnTo>
                    <a:pt x="51" y="17"/>
                  </a:lnTo>
                  <a:lnTo>
                    <a:pt x="51" y="17"/>
                  </a:lnTo>
                  <a:lnTo>
                    <a:pt x="41" y="23"/>
                  </a:lnTo>
                  <a:lnTo>
                    <a:pt x="32" y="30"/>
                  </a:lnTo>
                  <a:lnTo>
                    <a:pt x="32" y="30"/>
                  </a:lnTo>
                  <a:lnTo>
                    <a:pt x="24" y="40"/>
                  </a:lnTo>
                  <a:lnTo>
                    <a:pt x="17" y="51"/>
                  </a:lnTo>
                  <a:lnTo>
                    <a:pt x="17" y="51"/>
                  </a:lnTo>
                  <a:lnTo>
                    <a:pt x="14" y="63"/>
                  </a:lnTo>
                  <a:lnTo>
                    <a:pt x="14" y="75"/>
                  </a:lnTo>
                  <a:lnTo>
                    <a:pt x="14" y="75"/>
                  </a:lnTo>
                  <a:lnTo>
                    <a:pt x="14" y="87"/>
                  </a:lnTo>
                  <a:lnTo>
                    <a:pt x="17" y="99"/>
                  </a:lnTo>
                  <a:lnTo>
                    <a:pt x="17"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12"/>
            <p:cNvSpPr>
              <a:spLocks/>
            </p:cNvSpPr>
            <p:nvPr/>
          </p:nvSpPr>
          <p:spPr bwMode="auto">
            <a:xfrm>
              <a:off x="7561262" y="603250"/>
              <a:ext cx="133350" cy="131762"/>
            </a:xfrm>
            <a:custGeom>
              <a:avLst/>
              <a:gdLst>
                <a:gd name="T0" fmla="*/ 250 w 250"/>
                <a:gd name="T1" fmla="*/ 125 h 250"/>
                <a:gd name="T2" fmla="*/ 248 w 250"/>
                <a:gd name="T3" fmla="*/ 151 h 250"/>
                <a:gd name="T4" fmla="*/ 241 w 250"/>
                <a:gd name="T5" fmla="*/ 174 h 250"/>
                <a:gd name="T6" fmla="*/ 228 w 250"/>
                <a:gd name="T7" fmla="*/ 194 h 250"/>
                <a:gd name="T8" fmla="*/ 214 w 250"/>
                <a:gd name="T9" fmla="*/ 214 h 250"/>
                <a:gd name="T10" fmla="*/ 194 w 250"/>
                <a:gd name="T11" fmla="*/ 228 h 250"/>
                <a:gd name="T12" fmla="*/ 174 w 250"/>
                <a:gd name="T13" fmla="*/ 240 h 250"/>
                <a:gd name="T14" fmla="*/ 151 w 250"/>
                <a:gd name="T15" fmla="*/ 248 h 250"/>
                <a:gd name="T16" fmla="*/ 125 w 250"/>
                <a:gd name="T17" fmla="*/ 250 h 250"/>
                <a:gd name="T18" fmla="*/ 112 w 250"/>
                <a:gd name="T19" fmla="*/ 249 h 250"/>
                <a:gd name="T20" fmla="*/ 88 w 250"/>
                <a:gd name="T21" fmla="*/ 244 h 250"/>
                <a:gd name="T22" fmla="*/ 66 w 250"/>
                <a:gd name="T23" fmla="*/ 234 h 250"/>
                <a:gd name="T24" fmla="*/ 45 w 250"/>
                <a:gd name="T25" fmla="*/ 221 h 250"/>
                <a:gd name="T26" fmla="*/ 28 w 250"/>
                <a:gd name="T27" fmla="*/ 204 h 250"/>
                <a:gd name="T28" fmla="*/ 15 w 250"/>
                <a:gd name="T29" fmla="*/ 185 h 250"/>
                <a:gd name="T30" fmla="*/ 6 w 250"/>
                <a:gd name="T31" fmla="*/ 163 h 250"/>
                <a:gd name="T32" fmla="*/ 0 w 250"/>
                <a:gd name="T33" fmla="*/ 137 h 250"/>
                <a:gd name="T34" fmla="*/ 0 w 250"/>
                <a:gd name="T35" fmla="*/ 125 h 250"/>
                <a:gd name="T36" fmla="*/ 3 w 250"/>
                <a:gd name="T37" fmla="*/ 100 h 250"/>
                <a:gd name="T38" fmla="*/ 10 w 250"/>
                <a:gd name="T39" fmla="*/ 77 h 250"/>
                <a:gd name="T40" fmla="*/ 22 w 250"/>
                <a:gd name="T41" fmla="*/ 55 h 250"/>
                <a:gd name="T42" fmla="*/ 37 w 250"/>
                <a:gd name="T43" fmla="*/ 37 h 250"/>
                <a:gd name="T44" fmla="*/ 55 w 250"/>
                <a:gd name="T45" fmla="*/ 22 h 250"/>
                <a:gd name="T46" fmla="*/ 77 w 250"/>
                <a:gd name="T47" fmla="*/ 10 h 250"/>
                <a:gd name="T48" fmla="*/ 100 w 250"/>
                <a:gd name="T49" fmla="*/ 3 h 250"/>
                <a:gd name="T50" fmla="*/ 125 w 250"/>
                <a:gd name="T51" fmla="*/ 0 h 250"/>
                <a:gd name="T52" fmla="*/ 137 w 250"/>
                <a:gd name="T53" fmla="*/ 1 h 250"/>
                <a:gd name="T54" fmla="*/ 162 w 250"/>
                <a:gd name="T55" fmla="*/ 6 h 250"/>
                <a:gd name="T56" fmla="*/ 185 w 250"/>
                <a:gd name="T57" fmla="*/ 15 h 250"/>
                <a:gd name="T58" fmla="*/ 204 w 250"/>
                <a:gd name="T59" fmla="*/ 29 h 250"/>
                <a:gd name="T60" fmla="*/ 221 w 250"/>
                <a:gd name="T61" fmla="*/ 45 h 250"/>
                <a:gd name="T62" fmla="*/ 234 w 250"/>
                <a:gd name="T63" fmla="*/ 66 h 250"/>
                <a:gd name="T64" fmla="*/ 244 w 250"/>
                <a:gd name="T65" fmla="*/ 88 h 250"/>
                <a:gd name="T66" fmla="*/ 249 w 250"/>
                <a:gd name="T67" fmla="*/ 112 h 250"/>
                <a:gd name="T68" fmla="*/ 250 w 250"/>
                <a:gd name="T69" fmla="*/ 12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0" h="250">
                  <a:moveTo>
                    <a:pt x="250" y="125"/>
                  </a:moveTo>
                  <a:lnTo>
                    <a:pt x="250" y="125"/>
                  </a:lnTo>
                  <a:lnTo>
                    <a:pt x="249" y="137"/>
                  </a:lnTo>
                  <a:lnTo>
                    <a:pt x="248" y="151"/>
                  </a:lnTo>
                  <a:lnTo>
                    <a:pt x="244" y="163"/>
                  </a:lnTo>
                  <a:lnTo>
                    <a:pt x="241" y="174"/>
                  </a:lnTo>
                  <a:lnTo>
                    <a:pt x="234" y="185"/>
                  </a:lnTo>
                  <a:lnTo>
                    <a:pt x="228" y="194"/>
                  </a:lnTo>
                  <a:lnTo>
                    <a:pt x="221" y="204"/>
                  </a:lnTo>
                  <a:lnTo>
                    <a:pt x="214" y="214"/>
                  </a:lnTo>
                  <a:lnTo>
                    <a:pt x="204" y="221"/>
                  </a:lnTo>
                  <a:lnTo>
                    <a:pt x="194" y="228"/>
                  </a:lnTo>
                  <a:lnTo>
                    <a:pt x="185" y="234"/>
                  </a:lnTo>
                  <a:lnTo>
                    <a:pt x="174" y="240"/>
                  </a:lnTo>
                  <a:lnTo>
                    <a:pt x="162" y="244"/>
                  </a:lnTo>
                  <a:lnTo>
                    <a:pt x="151" y="248"/>
                  </a:lnTo>
                  <a:lnTo>
                    <a:pt x="137" y="249"/>
                  </a:lnTo>
                  <a:lnTo>
                    <a:pt x="125" y="250"/>
                  </a:lnTo>
                  <a:lnTo>
                    <a:pt x="125" y="250"/>
                  </a:lnTo>
                  <a:lnTo>
                    <a:pt x="112" y="249"/>
                  </a:lnTo>
                  <a:lnTo>
                    <a:pt x="100" y="248"/>
                  </a:lnTo>
                  <a:lnTo>
                    <a:pt x="88" y="244"/>
                  </a:lnTo>
                  <a:lnTo>
                    <a:pt x="77" y="240"/>
                  </a:lnTo>
                  <a:lnTo>
                    <a:pt x="66" y="234"/>
                  </a:lnTo>
                  <a:lnTo>
                    <a:pt x="55" y="228"/>
                  </a:lnTo>
                  <a:lnTo>
                    <a:pt x="45" y="221"/>
                  </a:lnTo>
                  <a:lnTo>
                    <a:pt x="37" y="214"/>
                  </a:lnTo>
                  <a:lnTo>
                    <a:pt x="28" y="204"/>
                  </a:lnTo>
                  <a:lnTo>
                    <a:pt x="22" y="194"/>
                  </a:lnTo>
                  <a:lnTo>
                    <a:pt x="15" y="185"/>
                  </a:lnTo>
                  <a:lnTo>
                    <a:pt x="10" y="174"/>
                  </a:lnTo>
                  <a:lnTo>
                    <a:pt x="6" y="163"/>
                  </a:lnTo>
                  <a:lnTo>
                    <a:pt x="3" y="151"/>
                  </a:lnTo>
                  <a:lnTo>
                    <a:pt x="0" y="137"/>
                  </a:lnTo>
                  <a:lnTo>
                    <a:pt x="0" y="125"/>
                  </a:lnTo>
                  <a:lnTo>
                    <a:pt x="0" y="125"/>
                  </a:lnTo>
                  <a:lnTo>
                    <a:pt x="0" y="112"/>
                  </a:lnTo>
                  <a:lnTo>
                    <a:pt x="3" y="100"/>
                  </a:lnTo>
                  <a:lnTo>
                    <a:pt x="6" y="88"/>
                  </a:lnTo>
                  <a:lnTo>
                    <a:pt x="10" y="77"/>
                  </a:lnTo>
                  <a:lnTo>
                    <a:pt x="15" y="66"/>
                  </a:lnTo>
                  <a:lnTo>
                    <a:pt x="22" y="55"/>
                  </a:lnTo>
                  <a:lnTo>
                    <a:pt x="28" y="45"/>
                  </a:lnTo>
                  <a:lnTo>
                    <a:pt x="37" y="37"/>
                  </a:lnTo>
                  <a:lnTo>
                    <a:pt x="45" y="29"/>
                  </a:lnTo>
                  <a:lnTo>
                    <a:pt x="55" y="22"/>
                  </a:lnTo>
                  <a:lnTo>
                    <a:pt x="66" y="15"/>
                  </a:lnTo>
                  <a:lnTo>
                    <a:pt x="77" y="10"/>
                  </a:lnTo>
                  <a:lnTo>
                    <a:pt x="88" y="6"/>
                  </a:lnTo>
                  <a:lnTo>
                    <a:pt x="100" y="3"/>
                  </a:lnTo>
                  <a:lnTo>
                    <a:pt x="112" y="1"/>
                  </a:lnTo>
                  <a:lnTo>
                    <a:pt x="125" y="0"/>
                  </a:lnTo>
                  <a:lnTo>
                    <a:pt x="125" y="0"/>
                  </a:lnTo>
                  <a:lnTo>
                    <a:pt x="137" y="1"/>
                  </a:lnTo>
                  <a:lnTo>
                    <a:pt x="151" y="3"/>
                  </a:lnTo>
                  <a:lnTo>
                    <a:pt x="162" y="6"/>
                  </a:lnTo>
                  <a:lnTo>
                    <a:pt x="174" y="10"/>
                  </a:lnTo>
                  <a:lnTo>
                    <a:pt x="185" y="15"/>
                  </a:lnTo>
                  <a:lnTo>
                    <a:pt x="194" y="22"/>
                  </a:lnTo>
                  <a:lnTo>
                    <a:pt x="204" y="29"/>
                  </a:lnTo>
                  <a:lnTo>
                    <a:pt x="214" y="37"/>
                  </a:lnTo>
                  <a:lnTo>
                    <a:pt x="221" y="45"/>
                  </a:lnTo>
                  <a:lnTo>
                    <a:pt x="228" y="55"/>
                  </a:lnTo>
                  <a:lnTo>
                    <a:pt x="234" y="66"/>
                  </a:lnTo>
                  <a:lnTo>
                    <a:pt x="241" y="77"/>
                  </a:lnTo>
                  <a:lnTo>
                    <a:pt x="244" y="88"/>
                  </a:lnTo>
                  <a:lnTo>
                    <a:pt x="248" y="100"/>
                  </a:lnTo>
                  <a:lnTo>
                    <a:pt x="249" y="112"/>
                  </a:lnTo>
                  <a:lnTo>
                    <a:pt x="250" y="125"/>
                  </a:lnTo>
                  <a:lnTo>
                    <a:pt x="250"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13"/>
            <p:cNvSpPr>
              <a:spLocks noEditPoints="1"/>
            </p:cNvSpPr>
            <p:nvPr/>
          </p:nvSpPr>
          <p:spPr bwMode="auto">
            <a:xfrm>
              <a:off x="7358062" y="739775"/>
              <a:ext cx="458788" cy="552450"/>
            </a:xfrm>
            <a:custGeom>
              <a:avLst/>
              <a:gdLst>
                <a:gd name="T0" fmla="*/ 821 w 869"/>
                <a:gd name="T1" fmla="*/ 961 h 1044"/>
                <a:gd name="T2" fmla="*/ 801 w 869"/>
                <a:gd name="T3" fmla="*/ 985 h 1044"/>
                <a:gd name="T4" fmla="*/ 798 w 869"/>
                <a:gd name="T5" fmla="*/ 990 h 1044"/>
                <a:gd name="T6" fmla="*/ 798 w 869"/>
                <a:gd name="T7" fmla="*/ 990 h 1044"/>
                <a:gd name="T8" fmla="*/ 795 w 869"/>
                <a:gd name="T9" fmla="*/ 989 h 1044"/>
                <a:gd name="T10" fmla="*/ 758 w 869"/>
                <a:gd name="T11" fmla="*/ 961 h 1044"/>
                <a:gd name="T12" fmla="*/ 667 w 869"/>
                <a:gd name="T13" fmla="*/ 1044 h 1044"/>
                <a:gd name="T14" fmla="*/ 542 w 869"/>
                <a:gd name="T15" fmla="*/ 800 h 1044"/>
                <a:gd name="T16" fmla="*/ 378 w 869"/>
                <a:gd name="T17" fmla="*/ 678 h 1044"/>
                <a:gd name="T18" fmla="*/ 371 w 869"/>
                <a:gd name="T19" fmla="*/ 672 h 1044"/>
                <a:gd name="T20" fmla="*/ 363 w 869"/>
                <a:gd name="T21" fmla="*/ 665 h 1044"/>
                <a:gd name="T22" fmla="*/ 357 w 869"/>
                <a:gd name="T23" fmla="*/ 657 h 1044"/>
                <a:gd name="T24" fmla="*/ 352 w 869"/>
                <a:gd name="T25" fmla="*/ 649 h 1044"/>
                <a:gd name="T26" fmla="*/ 344 w 869"/>
                <a:gd name="T27" fmla="*/ 632 h 1044"/>
                <a:gd name="T28" fmla="*/ 338 w 869"/>
                <a:gd name="T29" fmla="*/ 614 h 1044"/>
                <a:gd name="T30" fmla="*/ 333 w 869"/>
                <a:gd name="T31" fmla="*/ 576 h 1044"/>
                <a:gd name="T32" fmla="*/ 333 w 869"/>
                <a:gd name="T33" fmla="*/ 146 h 1044"/>
                <a:gd name="T34" fmla="*/ 314 w 869"/>
                <a:gd name="T35" fmla="*/ 303 h 1044"/>
                <a:gd name="T36" fmla="*/ 0 w 869"/>
                <a:gd name="T37" fmla="*/ 212 h 1044"/>
                <a:gd name="T38" fmla="*/ 201 w 869"/>
                <a:gd name="T39" fmla="*/ 83 h 1044"/>
                <a:gd name="T40" fmla="*/ 201 w 869"/>
                <a:gd name="T41" fmla="*/ 76 h 1044"/>
                <a:gd name="T42" fmla="*/ 201 w 869"/>
                <a:gd name="T43" fmla="*/ 69 h 1044"/>
                <a:gd name="T44" fmla="*/ 204 w 869"/>
                <a:gd name="T45" fmla="*/ 53 h 1044"/>
                <a:gd name="T46" fmla="*/ 207 w 869"/>
                <a:gd name="T47" fmla="*/ 46 h 1044"/>
                <a:gd name="T48" fmla="*/ 215 w 869"/>
                <a:gd name="T49" fmla="*/ 32 h 1044"/>
                <a:gd name="T50" fmla="*/ 221 w 869"/>
                <a:gd name="T51" fmla="*/ 26 h 1044"/>
                <a:gd name="T52" fmla="*/ 233 w 869"/>
                <a:gd name="T53" fmla="*/ 17 h 1044"/>
                <a:gd name="T54" fmla="*/ 247 w 869"/>
                <a:gd name="T55" fmla="*/ 9 h 1044"/>
                <a:gd name="T56" fmla="*/ 275 w 869"/>
                <a:gd name="T57" fmla="*/ 1 h 1044"/>
                <a:gd name="T58" fmla="*/ 283 w 869"/>
                <a:gd name="T59" fmla="*/ 1 h 1044"/>
                <a:gd name="T60" fmla="*/ 305 w 869"/>
                <a:gd name="T61" fmla="*/ 0 h 1044"/>
                <a:gd name="T62" fmla="*/ 390 w 869"/>
                <a:gd name="T63" fmla="*/ 0 h 1044"/>
                <a:gd name="T64" fmla="*/ 446 w 869"/>
                <a:gd name="T65" fmla="*/ 0 h 1044"/>
                <a:gd name="T66" fmla="*/ 503 w 869"/>
                <a:gd name="T67" fmla="*/ 7 h 1044"/>
                <a:gd name="T68" fmla="*/ 681 w 869"/>
                <a:gd name="T69" fmla="*/ 0 h 1044"/>
                <a:gd name="T70" fmla="*/ 698 w 869"/>
                <a:gd name="T71" fmla="*/ 0 h 1044"/>
                <a:gd name="T72" fmla="*/ 702 w 869"/>
                <a:gd name="T73" fmla="*/ 0 h 1044"/>
                <a:gd name="T74" fmla="*/ 704 w 869"/>
                <a:gd name="T75" fmla="*/ 0 h 1044"/>
                <a:gd name="T76" fmla="*/ 727 w 869"/>
                <a:gd name="T77" fmla="*/ 5 h 1044"/>
                <a:gd name="T78" fmla="*/ 739 w 869"/>
                <a:gd name="T79" fmla="*/ 8 h 1044"/>
                <a:gd name="T80" fmla="*/ 760 w 869"/>
                <a:gd name="T81" fmla="*/ 20 h 1044"/>
                <a:gd name="T82" fmla="*/ 768 w 869"/>
                <a:gd name="T83" fmla="*/ 29 h 1044"/>
                <a:gd name="T84" fmla="*/ 782 w 869"/>
                <a:gd name="T85" fmla="*/ 51 h 1044"/>
                <a:gd name="T86" fmla="*/ 785 w 869"/>
                <a:gd name="T87" fmla="*/ 63 h 1044"/>
                <a:gd name="T88" fmla="*/ 787 w 869"/>
                <a:gd name="T89" fmla="*/ 120 h 1044"/>
                <a:gd name="T90" fmla="*/ 682 w 869"/>
                <a:gd name="T91" fmla="*/ 484 h 1044"/>
                <a:gd name="T92" fmla="*/ 667 w 869"/>
                <a:gd name="T93" fmla="*/ 146 h 1044"/>
                <a:gd name="T94" fmla="*/ 869 w 869"/>
                <a:gd name="T95" fmla="*/ 898 h 1044"/>
                <a:gd name="T96" fmla="*/ 652 w 869"/>
                <a:gd name="T97" fmla="*/ 882 h 1044"/>
                <a:gd name="T98" fmla="*/ 556 w 869"/>
                <a:gd name="T99" fmla="*/ 811 h 1044"/>
                <a:gd name="T100" fmla="*/ 652 w 869"/>
                <a:gd name="T101" fmla="*/ 1030 h 1044"/>
                <a:gd name="T102" fmla="*/ 497 w 869"/>
                <a:gd name="T103" fmla="*/ 30 h 1044"/>
                <a:gd name="T104" fmla="*/ 497 w 869"/>
                <a:gd name="T105" fmla="*/ 390 h 1044"/>
                <a:gd name="T106" fmla="*/ 542 w 869"/>
                <a:gd name="T107" fmla="*/ 638 h 1044"/>
                <a:gd name="T108" fmla="*/ 480 w 869"/>
                <a:gd name="T109" fmla="*/ 497 h 1044"/>
                <a:gd name="T110" fmla="*/ 542 w 869"/>
                <a:gd name="T111" fmla="*/ 638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9" h="1044">
                  <a:moveTo>
                    <a:pt x="869" y="898"/>
                  </a:moveTo>
                  <a:lnTo>
                    <a:pt x="821" y="961"/>
                  </a:lnTo>
                  <a:lnTo>
                    <a:pt x="810" y="975"/>
                  </a:lnTo>
                  <a:lnTo>
                    <a:pt x="801" y="985"/>
                  </a:lnTo>
                  <a:lnTo>
                    <a:pt x="799" y="989"/>
                  </a:lnTo>
                  <a:lnTo>
                    <a:pt x="798" y="990"/>
                  </a:lnTo>
                  <a:lnTo>
                    <a:pt x="798" y="990"/>
                  </a:lnTo>
                  <a:lnTo>
                    <a:pt x="798" y="990"/>
                  </a:lnTo>
                  <a:lnTo>
                    <a:pt x="798" y="990"/>
                  </a:lnTo>
                  <a:lnTo>
                    <a:pt x="795" y="989"/>
                  </a:lnTo>
                  <a:lnTo>
                    <a:pt x="788" y="984"/>
                  </a:lnTo>
                  <a:lnTo>
                    <a:pt x="758" y="961"/>
                  </a:lnTo>
                  <a:lnTo>
                    <a:pt x="667" y="893"/>
                  </a:lnTo>
                  <a:lnTo>
                    <a:pt x="667" y="1044"/>
                  </a:lnTo>
                  <a:lnTo>
                    <a:pt x="542" y="1044"/>
                  </a:lnTo>
                  <a:lnTo>
                    <a:pt x="542" y="800"/>
                  </a:lnTo>
                  <a:lnTo>
                    <a:pt x="407" y="700"/>
                  </a:lnTo>
                  <a:lnTo>
                    <a:pt x="378" y="678"/>
                  </a:lnTo>
                  <a:lnTo>
                    <a:pt x="378" y="678"/>
                  </a:lnTo>
                  <a:lnTo>
                    <a:pt x="371" y="672"/>
                  </a:lnTo>
                  <a:lnTo>
                    <a:pt x="371" y="672"/>
                  </a:lnTo>
                  <a:lnTo>
                    <a:pt x="363" y="665"/>
                  </a:lnTo>
                  <a:lnTo>
                    <a:pt x="363" y="665"/>
                  </a:lnTo>
                  <a:lnTo>
                    <a:pt x="357" y="657"/>
                  </a:lnTo>
                  <a:lnTo>
                    <a:pt x="352" y="649"/>
                  </a:lnTo>
                  <a:lnTo>
                    <a:pt x="352" y="649"/>
                  </a:lnTo>
                  <a:lnTo>
                    <a:pt x="347" y="640"/>
                  </a:lnTo>
                  <a:lnTo>
                    <a:pt x="344" y="632"/>
                  </a:lnTo>
                  <a:lnTo>
                    <a:pt x="338" y="614"/>
                  </a:lnTo>
                  <a:lnTo>
                    <a:pt x="338" y="614"/>
                  </a:lnTo>
                  <a:lnTo>
                    <a:pt x="334" y="595"/>
                  </a:lnTo>
                  <a:lnTo>
                    <a:pt x="333" y="576"/>
                  </a:lnTo>
                  <a:lnTo>
                    <a:pt x="333" y="430"/>
                  </a:lnTo>
                  <a:lnTo>
                    <a:pt x="333" y="146"/>
                  </a:lnTo>
                  <a:lnTo>
                    <a:pt x="314" y="146"/>
                  </a:lnTo>
                  <a:lnTo>
                    <a:pt x="314" y="303"/>
                  </a:lnTo>
                  <a:lnTo>
                    <a:pt x="61" y="303"/>
                  </a:lnTo>
                  <a:lnTo>
                    <a:pt x="0" y="212"/>
                  </a:lnTo>
                  <a:lnTo>
                    <a:pt x="201" y="212"/>
                  </a:lnTo>
                  <a:lnTo>
                    <a:pt x="201" y="83"/>
                  </a:lnTo>
                  <a:lnTo>
                    <a:pt x="201" y="76"/>
                  </a:lnTo>
                  <a:lnTo>
                    <a:pt x="201" y="76"/>
                  </a:lnTo>
                  <a:lnTo>
                    <a:pt x="201" y="69"/>
                  </a:lnTo>
                  <a:lnTo>
                    <a:pt x="201" y="69"/>
                  </a:lnTo>
                  <a:lnTo>
                    <a:pt x="202" y="62"/>
                  </a:lnTo>
                  <a:lnTo>
                    <a:pt x="204" y="53"/>
                  </a:lnTo>
                  <a:lnTo>
                    <a:pt x="204" y="53"/>
                  </a:lnTo>
                  <a:lnTo>
                    <a:pt x="207" y="46"/>
                  </a:lnTo>
                  <a:lnTo>
                    <a:pt x="210" y="38"/>
                  </a:lnTo>
                  <a:lnTo>
                    <a:pt x="215" y="32"/>
                  </a:lnTo>
                  <a:lnTo>
                    <a:pt x="221" y="26"/>
                  </a:lnTo>
                  <a:lnTo>
                    <a:pt x="221" y="26"/>
                  </a:lnTo>
                  <a:lnTo>
                    <a:pt x="226" y="22"/>
                  </a:lnTo>
                  <a:lnTo>
                    <a:pt x="233" y="17"/>
                  </a:lnTo>
                  <a:lnTo>
                    <a:pt x="247" y="9"/>
                  </a:lnTo>
                  <a:lnTo>
                    <a:pt x="247" y="9"/>
                  </a:lnTo>
                  <a:lnTo>
                    <a:pt x="260" y="5"/>
                  </a:lnTo>
                  <a:lnTo>
                    <a:pt x="275" y="1"/>
                  </a:lnTo>
                  <a:lnTo>
                    <a:pt x="275" y="1"/>
                  </a:lnTo>
                  <a:lnTo>
                    <a:pt x="283" y="1"/>
                  </a:lnTo>
                  <a:lnTo>
                    <a:pt x="290" y="0"/>
                  </a:lnTo>
                  <a:lnTo>
                    <a:pt x="305" y="0"/>
                  </a:lnTo>
                  <a:lnTo>
                    <a:pt x="333" y="0"/>
                  </a:lnTo>
                  <a:lnTo>
                    <a:pt x="390" y="0"/>
                  </a:lnTo>
                  <a:lnTo>
                    <a:pt x="446" y="0"/>
                  </a:lnTo>
                  <a:lnTo>
                    <a:pt x="446" y="0"/>
                  </a:lnTo>
                  <a:lnTo>
                    <a:pt x="503" y="0"/>
                  </a:lnTo>
                  <a:lnTo>
                    <a:pt x="503" y="7"/>
                  </a:lnTo>
                  <a:lnTo>
                    <a:pt x="503" y="0"/>
                  </a:lnTo>
                  <a:lnTo>
                    <a:pt x="681" y="0"/>
                  </a:lnTo>
                  <a:lnTo>
                    <a:pt x="692" y="0"/>
                  </a:lnTo>
                  <a:lnTo>
                    <a:pt x="698" y="0"/>
                  </a:lnTo>
                  <a:lnTo>
                    <a:pt x="699" y="0"/>
                  </a:lnTo>
                  <a:lnTo>
                    <a:pt x="702" y="0"/>
                  </a:lnTo>
                  <a:lnTo>
                    <a:pt x="704" y="0"/>
                  </a:lnTo>
                  <a:lnTo>
                    <a:pt x="704" y="0"/>
                  </a:lnTo>
                  <a:lnTo>
                    <a:pt x="716" y="2"/>
                  </a:lnTo>
                  <a:lnTo>
                    <a:pt x="727" y="5"/>
                  </a:lnTo>
                  <a:lnTo>
                    <a:pt x="727" y="5"/>
                  </a:lnTo>
                  <a:lnTo>
                    <a:pt x="739" y="8"/>
                  </a:lnTo>
                  <a:lnTo>
                    <a:pt x="749" y="14"/>
                  </a:lnTo>
                  <a:lnTo>
                    <a:pt x="760" y="20"/>
                  </a:lnTo>
                  <a:lnTo>
                    <a:pt x="768" y="29"/>
                  </a:lnTo>
                  <a:lnTo>
                    <a:pt x="768" y="29"/>
                  </a:lnTo>
                  <a:lnTo>
                    <a:pt x="777" y="38"/>
                  </a:lnTo>
                  <a:lnTo>
                    <a:pt x="782" y="51"/>
                  </a:lnTo>
                  <a:lnTo>
                    <a:pt x="782" y="51"/>
                  </a:lnTo>
                  <a:lnTo>
                    <a:pt x="785" y="63"/>
                  </a:lnTo>
                  <a:lnTo>
                    <a:pt x="787" y="75"/>
                  </a:lnTo>
                  <a:lnTo>
                    <a:pt x="787" y="120"/>
                  </a:lnTo>
                  <a:lnTo>
                    <a:pt x="787" y="484"/>
                  </a:lnTo>
                  <a:lnTo>
                    <a:pt x="682" y="484"/>
                  </a:lnTo>
                  <a:lnTo>
                    <a:pt x="682" y="146"/>
                  </a:lnTo>
                  <a:lnTo>
                    <a:pt x="667" y="146"/>
                  </a:lnTo>
                  <a:lnTo>
                    <a:pt x="667" y="736"/>
                  </a:lnTo>
                  <a:lnTo>
                    <a:pt x="869" y="898"/>
                  </a:lnTo>
                  <a:close/>
                  <a:moveTo>
                    <a:pt x="652" y="1030"/>
                  </a:moveTo>
                  <a:lnTo>
                    <a:pt x="652" y="882"/>
                  </a:lnTo>
                  <a:lnTo>
                    <a:pt x="641" y="873"/>
                  </a:lnTo>
                  <a:lnTo>
                    <a:pt x="556" y="811"/>
                  </a:lnTo>
                  <a:lnTo>
                    <a:pt x="556" y="1030"/>
                  </a:lnTo>
                  <a:lnTo>
                    <a:pt x="652" y="1030"/>
                  </a:lnTo>
                  <a:close/>
                  <a:moveTo>
                    <a:pt x="577" y="284"/>
                  </a:moveTo>
                  <a:lnTo>
                    <a:pt x="497" y="30"/>
                  </a:lnTo>
                  <a:lnTo>
                    <a:pt x="417" y="284"/>
                  </a:lnTo>
                  <a:lnTo>
                    <a:pt x="497" y="390"/>
                  </a:lnTo>
                  <a:lnTo>
                    <a:pt x="577" y="284"/>
                  </a:lnTo>
                  <a:close/>
                  <a:moveTo>
                    <a:pt x="542" y="638"/>
                  </a:moveTo>
                  <a:lnTo>
                    <a:pt x="542" y="453"/>
                  </a:lnTo>
                  <a:lnTo>
                    <a:pt x="480" y="497"/>
                  </a:lnTo>
                  <a:lnTo>
                    <a:pt x="480" y="588"/>
                  </a:lnTo>
                  <a:lnTo>
                    <a:pt x="542" y="6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314"/>
            <p:cNvSpPr>
              <a:spLocks/>
            </p:cNvSpPr>
            <p:nvPr/>
          </p:nvSpPr>
          <p:spPr bwMode="auto">
            <a:xfrm>
              <a:off x="7578725" y="755650"/>
              <a:ext cx="84138" cy="190500"/>
            </a:xfrm>
            <a:custGeom>
              <a:avLst/>
              <a:gdLst>
                <a:gd name="T0" fmla="*/ 80 w 160"/>
                <a:gd name="T1" fmla="*/ 0 h 360"/>
                <a:gd name="T2" fmla="*/ 160 w 160"/>
                <a:gd name="T3" fmla="*/ 254 h 360"/>
                <a:gd name="T4" fmla="*/ 80 w 160"/>
                <a:gd name="T5" fmla="*/ 360 h 360"/>
                <a:gd name="T6" fmla="*/ 0 w 160"/>
                <a:gd name="T7" fmla="*/ 254 h 360"/>
                <a:gd name="T8" fmla="*/ 80 w 160"/>
                <a:gd name="T9" fmla="*/ 0 h 360"/>
              </a:gdLst>
              <a:ahLst/>
              <a:cxnLst>
                <a:cxn ang="0">
                  <a:pos x="T0" y="T1"/>
                </a:cxn>
                <a:cxn ang="0">
                  <a:pos x="T2" y="T3"/>
                </a:cxn>
                <a:cxn ang="0">
                  <a:pos x="T4" y="T5"/>
                </a:cxn>
                <a:cxn ang="0">
                  <a:pos x="T6" y="T7"/>
                </a:cxn>
                <a:cxn ang="0">
                  <a:pos x="T8" y="T9"/>
                </a:cxn>
              </a:cxnLst>
              <a:rect l="0" t="0" r="r" b="b"/>
              <a:pathLst>
                <a:path w="160" h="360">
                  <a:moveTo>
                    <a:pt x="80" y="0"/>
                  </a:moveTo>
                  <a:lnTo>
                    <a:pt x="160" y="254"/>
                  </a:lnTo>
                  <a:lnTo>
                    <a:pt x="80" y="360"/>
                  </a:lnTo>
                  <a:lnTo>
                    <a:pt x="0" y="254"/>
                  </a:ln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0" name="Group 49"/>
          <p:cNvGrpSpPr/>
          <p:nvPr/>
        </p:nvGrpSpPr>
        <p:grpSpPr>
          <a:xfrm>
            <a:off x="8636415" y="2354689"/>
            <a:ext cx="668337" cy="603250"/>
            <a:chOff x="8216900" y="593725"/>
            <a:chExt cx="668337" cy="603250"/>
          </a:xfrm>
          <a:solidFill>
            <a:schemeClr val="tx1">
              <a:lumMod val="85000"/>
              <a:lumOff val="15000"/>
            </a:schemeClr>
          </a:solidFill>
        </p:grpSpPr>
        <p:sp>
          <p:nvSpPr>
            <p:cNvPr id="51" name="Freeform 634"/>
            <p:cNvSpPr>
              <a:spLocks/>
            </p:cNvSpPr>
            <p:nvPr/>
          </p:nvSpPr>
          <p:spPr bwMode="auto">
            <a:xfrm>
              <a:off x="8672512" y="1033463"/>
              <a:ext cx="212725" cy="127000"/>
            </a:xfrm>
            <a:custGeom>
              <a:avLst/>
              <a:gdLst>
                <a:gd name="T0" fmla="*/ 401 w 401"/>
                <a:gd name="T1" fmla="*/ 71 h 241"/>
                <a:gd name="T2" fmla="*/ 401 w 401"/>
                <a:gd name="T3" fmla="*/ 71 h 241"/>
                <a:gd name="T4" fmla="*/ 401 w 401"/>
                <a:gd name="T5" fmla="*/ 195 h 241"/>
                <a:gd name="T6" fmla="*/ 401 w 401"/>
                <a:gd name="T7" fmla="*/ 195 h 241"/>
                <a:gd name="T8" fmla="*/ 398 w 401"/>
                <a:gd name="T9" fmla="*/ 201 h 241"/>
                <a:gd name="T10" fmla="*/ 395 w 401"/>
                <a:gd name="T11" fmla="*/ 209 h 241"/>
                <a:gd name="T12" fmla="*/ 390 w 401"/>
                <a:gd name="T13" fmla="*/ 218 h 241"/>
                <a:gd name="T14" fmla="*/ 381 w 401"/>
                <a:gd name="T15" fmla="*/ 225 h 241"/>
                <a:gd name="T16" fmla="*/ 376 w 401"/>
                <a:gd name="T17" fmla="*/ 230 h 241"/>
                <a:gd name="T18" fmla="*/ 370 w 401"/>
                <a:gd name="T19" fmla="*/ 233 h 241"/>
                <a:gd name="T20" fmla="*/ 363 w 401"/>
                <a:gd name="T21" fmla="*/ 236 h 241"/>
                <a:gd name="T22" fmla="*/ 356 w 401"/>
                <a:gd name="T23" fmla="*/ 238 h 241"/>
                <a:gd name="T24" fmla="*/ 347 w 401"/>
                <a:gd name="T25" fmla="*/ 239 h 241"/>
                <a:gd name="T26" fmla="*/ 337 w 401"/>
                <a:gd name="T27" fmla="*/ 241 h 241"/>
                <a:gd name="T28" fmla="*/ 337 w 401"/>
                <a:gd name="T29" fmla="*/ 241 h 241"/>
                <a:gd name="T30" fmla="*/ 17 w 401"/>
                <a:gd name="T31" fmla="*/ 241 h 241"/>
                <a:gd name="T32" fmla="*/ 17 w 401"/>
                <a:gd name="T33" fmla="*/ 241 h 241"/>
                <a:gd name="T34" fmla="*/ 23 w 401"/>
                <a:gd name="T35" fmla="*/ 230 h 241"/>
                <a:gd name="T36" fmla="*/ 28 w 401"/>
                <a:gd name="T37" fmla="*/ 218 h 241"/>
                <a:gd name="T38" fmla="*/ 31 w 401"/>
                <a:gd name="T39" fmla="*/ 205 h 241"/>
                <a:gd name="T40" fmla="*/ 32 w 401"/>
                <a:gd name="T41" fmla="*/ 192 h 241"/>
                <a:gd name="T42" fmla="*/ 32 w 401"/>
                <a:gd name="T43" fmla="*/ 192 h 241"/>
                <a:gd name="T44" fmla="*/ 31 w 401"/>
                <a:gd name="T45" fmla="*/ 174 h 241"/>
                <a:gd name="T46" fmla="*/ 29 w 401"/>
                <a:gd name="T47" fmla="*/ 157 h 241"/>
                <a:gd name="T48" fmla="*/ 230 w 401"/>
                <a:gd name="T49" fmla="*/ 157 h 241"/>
                <a:gd name="T50" fmla="*/ 230 w 401"/>
                <a:gd name="T51" fmla="*/ 157 h 241"/>
                <a:gd name="T52" fmla="*/ 233 w 401"/>
                <a:gd name="T53" fmla="*/ 156 h 241"/>
                <a:gd name="T54" fmla="*/ 237 w 401"/>
                <a:gd name="T55" fmla="*/ 154 h 241"/>
                <a:gd name="T56" fmla="*/ 243 w 401"/>
                <a:gd name="T57" fmla="*/ 151 h 241"/>
                <a:gd name="T58" fmla="*/ 247 w 401"/>
                <a:gd name="T59" fmla="*/ 145 h 241"/>
                <a:gd name="T60" fmla="*/ 248 w 401"/>
                <a:gd name="T61" fmla="*/ 142 h 241"/>
                <a:gd name="T62" fmla="*/ 248 w 401"/>
                <a:gd name="T63" fmla="*/ 139 h 241"/>
                <a:gd name="T64" fmla="*/ 248 w 401"/>
                <a:gd name="T65" fmla="*/ 139 h 241"/>
                <a:gd name="T66" fmla="*/ 248 w 401"/>
                <a:gd name="T67" fmla="*/ 135 h 241"/>
                <a:gd name="T68" fmla="*/ 247 w 401"/>
                <a:gd name="T69" fmla="*/ 131 h 241"/>
                <a:gd name="T70" fmla="*/ 243 w 401"/>
                <a:gd name="T71" fmla="*/ 125 h 241"/>
                <a:gd name="T72" fmla="*/ 237 w 401"/>
                <a:gd name="T73" fmla="*/ 122 h 241"/>
                <a:gd name="T74" fmla="*/ 233 w 401"/>
                <a:gd name="T75" fmla="*/ 121 h 241"/>
                <a:gd name="T76" fmla="*/ 230 w 401"/>
                <a:gd name="T77" fmla="*/ 121 h 241"/>
                <a:gd name="T78" fmla="*/ 24 w 401"/>
                <a:gd name="T79" fmla="*/ 121 h 241"/>
                <a:gd name="T80" fmla="*/ 24 w 401"/>
                <a:gd name="T81" fmla="*/ 121 h 241"/>
                <a:gd name="T82" fmla="*/ 21 w 401"/>
                <a:gd name="T83" fmla="*/ 100 h 241"/>
                <a:gd name="T84" fmla="*/ 15 w 401"/>
                <a:gd name="T85" fmla="*/ 80 h 241"/>
                <a:gd name="T86" fmla="*/ 9 w 401"/>
                <a:gd name="T87" fmla="*/ 61 h 241"/>
                <a:gd name="T88" fmla="*/ 0 w 401"/>
                <a:gd name="T89" fmla="*/ 43 h 241"/>
                <a:gd name="T90" fmla="*/ 310 w 401"/>
                <a:gd name="T91" fmla="*/ 3 h 241"/>
                <a:gd name="T92" fmla="*/ 310 w 401"/>
                <a:gd name="T93" fmla="*/ 3 h 241"/>
                <a:gd name="T94" fmla="*/ 313 w 401"/>
                <a:gd name="T95" fmla="*/ 2 h 241"/>
                <a:gd name="T96" fmla="*/ 324 w 401"/>
                <a:gd name="T97" fmla="*/ 0 h 241"/>
                <a:gd name="T98" fmla="*/ 339 w 401"/>
                <a:gd name="T99" fmla="*/ 0 h 241"/>
                <a:gd name="T100" fmla="*/ 346 w 401"/>
                <a:gd name="T101" fmla="*/ 2 h 241"/>
                <a:gd name="T102" fmla="*/ 356 w 401"/>
                <a:gd name="T103" fmla="*/ 3 h 241"/>
                <a:gd name="T104" fmla="*/ 364 w 401"/>
                <a:gd name="T105" fmla="*/ 6 h 241"/>
                <a:gd name="T106" fmla="*/ 371 w 401"/>
                <a:gd name="T107" fmla="*/ 10 h 241"/>
                <a:gd name="T108" fmla="*/ 380 w 401"/>
                <a:gd name="T109" fmla="*/ 16 h 241"/>
                <a:gd name="T110" fmla="*/ 386 w 401"/>
                <a:gd name="T111" fmla="*/ 22 h 241"/>
                <a:gd name="T112" fmla="*/ 392 w 401"/>
                <a:gd name="T113" fmla="*/ 32 h 241"/>
                <a:gd name="T114" fmla="*/ 397 w 401"/>
                <a:gd name="T115" fmla="*/ 43 h 241"/>
                <a:gd name="T116" fmla="*/ 399 w 401"/>
                <a:gd name="T117" fmla="*/ 55 h 241"/>
                <a:gd name="T118" fmla="*/ 401 w 401"/>
                <a:gd name="T119" fmla="*/ 71 h 241"/>
                <a:gd name="T120" fmla="*/ 401 w 401"/>
                <a:gd name="T121" fmla="*/ 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1" h="241">
                  <a:moveTo>
                    <a:pt x="401" y="71"/>
                  </a:moveTo>
                  <a:lnTo>
                    <a:pt x="401" y="71"/>
                  </a:lnTo>
                  <a:lnTo>
                    <a:pt x="401" y="195"/>
                  </a:lnTo>
                  <a:lnTo>
                    <a:pt x="401" y="195"/>
                  </a:lnTo>
                  <a:lnTo>
                    <a:pt x="398" y="201"/>
                  </a:lnTo>
                  <a:lnTo>
                    <a:pt x="395" y="209"/>
                  </a:lnTo>
                  <a:lnTo>
                    <a:pt x="390" y="218"/>
                  </a:lnTo>
                  <a:lnTo>
                    <a:pt x="381" y="225"/>
                  </a:lnTo>
                  <a:lnTo>
                    <a:pt x="376" y="230"/>
                  </a:lnTo>
                  <a:lnTo>
                    <a:pt x="370" y="233"/>
                  </a:lnTo>
                  <a:lnTo>
                    <a:pt x="363" y="236"/>
                  </a:lnTo>
                  <a:lnTo>
                    <a:pt x="356" y="238"/>
                  </a:lnTo>
                  <a:lnTo>
                    <a:pt x="347" y="239"/>
                  </a:lnTo>
                  <a:lnTo>
                    <a:pt x="337" y="241"/>
                  </a:lnTo>
                  <a:lnTo>
                    <a:pt x="337" y="241"/>
                  </a:lnTo>
                  <a:lnTo>
                    <a:pt x="17" y="241"/>
                  </a:lnTo>
                  <a:lnTo>
                    <a:pt x="17" y="241"/>
                  </a:lnTo>
                  <a:lnTo>
                    <a:pt x="23" y="230"/>
                  </a:lnTo>
                  <a:lnTo>
                    <a:pt x="28" y="218"/>
                  </a:lnTo>
                  <a:lnTo>
                    <a:pt x="31" y="205"/>
                  </a:lnTo>
                  <a:lnTo>
                    <a:pt x="32" y="192"/>
                  </a:lnTo>
                  <a:lnTo>
                    <a:pt x="32" y="192"/>
                  </a:lnTo>
                  <a:lnTo>
                    <a:pt x="31" y="174"/>
                  </a:lnTo>
                  <a:lnTo>
                    <a:pt x="29" y="157"/>
                  </a:lnTo>
                  <a:lnTo>
                    <a:pt x="230" y="157"/>
                  </a:lnTo>
                  <a:lnTo>
                    <a:pt x="230" y="157"/>
                  </a:lnTo>
                  <a:lnTo>
                    <a:pt x="233" y="156"/>
                  </a:lnTo>
                  <a:lnTo>
                    <a:pt x="237" y="154"/>
                  </a:lnTo>
                  <a:lnTo>
                    <a:pt x="243" y="151"/>
                  </a:lnTo>
                  <a:lnTo>
                    <a:pt x="247" y="145"/>
                  </a:lnTo>
                  <a:lnTo>
                    <a:pt x="248" y="142"/>
                  </a:lnTo>
                  <a:lnTo>
                    <a:pt x="248" y="139"/>
                  </a:lnTo>
                  <a:lnTo>
                    <a:pt x="248" y="139"/>
                  </a:lnTo>
                  <a:lnTo>
                    <a:pt x="248" y="135"/>
                  </a:lnTo>
                  <a:lnTo>
                    <a:pt x="247" y="131"/>
                  </a:lnTo>
                  <a:lnTo>
                    <a:pt x="243" y="125"/>
                  </a:lnTo>
                  <a:lnTo>
                    <a:pt x="237" y="122"/>
                  </a:lnTo>
                  <a:lnTo>
                    <a:pt x="233" y="121"/>
                  </a:lnTo>
                  <a:lnTo>
                    <a:pt x="230" y="121"/>
                  </a:lnTo>
                  <a:lnTo>
                    <a:pt x="24" y="121"/>
                  </a:lnTo>
                  <a:lnTo>
                    <a:pt x="24" y="121"/>
                  </a:lnTo>
                  <a:lnTo>
                    <a:pt x="21" y="100"/>
                  </a:lnTo>
                  <a:lnTo>
                    <a:pt x="15" y="80"/>
                  </a:lnTo>
                  <a:lnTo>
                    <a:pt x="9" y="61"/>
                  </a:lnTo>
                  <a:lnTo>
                    <a:pt x="0" y="43"/>
                  </a:lnTo>
                  <a:lnTo>
                    <a:pt x="310" y="3"/>
                  </a:lnTo>
                  <a:lnTo>
                    <a:pt x="310" y="3"/>
                  </a:lnTo>
                  <a:lnTo>
                    <a:pt x="313" y="2"/>
                  </a:lnTo>
                  <a:lnTo>
                    <a:pt x="324" y="0"/>
                  </a:lnTo>
                  <a:lnTo>
                    <a:pt x="339" y="0"/>
                  </a:lnTo>
                  <a:lnTo>
                    <a:pt x="346" y="2"/>
                  </a:lnTo>
                  <a:lnTo>
                    <a:pt x="356" y="3"/>
                  </a:lnTo>
                  <a:lnTo>
                    <a:pt x="364" y="6"/>
                  </a:lnTo>
                  <a:lnTo>
                    <a:pt x="371" y="10"/>
                  </a:lnTo>
                  <a:lnTo>
                    <a:pt x="380" y="16"/>
                  </a:lnTo>
                  <a:lnTo>
                    <a:pt x="386" y="22"/>
                  </a:lnTo>
                  <a:lnTo>
                    <a:pt x="392" y="32"/>
                  </a:lnTo>
                  <a:lnTo>
                    <a:pt x="397" y="43"/>
                  </a:lnTo>
                  <a:lnTo>
                    <a:pt x="399" y="55"/>
                  </a:lnTo>
                  <a:lnTo>
                    <a:pt x="401" y="71"/>
                  </a:lnTo>
                  <a:lnTo>
                    <a:pt x="401"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635"/>
            <p:cNvSpPr>
              <a:spLocks noEditPoints="1"/>
            </p:cNvSpPr>
            <p:nvPr/>
          </p:nvSpPr>
          <p:spPr bwMode="auto">
            <a:xfrm>
              <a:off x="8264525" y="657225"/>
              <a:ext cx="571500" cy="347662"/>
            </a:xfrm>
            <a:custGeom>
              <a:avLst/>
              <a:gdLst>
                <a:gd name="T0" fmla="*/ 1080 w 1080"/>
                <a:gd name="T1" fmla="*/ 288 h 656"/>
                <a:gd name="T2" fmla="*/ 1077 w 1080"/>
                <a:gd name="T3" fmla="*/ 295 h 656"/>
                <a:gd name="T4" fmla="*/ 1069 w 1080"/>
                <a:gd name="T5" fmla="*/ 311 h 656"/>
                <a:gd name="T6" fmla="*/ 1057 w 1080"/>
                <a:gd name="T7" fmla="*/ 324 h 656"/>
                <a:gd name="T8" fmla="*/ 1043 w 1080"/>
                <a:gd name="T9" fmla="*/ 330 h 656"/>
                <a:gd name="T10" fmla="*/ 1027 w 1080"/>
                <a:gd name="T11" fmla="*/ 334 h 656"/>
                <a:gd name="T12" fmla="*/ 1019 w 1080"/>
                <a:gd name="T13" fmla="*/ 335 h 656"/>
                <a:gd name="T14" fmla="*/ 734 w 1080"/>
                <a:gd name="T15" fmla="*/ 335 h 656"/>
                <a:gd name="T16" fmla="*/ 703 w 1080"/>
                <a:gd name="T17" fmla="*/ 656 h 656"/>
                <a:gd name="T18" fmla="*/ 689 w 1080"/>
                <a:gd name="T19" fmla="*/ 642 h 656"/>
                <a:gd name="T20" fmla="*/ 656 w 1080"/>
                <a:gd name="T21" fmla="*/ 619 h 656"/>
                <a:gd name="T22" fmla="*/ 639 w 1080"/>
                <a:gd name="T23" fmla="*/ 609 h 656"/>
                <a:gd name="T24" fmla="*/ 657 w 1080"/>
                <a:gd name="T25" fmla="*/ 588 h 656"/>
                <a:gd name="T26" fmla="*/ 671 w 1080"/>
                <a:gd name="T27" fmla="*/ 563 h 656"/>
                <a:gd name="T28" fmla="*/ 679 w 1080"/>
                <a:gd name="T29" fmla="*/ 537 h 656"/>
                <a:gd name="T30" fmla="*/ 683 w 1080"/>
                <a:gd name="T31" fmla="*/ 508 h 656"/>
                <a:gd name="T32" fmla="*/ 682 w 1080"/>
                <a:gd name="T33" fmla="*/ 500 h 656"/>
                <a:gd name="T34" fmla="*/ 676 w 1080"/>
                <a:gd name="T35" fmla="*/ 487 h 656"/>
                <a:gd name="T36" fmla="*/ 663 w 1080"/>
                <a:gd name="T37" fmla="*/ 476 h 656"/>
                <a:gd name="T38" fmla="*/ 648 w 1080"/>
                <a:gd name="T39" fmla="*/ 466 h 656"/>
                <a:gd name="T40" fmla="*/ 616 w 1080"/>
                <a:gd name="T41" fmla="*/ 457 h 656"/>
                <a:gd name="T42" fmla="*/ 566 w 1080"/>
                <a:gd name="T43" fmla="*/ 449 h 656"/>
                <a:gd name="T44" fmla="*/ 513 w 1080"/>
                <a:gd name="T45" fmla="*/ 449 h 656"/>
                <a:gd name="T46" fmla="*/ 463 w 1080"/>
                <a:gd name="T47" fmla="*/ 457 h 656"/>
                <a:gd name="T48" fmla="*/ 432 w 1080"/>
                <a:gd name="T49" fmla="*/ 466 h 656"/>
                <a:gd name="T50" fmla="*/ 415 w 1080"/>
                <a:gd name="T51" fmla="*/ 476 h 656"/>
                <a:gd name="T52" fmla="*/ 404 w 1080"/>
                <a:gd name="T53" fmla="*/ 487 h 656"/>
                <a:gd name="T54" fmla="*/ 398 w 1080"/>
                <a:gd name="T55" fmla="*/ 500 h 656"/>
                <a:gd name="T56" fmla="*/ 397 w 1080"/>
                <a:gd name="T57" fmla="*/ 508 h 656"/>
                <a:gd name="T58" fmla="*/ 399 w 1080"/>
                <a:gd name="T59" fmla="*/ 537 h 656"/>
                <a:gd name="T60" fmla="*/ 407 w 1080"/>
                <a:gd name="T61" fmla="*/ 563 h 656"/>
                <a:gd name="T62" fmla="*/ 422 w 1080"/>
                <a:gd name="T63" fmla="*/ 588 h 656"/>
                <a:gd name="T64" fmla="*/ 439 w 1080"/>
                <a:gd name="T65" fmla="*/ 609 h 656"/>
                <a:gd name="T66" fmla="*/ 422 w 1080"/>
                <a:gd name="T67" fmla="*/ 619 h 656"/>
                <a:gd name="T68" fmla="*/ 390 w 1080"/>
                <a:gd name="T69" fmla="*/ 642 h 656"/>
                <a:gd name="T70" fmla="*/ 375 w 1080"/>
                <a:gd name="T71" fmla="*/ 607 h 656"/>
                <a:gd name="T72" fmla="*/ 270 w 1080"/>
                <a:gd name="T73" fmla="*/ 335 h 656"/>
                <a:gd name="T74" fmla="*/ 60 w 1080"/>
                <a:gd name="T75" fmla="*/ 335 h 656"/>
                <a:gd name="T76" fmla="*/ 51 w 1080"/>
                <a:gd name="T77" fmla="*/ 334 h 656"/>
                <a:gd name="T78" fmla="*/ 35 w 1080"/>
                <a:gd name="T79" fmla="*/ 330 h 656"/>
                <a:gd name="T80" fmla="*/ 23 w 1080"/>
                <a:gd name="T81" fmla="*/ 324 h 656"/>
                <a:gd name="T82" fmla="*/ 10 w 1080"/>
                <a:gd name="T83" fmla="*/ 311 h 656"/>
                <a:gd name="T84" fmla="*/ 1 w 1080"/>
                <a:gd name="T85" fmla="*/ 295 h 656"/>
                <a:gd name="T86" fmla="*/ 0 w 1080"/>
                <a:gd name="T87" fmla="*/ 225 h 656"/>
                <a:gd name="T88" fmla="*/ 364 w 1080"/>
                <a:gd name="T89" fmla="*/ 83 h 656"/>
                <a:gd name="T90" fmla="*/ 538 w 1080"/>
                <a:gd name="T91" fmla="*/ 225 h 656"/>
                <a:gd name="T92" fmla="*/ 893 w 1080"/>
                <a:gd name="T93" fmla="*/ 225 h 656"/>
                <a:gd name="T94" fmla="*/ 777 w 1080"/>
                <a:gd name="T95" fmla="*/ 0 h 656"/>
                <a:gd name="T96" fmla="*/ 587 w 1080"/>
                <a:gd name="T97" fmla="*/ 437 h 656"/>
                <a:gd name="T98" fmla="*/ 491 w 1080"/>
                <a:gd name="T99" fmla="*/ 437 h 656"/>
                <a:gd name="T100" fmla="*/ 515 w 1080"/>
                <a:gd name="T101" fmla="*/ 435 h 656"/>
                <a:gd name="T102" fmla="*/ 564 w 1080"/>
                <a:gd name="T103" fmla="*/ 435 h 656"/>
                <a:gd name="T104" fmla="*/ 587 w 1080"/>
                <a:gd name="T105" fmla="*/ 437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80" h="656">
                  <a:moveTo>
                    <a:pt x="1080" y="225"/>
                  </a:moveTo>
                  <a:lnTo>
                    <a:pt x="1080" y="288"/>
                  </a:lnTo>
                  <a:lnTo>
                    <a:pt x="1080" y="288"/>
                  </a:lnTo>
                  <a:lnTo>
                    <a:pt x="1077" y="295"/>
                  </a:lnTo>
                  <a:lnTo>
                    <a:pt x="1074" y="302"/>
                  </a:lnTo>
                  <a:lnTo>
                    <a:pt x="1069" y="311"/>
                  </a:lnTo>
                  <a:lnTo>
                    <a:pt x="1061" y="319"/>
                  </a:lnTo>
                  <a:lnTo>
                    <a:pt x="1057" y="324"/>
                  </a:lnTo>
                  <a:lnTo>
                    <a:pt x="1050" y="328"/>
                  </a:lnTo>
                  <a:lnTo>
                    <a:pt x="1043" y="330"/>
                  </a:lnTo>
                  <a:lnTo>
                    <a:pt x="1036" y="333"/>
                  </a:lnTo>
                  <a:lnTo>
                    <a:pt x="1027" y="334"/>
                  </a:lnTo>
                  <a:lnTo>
                    <a:pt x="1019" y="335"/>
                  </a:lnTo>
                  <a:lnTo>
                    <a:pt x="1019" y="335"/>
                  </a:lnTo>
                  <a:lnTo>
                    <a:pt x="809" y="335"/>
                  </a:lnTo>
                  <a:lnTo>
                    <a:pt x="734" y="335"/>
                  </a:lnTo>
                  <a:lnTo>
                    <a:pt x="703" y="607"/>
                  </a:lnTo>
                  <a:lnTo>
                    <a:pt x="703" y="656"/>
                  </a:lnTo>
                  <a:lnTo>
                    <a:pt x="703" y="656"/>
                  </a:lnTo>
                  <a:lnTo>
                    <a:pt x="689" y="642"/>
                  </a:lnTo>
                  <a:lnTo>
                    <a:pt x="673" y="630"/>
                  </a:lnTo>
                  <a:lnTo>
                    <a:pt x="656" y="619"/>
                  </a:lnTo>
                  <a:lnTo>
                    <a:pt x="639" y="609"/>
                  </a:lnTo>
                  <a:lnTo>
                    <a:pt x="639" y="609"/>
                  </a:lnTo>
                  <a:lnTo>
                    <a:pt x="649" y="599"/>
                  </a:lnTo>
                  <a:lnTo>
                    <a:pt x="657" y="588"/>
                  </a:lnTo>
                  <a:lnTo>
                    <a:pt x="665" y="577"/>
                  </a:lnTo>
                  <a:lnTo>
                    <a:pt x="671" y="563"/>
                  </a:lnTo>
                  <a:lnTo>
                    <a:pt x="676" y="550"/>
                  </a:lnTo>
                  <a:lnTo>
                    <a:pt x="679" y="537"/>
                  </a:lnTo>
                  <a:lnTo>
                    <a:pt x="682" y="522"/>
                  </a:lnTo>
                  <a:lnTo>
                    <a:pt x="683" y="508"/>
                  </a:lnTo>
                  <a:lnTo>
                    <a:pt x="683" y="508"/>
                  </a:lnTo>
                  <a:lnTo>
                    <a:pt x="682" y="500"/>
                  </a:lnTo>
                  <a:lnTo>
                    <a:pt x="679" y="493"/>
                  </a:lnTo>
                  <a:lnTo>
                    <a:pt x="676" y="487"/>
                  </a:lnTo>
                  <a:lnTo>
                    <a:pt x="670" y="481"/>
                  </a:lnTo>
                  <a:lnTo>
                    <a:pt x="663" y="476"/>
                  </a:lnTo>
                  <a:lnTo>
                    <a:pt x="656" y="471"/>
                  </a:lnTo>
                  <a:lnTo>
                    <a:pt x="648" y="466"/>
                  </a:lnTo>
                  <a:lnTo>
                    <a:pt x="638" y="463"/>
                  </a:lnTo>
                  <a:lnTo>
                    <a:pt x="616" y="457"/>
                  </a:lnTo>
                  <a:lnTo>
                    <a:pt x="592" y="452"/>
                  </a:lnTo>
                  <a:lnTo>
                    <a:pt x="566" y="449"/>
                  </a:lnTo>
                  <a:lnTo>
                    <a:pt x="540" y="448"/>
                  </a:lnTo>
                  <a:lnTo>
                    <a:pt x="513" y="449"/>
                  </a:lnTo>
                  <a:lnTo>
                    <a:pt x="486" y="452"/>
                  </a:lnTo>
                  <a:lnTo>
                    <a:pt x="463" y="457"/>
                  </a:lnTo>
                  <a:lnTo>
                    <a:pt x="441" y="463"/>
                  </a:lnTo>
                  <a:lnTo>
                    <a:pt x="432" y="466"/>
                  </a:lnTo>
                  <a:lnTo>
                    <a:pt x="423" y="471"/>
                  </a:lnTo>
                  <a:lnTo>
                    <a:pt x="415" y="476"/>
                  </a:lnTo>
                  <a:lnTo>
                    <a:pt x="409" y="481"/>
                  </a:lnTo>
                  <a:lnTo>
                    <a:pt x="404" y="487"/>
                  </a:lnTo>
                  <a:lnTo>
                    <a:pt x="400" y="493"/>
                  </a:lnTo>
                  <a:lnTo>
                    <a:pt x="398" y="500"/>
                  </a:lnTo>
                  <a:lnTo>
                    <a:pt x="397" y="508"/>
                  </a:lnTo>
                  <a:lnTo>
                    <a:pt x="397" y="508"/>
                  </a:lnTo>
                  <a:lnTo>
                    <a:pt x="398" y="522"/>
                  </a:lnTo>
                  <a:lnTo>
                    <a:pt x="399" y="537"/>
                  </a:lnTo>
                  <a:lnTo>
                    <a:pt x="403" y="550"/>
                  </a:lnTo>
                  <a:lnTo>
                    <a:pt x="407" y="563"/>
                  </a:lnTo>
                  <a:lnTo>
                    <a:pt x="415" y="577"/>
                  </a:lnTo>
                  <a:lnTo>
                    <a:pt x="422" y="588"/>
                  </a:lnTo>
                  <a:lnTo>
                    <a:pt x="431" y="599"/>
                  </a:lnTo>
                  <a:lnTo>
                    <a:pt x="439" y="609"/>
                  </a:lnTo>
                  <a:lnTo>
                    <a:pt x="439" y="609"/>
                  </a:lnTo>
                  <a:lnTo>
                    <a:pt x="422" y="619"/>
                  </a:lnTo>
                  <a:lnTo>
                    <a:pt x="406" y="630"/>
                  </a:lnTo>
                  <a:lnTo>
                    <a:pt x="390" y="642"/>
                  </a:lnTo>
                  <a:lnTo>
                    <a:pt x="375" y="656"/>
                  </a:lnTo>
                  <a:lnTo>
                    <a:pt x="375" y="607"/>
                  </a:lnTo>
                  <a:lnTo>
                    <a:pt x="346" y="335"/>
                  </a:lnTo>
                  <a:lnTo>
                    <a:pt x="270" y="335"/>
                  </a:lnTo>
                  <a:lnTo>
                    <a:pt x="270" y="335"/>
                  </a:lnTo>
                  <a:lnTo>
                    <a:pt x="60" y="335"/>
                  </a:lnTo>
                  <a:lnTo>
                    <a:pt x="60" y="335"/>
                  </a:lnTo>
                  <a:lnTo>
                    <a:pt x="51" y="334"/>
                  </a:lnTo>
                  <a:lnTo>
                    <a:pt x="42" y="333"/>
                  </a:lnTo>
                  <a:lnTo>
                    <a:pt x="35" y="330"/>
                  </a:lnTo>
                  <a:lnTo>
                    <a:pt x="29" y="328"/>
                  </a:lnTo>
                  <a:lnTo>
                    <a:pt x="23" y="324"/>
                  </a:lnTo>
                  <a:lnTo>
                    <a:pt x="18" y="319"/>
                  </a:lnTo>
                  <a:lnTo>
                    <a:pt x="10" y="311"/>
                  </a:lnTo>
                  <a:lnTo>
                    <a:pt x="5" y="302"/>
                  </a:lnTo>
                  <a:lnTo>
                    <a:pt x="1" y="295"/>
                  </a:lnTo>
                  <a:lnTo>
                    <a:pt x="0" y="288"/>
                  </a:lnTo>
                  <a:lnTo>
                    <a:pt x="0" y="225"/>
                  </a:lnTo>
                  <a:lnTo>
                    <a:pt x="301" y="0"/>
                  </a:lnTo>
                  <a:lnTo>
                    <a:pt x="364" y="83"/>
                  </a:lnTo>
                  <a:lnTo>
                    <a:pt x="187" y="225"/>
                  </a:lnTo>
                  <a:lnTo>
                    <a:pt x="538" y="225"/>
                  </a:lnTo>
                  <a:lnTo>
                    <a:pt x="541" y="225"/>
                  </a:lnTo>
                  <a:lnTo>
                    <a:pt x="893" y="225"/>
                  </a:lnTo>
                  <a:lnTo>
                    <a:pt x="716" y="83"/>
                  </a:lnTo>
                  <a:lnTo>
                    <a:pt x="777" y="0"/>
                  </a:lnTo>
                  <a:lnTo>
                    <a:pt x="1080" y="225"/>
                  </a:lnTo>
                  <a:close/>
                  <a:moveTo>
                    <a:pt x="587" y="437"/>
                  </a:moveTo>
                  <a:lnTo>
                    <a:pt x="540" y="256"/>
                  </a:lnTo>
                  <a:lnTo>
                    <a:pt x="491" y="437"/>
                  </a:lnTo>
                  <a:lnTo>
                    <a:pt x="491" y="437"/>
                  </a:lnTo>
                  <a:lnTo>
                    <a:pt x="515" y="435"/>
                  </a:lnTo>
                  <a:lnTo>
                    <a:pt x="540" y="435"/>
                  </a:lnTo>
                  <a:lnTo>
                    <a:pt x="564" y="435"/>
                  </a:lnTo>
                  <a:lnTo>
                    <a:pt x="587" y="437"/>
                  </a:lnTo>
                  <a:lnTo>
                    <a:pt x="587" y="4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636"/>
            <p:cNvSpPr>
              <a:spLocks noEditPoints="1"/>
            </p:cNvSpPr>
            <p:nvPr/>
          </p:nvSpPr>
          <p:spPr bwMode="auto">
            <a:xfrm>
              <a:off x="8421687" y="974725"/>
              <a:ext cx="257175" cy="222250"/>
            </a:xfrm>
            <a:custGeom>
              <a:avLst/>
              <a:gdLst>
                <a:gd name="T0" fmla="*/ 256 w 486"/>
                <a:gd name="T1" fmla="*/ 1 h 419"/>
                <a:gd name="T2" fmla="*/ 292 w 486"/>
                <a:gd name="T3" fmla="*/ 6 h 419"/>
                <a:gd name="T4" fmla="*/ 359 w 486"/>
                <a:gd name="T5" fmla="*/ 36 h 419"/>
                <a:gd name="T6" fmla="*/ 416 w 486"/>
                <a:gd name="T7" fmla="*/ 87 h 419"/>
                <a:gd name="T8" fmla="*/ 457 w 486"/>
                <a:gd name="T9" fmla="*/ 155 h 419"/>
                <a:gd name="T10" fmla="*/ 481 w 486"/>
                <a:gd name="T11" fmla="*/ 237 h 419"/>
                <a:gd name="T12" fmla="*/ 486 w 486"/>
                <a:gd name="T13" fmla="*/ 296 h 419"/>
                <a:gd name="T14" fmla="*/ 474 w 486"/>
                <a:gd name="T15" fmla="*/ 337 h 419"/>
                <a:gd name="T16" fmla="*/ 441 w 486"/>
                <a:gd name="T17" fmla="*/ 370 h 419"/>
                <a:gd name="T18" fmla="*/ 393 w 486"/>
                <a:gd name="T19" fmla="*/ 394 h 419"/>
                <a:gd name="T20" fmla="*/ 332 w 486"/>
                <a:gd name="T21" fmla="*/ 410 h 419"/>
                <a:gd name="T22" fmla="*/ 265 w 486"/>
                <a:gd name="T23" fmla="*/ 417 h 419"/>
                <a:gd name="T24" fmla="*/ 197 w 486"/>
                <a:gd name="T25" fmla="*/ 416 h 419"/>
                <a:gd name="T26" fmla="*/ 133 w 486"/>
                <a:gd name="T27" fmla="*/ 406 h 419"/>
                <a:gd name="T28" fmla="*/ 76 w 486"/>
                <a:gd name="T29" fmla="*/ 387 h 419"/>
                <a:gd name="T30" fmla="*/ 31 w 486"/>
                <a:gd name="T31" fmla="*/ 360 h 419"/>
                <a:gd name="T32" fmla="*/ 6 w 486"/>
                <a:gd name="T33" fmla="*/ 324 h 419"/>
                <a:gd name="T34" fmla="*/ 0 w 486"/>
                <a:gd name="T35" fmla="*/ 296 h 419"/>
                <a:gd name="T36" fmla="*/ 11 w 486"/>
                <a:gd name="T37" fmla="*/ 207 h 419"/>
                <a:gd name="T38" fmla="*/ 41 w 486"/>
                <a:gd name="T39" fmla="*/ 131 h 419"/>
                <a:gd name="T40" fmla="*/ 88 w 486"/>
                <a:gd name="T41" fmla="*/ 68 h 419"/>
                <a:gd name="T42" fmla="*/ 149 w 486"/>
                <a:gd name="T43" fmla="*/ 24 h 419"/>
                <a:gd name="T44" fmla="*/ 206 w 486"/>
                <a:gd name="T45" fmla="*/ 4 h 419"/>
                <a:gd name="T46" fmla="*/ 243 w 486"/>
                <a:gd name="T47" fmla="*/ 0 h 419"/>
                <a:gd name="T48" fmla="*/ 337 w 486"/>
                <a:gd name="T49" fmla="*/ 135 h 419"/>
                <a:gd name="T50" fmla="*/ 336 w 486"/>
                <a:gd name="T51" fmla="*/ 119 h 419"/>
                <a:gd name="T52" fmla="*/ 315 w 486"/>
                <a:gd name="T53" fmla="*/ 81 h 419"/>
                <a:gd name="T54" fmla="*/ 276 w 486"/>
                <a:gd name="T55" fmla="*/ 57 h 419"/>
                <a:gd name="T56" fmla="*/ 225 w 486"/>
                <a:gd name="T57" fmla="*/ 33 h 419"/>
                <a:gd name="T58" fmla="*/ 210 w 486"/>
                <a:gd name="T59" fmla="*/ 57 h 419"/>
                <a:gd name="T60" fmla="*/ 171 w 486"/>
                <a:gd name="T61" fmla="*/ 81 h 419"/>
                <a:gd name="T62" fmla="*/ 150 w 486"/>
                <a:gd name="T63" fmla="*/ 119 h 419"/>
                <a:gd name="T64" fmla="*/ 149 w 486"/>
                <a:gd name="T65" fmla="*/ 135 h 419"/>
                <a:gd name="T66" fmla="*/ 155 w 486"/>
                <a:gd name="T67" fmla="*/ 164 h 419"/>
                <a:gd name="T68" fmla="*/ 183 w 486"/>
                <a:gd name="T69" fmla="*/ 198 h 419"/>
                <a:gd name="T70" fmla="*/ 225 w 486"/>
                <a:gd name="T71" fmla="*/ 216 h 419"/>
                <a:gd name="T72" fmla="*/ 220 w 486"/>
                <a:gd name="T73" fmla="*/ 290 h 419"/>
                <a:gd name="T74" fmla="*/ 207 w 486"/>
                <a:gd name="T75" fmla="*/ 278 h 419"/>
                <a:gd name="T76" fmla="*/ 200 w 486"/>
                <a:gd name="T77" fmla="*/ 262 h 419"/>
                <a:gd name="T78" fmla="*/ 149 w 486"/>
                <a:gd name="T79" fmla="*/ 257 h 419"/>
                <a:gd name="T80" fmla="*/ 155 w 486"/>
                <a:gd name="T81" fmla="*/ 285 h 419"/>
                <a:gd name="T82" fmla="*/ 183 w 486"/>
                <a:gd name="T83" fmla="*/ 320 h 419"/>
                <a:gd name="T84" fmla="*/ 225 w 486"/>
                <a:gd name="T85" fmla="*/ 339 h 419"/>
                <a:gd name="T86" fmla="*/ 260 w 486"/>
                <a:gd name="T87" fmla="*/ 339 h 419"/>
                <a:gd name="T88" fmla="*/ 291 w 486"/>
                <a:gd name="T89" fmla="*/ 329 h 419"/>
                <a:gd name="T90" fmla="*/ 325 w 486"/>
                <a:gd name="T91" fmla="*/ 298 h 419"/>
                <a:gd name="T92" fmla="*/ 337 w 486"/>
                <a:gd name="T93" fmla="*/ 264 h 419"/>
                <a:gd name="T94" fmla="*/ 337 w 486"/>
                <a:gd name="T95" fmla="*/ 249 h 419"/>
                <a:gd name="T96" fmla="*/ 325 w 486"/>
                <a:gd name="T97" fmla="*/ 215 h 419"/>
                <a:gd name="T98" fmla="*/ 291 w 486"/>
                <a:gd name="T99" fmla="*/ 186 h 419"/>
                <a:gd name="T100" fmla="*/ 260 w 486"/>
                <a:gd name="T101" fmla="*/ 99 h 419"/>
                <a:gd name="T102" fmla="*/ 271 w 486"/>
                <a:gd name="T103" fmla="*/ 104 h 419"/>
                <a:gd name="T104" fmla="*/ 282 w 486"/>
                <a:gd name="T105" fmla="*/ 118 h 419"/>
                <a:gd name="T106" fmla="*/ 286 w 486"/>
                <a:gd name="T107" fmla="*/ 135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6" h="419">
                  <a:moveTo>
                    <a:pt x="243" y="0"/>
                  </a:moveTo>
                  <a:lnTo>
                    <a:pt x="243" y="0"/>
                  </a:lnTo>
                  <a:lnTo>
                    <a:pt x="256" y="1"/>
                  </a:lnTo>
                  <a:lnTo>
                    <a:pt x="268" y="2"/>
                  </a:lnTo>
                  <a:lnTo>
                    <a:pt x="280" y="4"/>
                  </a:lnTo>
                  <a:lnTo>
                    <a:pt x="292" y="6"/>
                  </a:lnTo>
                  <a:lnTo>
                    <a:pt x="315" y="13"/>
                  </a:lnTo>
                  <a:lnTo>
                    <a:pt x="338" y="24"/>
                  </a:lnTo>
                  <a:lnTo>
                    <a:pt x="359" y="36"/>
                  </a:lnTo>
                  <a:lnTo>
                    <a:pt x="379" y="51"/>
                  </a:lnTo>
                  <a:lnTo>
                    <a:pt x="398" y="68"/>
                  </a:lnTo>
                  <a:lnTo>
                    <a:pt x="416" y="87"/>
                  </a:lnTo>
                  <a:lnTo>
                    <a:pt x="430" y="108"/>
                  </a:lnTo>
                  <a:lnTo>
                    <a:pt x="445" y="131"/>
                  </a:lnTo>
                  <a:lnTo>
                    <a:pt x="457" y="155"/>
                  </a:lnTo>
                  <a:lnTo>
                    <a:pt x="467" y="181"/>
                  </a:lnTo>
                  <a:lnTo>
                    <a:pt x="475" y="207"/>
                  </a:lnTo>
                  <a:lnTo>
                    <a:pt x="481" y="237"/>
                  </a:lnTo>
                  <a:lnTo>
                    <a:pt x="485" y="266"/>
                  </a:lnTo>
                  <a:lnTo>
                    <a:pt x="486" y="296"/>
                  </a:lnTo>
                  <a:lnTo>
                    <a:pt x="486" y="296"/>
                  </a:lnTo>
                  <a:lnTo>
                    <a:pt x="485" y="311"/>
                  </a:lnTo>
                  <a:lnTo>
                    <a:pt x="481" y="324"/>
                  </a:lnTo>
                  <a:lnTo>
                    <a:pt x="474" y="337"/>
                  </a:lnTo>
                  <a:lnTo>
                    <a:pt x="466" y="349"/>
                  </a:lnTo>
                  <a:lnTo>
                    <a:pt x="455" y="360"/>
                  </a:lnTo>
                  <a:lnTo>
                    <a:pt x="441" y="370"/>
                  </a:lnTo>
                  <a:lnTo>
                    <a:pt x="427" y="380"/>
                  </a:lnTo>
                  <a:lnTo>
                    <a:pt x="411" y="387"/>
                  </a:lnTo>
                  <a:lnTo>
                    <a:pt x="393" y="394"/>
                  </a:lnTo>
                  <a:lnTo>
                    <a:pt x="373" y="400"/>
                  </a:lnTo>
                  <a:lnTo>
                    <a:pt x="354" y="406"/>
                  </a:lnTo>
                  <a:lnTo>
                    <a:pt x="332" y="410"/>
                  </a:lnTo>
                  <a:lnTo>
                    <a:pt x="310" y="414"/>
                  </a:lnTo>
                  <a:lnTo>
                    <a:pt x="288" y="416"/>
                  </a:lnTo>
                  <a:lnTo>
                    <a:pt x="265" y="417"/>
                  </a:lnTo>
                  <a:lnTo>
                    <a:pt x="243" y="419"/>
                  </a:lnTo>
                  <a:lnTo>
                    <a:pt x="220" y="417"/>
                  </a:lnTo>
                  <a:lnTo>
                    <a:pt x="197" y="416"/>
                  </a:lnTo>
                  <a:lnTo>
                    <a:pt x="176" y="414"/>
                  </a:lnTo>
                  <a:lnTo>
                    <a:pt x="154" y="410"/>
                  </a:lnTo>
                  <a:lnTo>
                    <a:pt x="133" y="406"/>
                  </a:lnTo>
                  <a:lnTo>
                    <a:pt x="112" y="400"/>
                  </a:lnTo>
                  <a:lnTo>
                    <a:pt x="93" y="394"/>
                  </a:lnTo>
                  <a:lnTo>
                    <a:pt x="76" y="387"/>
                  </a:lnTo>
                  <a:lnTo>
                    <a:pt x="59" y="380"/>
                  </a:lnTo>
                  <a:lnTo>
                    <a:pt x="45" y="370"/>
                  </a:lnTo>
                  <a:lnTo>
                    <a:pt x="31" y="360"/>
                  </a:lnTo>
                  <a:lnTo>
                    <a:pt x="20" y="349"/>
                  </a:lnTo>
                  <a:lnTo>
                    <a:pt x="12" y="337"/>
                  </a:lnTo>
                  <a:lnTo>
                    <a:pt x="6" y="324"/>
                  </a:lnTo>
                  <a:lnTo>
                    <a:pt x="1" y="311"/>
                  </a:lnTo>
                  <a:lnTo>
                    <a:pt x="0" y="296"/>
                  </a:lnTo>
                  <a:lnTo>
                    <a:pt x="0" y="296"/>
                  </a:lnTo>
                  <a:lnTo>
                    <a:pt x="1" y="266"/>
                  </a:lnTo>
                  <a:lnTo>
                    <a:pt x="4" y="237"/>
                  </a:lnTo>
                  <a:lnTo>
                    <a:pt x="11" y="207"/>
                  </a:lnTo>
                  <a:lnTo>
                    <a:pt x="19" y="181"/>
                  </a:lnTo>
                  <a:lnTo>
                    <a:pt x="29" y="155"/>
                  </a:lnTo>
                  <a:lnTo>
                    <a:pt x="41" y="131"/>
                  </a:lnTo>
                  <a:lnTo>
                    <a:pt x="55" y="108"/>
                  </a:lnTo>
                  <a:lnTo>
                    <a:pt x="71" y="87"/>
                  </a:lnTo>
                  <a:lnTo>
                    <a:pt x="88" y="68"/>
                  </a:lnTo>
                  <a:lnTo>
                    <a:pt x="108" y="51"/>
                  </a:lnTo>
                  <a:lnTo>
                    <a:pt x="127" y="36"/>
                  </a:lnTo>
                  <a:lnTo>
                    <a:pt x="149" y="24"/>
                  </a:lnTo>
                  <a:lnTo>
                    <a:pt x="171" y="13"/>
                  </a:lnTo>
                  <a:lnTo>
                    <a:pt x="194" y="6"/>
                  </a:lnTo>
                  <a:lnTo>
                    <a:pt x="206" y="4"/>
                  </a:lnTo>
                  <a:lnTo>
                    <a:pt x="218" y="2"/>
                  </a:lnTo>
                  <a:lnTo>
                    <a:pt x="230" y="1"/>
                  </a:lnTo>
                  <a:lnTo>
                    <a:pt x="243" y="0"/>
                  </a:lnTo>
                  <a:lnTo>
                    <a:pt x="243" y="0"/>
                  </a:lnTo>
                  <a:close/>
                  <a:moveTo>
                    <a:pt x="286" y="135"/>
                  </a:moveTo>
                  <a:lnTo>
                    <a:pt x="337" y="135"/>
                  </a:lnTo>
                  <a:lnTo>
                    <a:pt x="337" y="135"/>
                  </a:lnTo>
                  <a:lnTo>
                    <a:pt x="337" y="126"/>
                  </a:lnTo>
                  <a:lnTo>
                    <a:pt x="336" y="119"/>
                  </a:lnTo>
                  <a:lnTo>
                    <a:pt x="331" y="106"/>
                  </a:lnTo>
                  <a:lnTo>
                    <a:pt x="325" y="92"/>
                  </a:lnTo>
                  <a:lnTo>
                    <a:pt x="315" y="81"/>
                  </a:lnTo>
                  <a:lnTo>
                    <a:pt x="304" y="70"/>
                  </a:lnTo>
                  <a:lnTo>
                    <a:pt x="291" y="63"/>
                  </a:lnTo>
                  <a:lnTo>
                    <a:pt x="276" y="57"/>
                  </a:lnTo>
                  <a:lnTo>
                    <a:pt x="260" y="52"/>
                  </a:lnTo>
                  <a:lnTo>
                    <a:pt x="260" y="33"/>
                  </a:lnTo>
                  <a:lnTo>
                    <a:pt x="225" y="33"/>
                  </a:lnTo>
                  <a:lnTo>
                    <a:pt x="225" y="52"/>
                  </a:lnTo>
                  <a:lnTo>
                    <a:pt x="225" y="52"/>
                  </a:lnTo>
                  <a:lnTo>
                    <a:pt x="210" y="57"/>
                  </a:lnTo>
                  <a:lnTo>
                    <a:pt x="195" y="63"/>
                  </a:lnTo>
                  <a:lnTo>
                    <a:pt x="183" y="70"/>
                  </a:lnTo>
                  <a:lnTo>
                    <a:pt x="171" y="81"/>
                  </a:lnTo>
                  <a:lnTo>
                    <a:pt x="162" y="92"/>
                  </a:lnTo>
                  <a:lnTo>
                    <a:pt x="155" y="106"/>
                  </a:lnTo>
                  <a:lnTo>
                    <a:pt x="150" y="119"/>
                  </a:lnTo>
                  <a:lnTo>
                    <a:pt x="150" y="126"/>
                  </a:lnTo>
                  <a:lnTo>
                    <a:pt x="149" y="135"/>
                  </a:lnTo>
                  <a:lnTo>
                    <a:pt x="149" y="135"/>
                  </a:lnTo>
                  <a:lnTo>
                    <a:pt x="150" y="142"/>
                  </a:lnTo>
                  <a:lnTo>
                    <a:pt x="150" y="149"/>
                  </a:lnTo>
                  <a:lnTo>
                    <a:pt x="155" y="164"/>
                  </a:lnTo>
                  <a:lnTo>
                    <a:pt x="162" y="176"/>
                  </a:lnTo>
                  <a:lnTo>
                    <a:pt x="171" y="188"/>
                  </a:lnTo>
                  <a:lnTo>
                    <a:pt x="183" y="198"/>
                  </a:lnTo>
                  <a:lnTo>
                    <a:pt x="195" y="206"/>
                  </a:lnTo>
                  <a:lnTo>
                    <a:pt x="210" y="212"/>
                  </a:lnTo>
                  <a:lnTo>
                    <a:pt x="225" y="216"/>
                  </a:lnTo>
                  <a:lnTo>
                    <a:pt x="225" y="292"/>
                  </a:lnTo>
                  <a:lnTo>
                    <a:pt x="225" y="292"/>
                  </a:lnTo>
                  <a:lnTo>
                    <a:pt x="220" y="290"/>
                  </a:lnTo>
                  <a:lnTo>
                    <a:pt x="216" y="286"/>
                  </a:lnTo>
                  <a:lnTo>
                    <a:pt x="211" y="283"/>
                  </a:lnTo>
                  <a:lnTo>
                    <a:pt x="207" y="278"/>
                  </a:lnTo>
                  <a:lnTo>
                    <a:pt x="203" y="273"/>
                  </a:lnTo>
                  <a:lnTo>
                    <a:pt x="201" y="268"/>
                  </a:lnTo>
                  <a:lnTo>
                    <a:pt x="200" y="262"/>
                  </a:lnTo>
                  <a:lnTo>
                    <a:pt x="200" y="257"/>
                  </a:lnTo>
                  <a:lnTo>
                    <a:pt x="149" y="257"/>
                  </a:lnTo>
                  <a:lnTo>
                    <a:pt x="149" y="257"/>
                  </a:lnTo>
                  <a:lnTo>
                    <a:pt x="150" y="264"/>
                  </a:lnTo>
                  <a:lnTo>
                    <a:pt x="150" y="272"/>
                  </a:lnTo>
                  <a:lnTo>
                    <a:pt x="155" y="285"/>
                  </a:lnTo>
                  <a:lnTo>
                    <a:pt x="162" y="298"/>
                  </a:lnTo>
                  <a:lnTo>
                    <a:pt x="171" y="311"/>
                  </a:lnTo>
                  <a:lnTo>
                    <a:pt x="183" y="320"/>
                  </a:lnTo>
                  <a:lnTo>
                    <a:pt x="195" y="329"/>
                  </a:lnTo>
                  <a:lnTo>
                    <a:pt x="210" y="335"/>
                  </a:lnTo>
                  <a:lnTo>
                    <a:pt x="225" y="339"/>
                  </a:lnTo>
                  <a:lnTo>
                    <a:pt x="225" y="358"/>
                  </a:lnTo>
                  <a:lnTo>
                    <a:pt x="260" y="358"/>
                  </a:lnTo>
                  <a:lnTo>
                    <a:pt x="260" y="339"/>
                  </a:lnTo>
                  <a:lnTo>
                    <a:pt x="260" y="339"/>
                  </a:lnTo>
                  <a:lnTo>
                    <a:pt x="276" y="335"/>
                  </a:lnTo>
                  <a:lnTo>
                    <a:pt x="291" y="329"/>
                  </a:lnTo>
                  <a:lnTo>
                    <a:pt x="304" y="320"/>
                  </a:lnTo>
                  <a:lnTo>
                    <a:pt x="315" y="311"/>
                  </a:lnTo>
                  <a:lnTo>
                    <a:pt x="325" y="298"/>
                  </a:lnTo>
                  <a:lnTo>
                    <a:pt x="331" y="285"/>
                  </a:lnTo>
                  <a:lnTo>
                    <a:pt x="336" y="272"/>
                  </a:lnTo>
                  <a:lnTo>
                    <a:pt x="337" y="264"/>
                  </a:lnTo>
                  <a:lnTo>
                    <a:pt x="337" y="257"/>
                  </a:lnTo>
                  <a:lnTo>
                    <a:pt x="337" y="257"/>
                  </a:lnTo>
                  <a:lnTo>
                    <a:pt x="337" y="249"/>
                  </a:lnTo>
                  <a:lnTo>
                    <a:pt x="336" y="241"/>
                  </a:lnTo>
                  <a:lnTo>
                    <a:pt x="331" y="228"/>
                  </a:lnTo>
                  <a:lnTo>
                    <a:pt x="325" y="215"/>
                  </a:lnTo>
                  <a:lnTo>
                    <a:pt x="315" y="204"/>
                  </a:lnTo>
                  <a:lnTo>
                    <a:pt x="304" y="193"/>
                  </a:lnTo>
                  <a:lnTo>
                    <a:pt x="291" y="186"/>
                  </a:lnTo>
                  <a:lnTo>
                    <a:pt x="276" y="178"/>
                  </a:lnTo>
                  <a:lnTo>
                    <a:pt x="260" y="175"/>
                  </a:lnTo>
                  <a:lnTo>
                    <a:pt x="260" y="99"/>
                  </a:lnTo>
                  <a:lnTo>
                    <a:pt x="260" y="99"/>
                  </a:lnTo>
                  <a:lnTo>
                    <a:pt x="267" y="102"/>
                  </a:lnTo>
                  <a:lnTo>
                    <a:pt x="271" y="104"/>
                  </a:lnTo>
                  <a:lnTo>
                    <a:pt x="275" y="109"/>
                  </a:lnTo>
                  <a:lnTo>
                    <a:pt x="279" y="113"/>
                  </a:lnTo>
                  <a:lnTo>
                    <a:pt x="282" y="118"/>
                  </a:lnTo>
                  <a:lnTo>
                    <a:pt x="285" y="123"/>
                  </a:lnTo>
                  <a:lnTo>
                    <a:pt x="286" y="129"/>
                  </a:lnTo>
                  <a:lnTo>
                    <a:pt x="286" y="135"/>
                  </a:lnTo>
                  <a:lnTo>
                    <a:pt x="286"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637"/>
            <p:cNvSpPr>
              <a:spLocks/>
            </p:cNvSpPr>
            <p:nvPr/>
          </p:nvSpPr>
          <p:spPr bwMode="auto">
            <a:xfrm>
              <a:off x="8461375" y="593725"/>
              <a:ext cx="176213" cy="174625"/>
            </a:xfrm>
            <a:custGeom>
              <a:avLst/>
              <a:gdLst>
                <a:gd name="T0" fmla="*/ 166 w 331"/>
                <a:gd name="T1" fmla="*/ 0 h 331"/>
                <a:gd name="T2" fmla="*/ 199 w 331"/>
                <a:gd name="T3" fmla="*/ 4 h 331"/>
                <a:gd name="T4" fmla="*/ 231 w 331"/>
                <a:gd name="T5" fmla="*/ 13 h 331"/>
                <a:gd name="T6" fmla="*/ 259 w 331"/>
                <a:gd name="T7" fmla="*/ 29 h 331"/>
                <a:gd name="T8" fmla="*/ 283 w 331"/>
                <a:gd name="T9" fmla="*/ 49 h 331"/>
                <a:gd name="T10" fmla="*/ 304 w 331"/>
                <a:gd name="T11" fmla="*/ 74 h 331"/>
                <a:gd name="T12" fmla="*/ 318 w 331"/>
                <a:gd name="T13" fmla="*/ 102 h 331"/>
                <a:gd name="T14" fmla="*/ 328 w 331"/>
                <a:gd name="T15" fmla="*/ 132 h 331"/>
                <a:gd name="T16" fmla="*/ 331 w 331"/>
                <a:gd name="T17" fmla="*/ 166 h 331"/>
                <a:gd name="T18" fmla="*/ 330 w 331"/>
                <a:gd name="T19" fmla="*/ 183 h 331"/>
                <a:gd name="T20" fmla="*/ 324 w 331"/>
                <a:gd name="T21" fmla="*/ 216 h 331"/>
                <a:gd name="T22" fmla="*/ 312 w 331"/>
                <a:gd name="T23" fmla="*/ 245 h 331"/>
                <a:gd name="T24" fmla="*/ 294 w 331"/>
                <a:gd name="T25" fmla="*/ 272 h 331"/>
                <a:gd name="T26" fmla="*/ 272 w 331"/>
                <a:gd name="T27" fmla="*/ 294 h 331"/>
                <a:gd name="T28" fmla="*/ 245 w 331"/>
                <a:gd name="T29" fmla="*/ 312 h 331"/>
                <a:gd name="T30" fmla="*/ 215 w 331"/>
                <a:gd name="T31" fmla="*/ 324 h 331"/>
                <a:gd name="T32" fmla="*/ 183 w 331"/>
                <a:gd name="T33" fmla="*/ 331 h 331"/>
                <a:gd name="T34" fmla="*/ 166 w 331"/>
                <a:gd name="T35" fmla="*/ 331 h 331"/>
                <a:gd name="T36" fmla="*/ 133 w 331"/>
                <a:gd name="T37" fmla="*/ 329 h 331"/>
                <a:gd name="T38" fmla="*/ 102 w 331"/>
                <a:gd name="T39" fmla="*/ 319 h 331"/>
                <a:gd name="T40" fmla="*/ 73 w 331"/>
                <a:gd name="T41" fmla="*/ 303 h 331"/>
                <a:gd name="T42" fmla="*/ 49 w 331"/>
                <a:gd name="T43" fmla="*/ 283 h 331"/>
                <a:gd name="T44" fmla="*/ 28 w 331"/>
                <a:gd name="T45" fmla="*/ 258 h 331"/>
                <a:gd name="T46" fmla="*/ 14 w 331"/>
                <a:gd name="T47" fmla="*/ 231 h 331"/>
                <a:gd name="T48" fmla="*/ 4 w 331"/>
                <a:gd name="T49" fmla="*/ 199 h 331"/>
                <a:gd name="T50" fmla="*/ 0 w 331"/>
                <a:gd name="T51" fmla="*/ 166 h 331"/>
                <a:gd name="T52" fmla="*/ 1 w 331"/>
                <a:gd name="T53" fmla="*/ 149 h 331"/>
                <a:gd name="T54" fmla="*/ 8 w 331"/>
                <a:gd name="T55" fmla="*/ 116 h 331"/>
                <a:gd name="T56" fmla="*/ 21 w 331"/>
                <a:gd name="T57" fmla="*/ 87 h 331"/>
                <a:gd name="T58" fmla="*/ 38 w 331"/>
                <a:gd name="T59" fmla="*/ 61 h 331"/>
                <a:gd name="T60" fmla="*/ 61 w 331"/>
                <a:gd name="T61" fmla="*/ 39 h 331"/>
                <a:gd name="T62" fmla="*/ 88 w 331"/>
                <a:gd name="T63" fmla="*/ 21 h 331"/>
                <a:gd name="T64" fmla="*/ 117 w 331"/>
                <a:gd name="T65" fmla="*/ 9 h 331"/>
                <a:gd name="T66" fmla="*/ 150 w 331"/>
                <a:gd name="T67" fmla="*/ 1 h 331"/>
                <a:gd name="T68" fmla="*/ 166 w 331"/>
                <a:gd name="T69"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1" h="331">
                  <a:moveTo>
                    <a:pt x="166" y="0"/>
                  </a:moveTo>
                  <a:lnTo>
                    <a:pt x="166" y="0"/>
                  </a:lnTo>
                  <a:lnTo>
                    <a:pt x="183" y="1"/>
                  </a:lnTo>
                  <a:lnTo>
                    <a:pt x="199" y="4"/>
                  </a:lnTo>
                  <a:lnTo>
                    <a:pt x="215" y="9"/>
                  </a:lnTo>
                  <a:lnTo>
                    <a:pt x="231" y="13"/>
                  </a:lnTo>
                  <a:lnTo>
                    <a:pt x="245" y="21"/>
                  </a:lnTo>
                  <a:lnTo>
                    <a:pt x="259" y="29"/>
                  </a:lnTo>
                  <a:lnTo>
                    <a:pt x="272" y="39"/>
                  </a:lnTo>
                  <a:lnTo>
                    <a:pt x="283" y="49"/>
                  </a:lnTo>
                  <a:lnTo>
                    <a:pt x="294" y="61"/>
                  </a:lnTo>
                  <a:lnTo>
                    <a:pt x="304" y="74"/>
                  </a:lnTo>
                  <a:lnTo>
                    <a:pt x="312" y="87"/>
                  </a:lnTo>
                  <a:lnTo>
                    <a:pt x="318" y="102"/>
                  </a:lnTo>
                  <a:lnTo>
                    <a:pt x="324" y="116"/>
                  </a:lnTo>
                  <a:lnTo>
                    <a:pt x="328" y="132"/>
                  </a:lnTo>
                  <a:lnTo>
                    <a:pt x="330" y="149"/>
                  </a:lnTo>
                  <a:lnTo>
                    <a:pt x="331" y="166"/>
                  </a:lnTo>
                  <a:lnTo>
                    <a:pt x="331" y="166"/>
                  </a:lnTo>
                  <a:lnTo>
                    <a:pt x="330" y="183"/>
                  </a:lnTo>
                  <a:lnTo>
                    <a:pt x="328" y="199"/>
                  </a:lnTo>
                  <a:lnTo>
                    <a:pt x="324" y="216"/>
                  </a:lnTo>
                  <a:lnTo>
                    <a:pt x="318" y="231"/>
                  </a:lnTo>
                  <a:lnTo>
                    <a:pt x="312" y="245"/>
                  </a:lnTo>
                  <a:lnTo>
                    <a:pt x="304" y="258"/>
                  </a:lnTo>
                  <a:lnTo>
                    <a:pt x="294" y="272"/>
                  </a:lnTo>
                  <a:lnTo>
                    <a:pt x="283" y="283"/>
                  </a:lnTo>
                  <a:lnTo>
                    <a:pt x="272" y="294"/>
                  </a:lnTo>
                  <a:lnTo>
                    <a:pt x="259" y="303"/>
                  </a:lnTo>
                  <a:lnTo>
                    <a:pt x="245" y="312"/>
                  </a:lnTo>
                  <a:lnTo>
                    <a:pt x="231" y="319"/>
                  </a:lnTo>
                  <a:lnTo>
                    <a:pt x="215" y="324"/>
                  </a:lnTo>
                  <a:lnTo>
                    <a:pt x="199" y="329"/>
                  </a:lnTo>
                  <a:lnTo>
                    <a:pt x="183" y="331"/>
                  </a:lnTo>
                  <a:lnTo>
                    <a:pt x="166" y="331"/>
                  </a:lnTo>
                  <a:lnTo>
                    <a:pt x="166" y="331"/>
                  </a:lnTo>
                  <a:lnTo>
                    <a:pt x="150" y="331"/>
                  </a:lnTo>
                  <a:lnTo>
                    <a:pt x="133" y="329"/>
                  </a:lnTo>
                  <a:lnTo>
                    <a:pt x="117" y="324"/>
                  </a:lnTo>
                  <a:lnTo>
                    <a:pt x="102" y="319"/>
                  </a:lnTo>
                  <a:lnTo>
                    <a:pt x="88" y="312"/>
                  </a:lnTo>
                  <a:lnTo>
                    <a:pt x="73" y="303"/>
                  </a:lnTo>
                  <a:lnTo>
                    <a:pt x="61" y="294"/>
                  </a:lnTo>
                  <a:lnTo>
                    <a:pt x="49" y="283"/>
                  </a:lnTo>
                  <a:lnTo>
                    <a:pt x="38" y="272"/>
                  </a:lnTo>
                  <a:lnTo>
                    <a:pt x="28" y="258"/>
                  </a:lnTo>
                  <a:lnTo>
                    <a:pt x="21" y="245"/>
                  </a:lnTo>
                  <a:lnTo>
                    <a:pt x="14" y="231"/>
                  </a:lnTo>
                  <a:lnTo>
                    <a:pt x="8" y="216"/>
                  </a:lnTo>
                  <a:lnTo>
                    <a:pt x="4" y="199"/>
                  </a:lnTo>
                  <a:lnTo>
                    <a:pt x="1" y="183"/>
                  </a:lnTo>
                  <a:lnTo>
                    <a:pt x="0" y="166"/>
                  </a:lnTo>
                  <a:lnTo>
                    <a:pt x="0" y="166"/>
                  </a:lnTo>
                  <a:lnTo>
                    <a:pt x="1" y="149"/>
                  </a:lnTo>
                  <a:lnTo>
                    <a:pt x="4" y="132"/>
                  </a:lnTo>
                  <a:lnTo>
                    <a:pt x="8" y="116"/>
                  </a:lnTo>
                  <a:lnTo>
                    <a:pt x="14" y="102"/>
                  </a:lnTo>
                  <a:lnTo>
                    <a:pt x="21" y="87"/>
                  </a:lnTo>
                  <a:lnTo>
                    <a:pt x="28" y="74"/>
                  </a:lnTo>
                  <a:lnTo>
                    <a:pt x="38" y="61"/>
                  </a:lnTo>
                  <a:lnTo>
                    <a:pt x="49" y="49"/>
                  </a:lnTo>
                  <a:lnTo>
                    <a:pt x="61" y="39"/>
                  </a:lnTo>
                  <a:lnTo>
                    <a:pt x="73" y="29"/>
                  </a:lnTo>
                  <a:lnTo>
                    <a:pt x="88" y="21"/>
                  </a:lnTo>
                  <a:lnTo>
                    <a:pt x="102" y="13"/>
                  </a:lnTo>
                  <a:lnTo>
                    <a:pt x="117" y="9"/>
                  </a:lnTo>
                  <a:lnTo>
                    <a:pt x="133" y="4"/>
                  </a:lnTo>
                  <a:lnTo>
                    <a:pt x="150" y="1"/>
                  </a:lnTo>
                  <a:lnTo>
                    <a:pt x="166"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638"/>
            <p:cNvSpPr>
              <a:spLocks/>
            </p:cNvSpPr>
            <p:nvPr/>
          </p:nvSpPr>
          <p:spPr bwMode="auto">
            <a:xfrm>
              <a:off x="8524875" y="792163"/>
              <a:ext cx="50800" cy="96837"/>
            </a:xfrm>
            <a:custGeom>
              <a:avLst/>
              <a:gdLst>
                <a:gd name="T0" fmla="*/ 49 w 96"/>
                <a:gd name="T1" fmla="*/ 0 h 181"/>
                <a:gd name="T2" fmla="*/ 96 w 96"/>
                <a:gd name="T3" fmla="*/ 181 h 181"/>
                <a:gd name="T4" fmla="*/ 96 w 96"/>
                <a:gd name="T5" fmla="*/ 181 h 181"/>
                <a:gd name="T6" fmla="*/ 73 w 96"/>
                <a:gd name="T7" fmla="*/ 179 h 181"/>
                <a:gd name="T8" fmla="*/ 49 w 96"/>
                <a:gd name="T9" fmla="*/ 179 h 181"/>
                <a:gd name="T10" fmla="*/ 24 w 96"/>
                <a:gd name="T11" fmla="*/ 179 h 181"/>
                <a:gd name="T12" fmla="*/ 0 w 96"/>
                <a:gd name="T13" fmla="*/ 181 h 181"/>
                <a:gd name="T14" fmla="*/ 49 w 96"/>
                <a:gd name="T15" fmla="*/ 0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81">
                  <a:moveTo>
                    <a:pt x="49" y="0"/>
                  </a:moveTo>
                  <a:lnTo>
                    <a:pt x="96" y="181"/>
                  </a:lnTo>
                  <a:lnTo>
                    <a:pt x="96" y="181"/>
                  </a:lnTo>
                  <a:lnTo>
                    <a:pt x="73" y="179"/>
                  </a:lnTo>
                  <a:lnTo>
                    <a:pt x="49" y="179"/>
                  </a:lnTo>
                  <a:lnTo>
                    <a:pt x="24" y="179"/>
                  </a:lnTo>
                  <a:lnTo>
                    <a:pt x="0" y="181"/>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639"/>
            <p:cNvSpPr>
              <a:spLocks/>
            </p:cNvSpPr>
            <p:nvPr/>
          </p:nvSpPr>
          <p:spPr bwMode="auto">
            <a:xfrm>
              <a:off x="8558212" y="1092200"/>
              <a:ext cx="14288" cy="38100"/>
            </a:xfrm>
            <a:custGeom>
              <a:avLst/>
              <a:gdLst>
                <a:gd name="T0" fmla="*/ 0 w 26"/>
                <a:gd name="T1" fmla="*/ 0 h 70"/>
                <a:gd name="T2" fmla="*/ 0 w 26"/>
                <a:gd name="T3" fmla="*/ 0 h 70"/>
                <a:gd name="T4" fmla="*/ 7 w 26"/>
                <a:gd name="T5" fmla="*/ 2 h 70"/>
                <a:gd name="T6" fmla="*/ 11 w 26"/>
                <a:gd name="T7" fmla="*/ 5 h 70"/>
                <a:gd name="T8" fmla="*/ 15 w 26"/>
                <a:gd name="T9" fmla="*/ 10 h 70"/>
                <a:gd name="T10" fmla="*/ 19 w 26"/>
                <a:gd name="T11" fmla="*/ 13 h 70"/>
                <a:gd name="T12" fmla="*/ 22 w 26"/>
                <a:gd name="T13" fmla="*/ 18 h 70"/>
                <a:gd name="T14" fmla="*/ 25 w 26"/>
                <a:gd name="T15" fmla="*/ 23 h 70"/>
                <a:gd name="T16" fmla="*/ 26 w 26"/>
                <a:gd name="T17" fmla="*/ 29 h 70"/>
                <a:gd name="T18" fmla="*/ 26 w 26"/>
                <a:gd name="T19" fmla="*/ 35 h 70"/>
                <a:gd name="T20" fmla="*/ 26 w 26"/>
                <a:gd name="T21" fmla="*/ 35 h 70"/>
                <a:gd name="T22" fmla="*/ 26 w 26"/>
                <a:gd name="T23" fmla="*/ 40 h 70"/>
                <a:gd name="T24" fmla="*/ 25 w 26"/>
                <a:gd name="T25" fmla="*/ 46 h 70"/>
                <a:gd name="T26" fmla="*/ 22 w 26"/>
                <a:gd name="T27" fmla="*/ 51 h 70"/>
                <a:gd name="T28" fmla="*/ 19 w 26"/>
                <a:gd name="T29" fmla="*/ 56 h 70"/>
                <a:gd name="T30" fmla="*/ 15 w 26"/>
                <a:gd name="T31" fmla="*/ 61 h 70"/>
                <a:gd name="T32" fmla="*/ 11 w 26"/>
                <a:gd name="T33" fmla="*/ 64 h 70"/>
                <a:gd name="T34" fmla="*/ 7 w 26"/>
                <a:gd name="T35" fmla="*/ 68 h 70"/>
                <a:gd name="T36" fmla="*/ 0 w 26"/>
                <a:gd name="T37" fmla="*/ 70 h 70"/>
                <a:gd name="T38" fmla="*/ 0 w 26"/>
                <a:gd name="T3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70">
                  <a:moveTo>
                    <a:pt x="0" y="0"/>
                  </a:moveTo>
                  <a:lnTo>
                    <a:pt x="0" y="0"/>
                  </a:lnTo>
                  <a:lnTo>
                    <a:pt x="7" y="2"/>
                  </a:lnTo>
                  <a:lnTo>
                    <a:pt x="11" y="5"/>
                  </a:lnTo>
                  <a:lnTo>
                    <a:pt x="15" y="10"/>
                  </a:lnTo>
                  <a:lnTo>
                    <a:pt x="19" y="13"/>
                  </a:lnTo>
                  <a:lnTo>
                    <a:pt x="22" y="18"/>
                  </a:lnTo>
                  <a:lnTo>
                    <a:pt x="25" y="23"/>
                  </a:lnTo>
                  <a:lnTo>
                    <a:pt x="26" y="29"/>
                  </a:lnTo>
                  <a:lnTo>
                    <a:pt x="26" y="35"/>
                  </a:lnTo>
                  <a:lnTo>
                    <a:pt x="26" y="35"/>
                  </a:lnTo>
                  <a:lnTo>
                    <a:pt x="26" y="40"/>
                  </a:lnTo>
                  <a:lnTo>
                    <a:pt x="25" y="46"/>
                  </a:lnTo>
                  <a:lnTo>
                    <a:pt x="22" y="51"/>
                  </a:lnTo>
                  <a:lnTo>
                    <a:pt x="19" y="56"/>
                  </a:lnTo>
                  <a:lnTo>
                    <a:pt x="15" y="61"/>
                  </a:lnTo>
                  <a:lnTo>
                    <a:pt x="11" y="64"/>
                  </a:lnTo>
                  <a:lnTo>
                    <a:pt x="7" y="68"/>
                  </a:lnTo>
                  <a:lnTo>
                    <a:pt x="0" y="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40"/>
            <p:cNvSpPr>
              <a:spLocks/>
            </p:cNvSpPr>
            <p:nvPr/>
          </p:nvSpPr>
          <p:spPr bwMode="auto">
            <a:xfrm>
              <a:off x="8526462" y="1027113"/>
              <a:ext cx="14288" cy="38100"/>
            </a:xfrm>
            <a:custGeom>
              <a:avLst/>
              <a:gdLst>
                <a:gd name="T0" fmla="*/ 25 w 25"/>
                <a:gd name="T1" fmla="*/ 0 h 71"/>
                <a:gd name="T2" fmla="*/ 25 w 25"/>
                <a:gd name="T3" fmla="*/ 71 h 71"/>
                <a:gd name="T4" fmla="*/ 25 w 25"/>
                <a:gd name="T5" fmla="*/ 71 h 71"/>
                <a:gd name="T6" fmla="*/ 20 w 25"/>
                <a:gd name="T7" fmla="*/ 68 h 71"/>
                <a:gd name="T8" fmla="*/ 16 w 25"/>
                <a:gd name="T9" fmla="*/ 65 h 71"/>
                <a:gd name="T10" fmla="*/ 11 w 25"/>
                <a:gd name="T11" fmla="*/ 61 h 71"/>
                <a:gd name="T12" fmla="*/ 7 w 25"/>
                <a:gd name="T13" fmla="*/ 56 h 71"/>
                <a:gd name="T14" fmla="*/ 3 w 25"/>
                <a:gd name="T15" fmla="*/ 51 h 71"/>
                <a:gd name="T16" fmla="*/ 1 w 25"/>
                <a:gd name="T17" fmla="*/ 47 h 71"/>
                <a:gd name="T18" fmla="*/ 0 w 25"/>
                <a:gd name="T19" fmla="*/ 41 h 71"/>
                <a:gd name="T20" fmla="*/ 0 w 25"/>
                <a:gd name="T21" fmla="*/ 36 h 71"/>
                <a:gd name="T22" fmla="*/ 0 w 25"/>
                <a:gd name="T23" fmla="*/ 36 h 71"/>
                <a:gd name="T24" fmla="*/ 0 w 25"/>
                <a:gd name="T25" fmla="*/ 30 h 71"/>
                <a:gd name="T26" fmla="*/ 1 w 25"/>
                <a:gd name="T27" fmla="*/ 24 h 71"/>
                <a:gd name="T28" fmla="*/ 3 w 25"/>
                <a:gd name="T29" fmla="*/ 19 h 71"/>
                <a:gd name="T30" fmla="*/ 7 w 25"/>
                <a:gd name="T31" fmla="*/ 14 h 71"/>
                <a:gd name="T32" fmla="*/ 11 w 25"/>
                <a:gd name="T33" fmla="*/ 10 h 71"/>
                <a:gd name="T34" fmla="*/ 16 w 25"/>
                <a:gd name="T35" fmla="*/ 5 h 71"/>
                <a:gd name="T36" fmla="*/ 20 w 25"/>
                <a:gd name="T37" fmla="*/ 3 h 71"/>
                <a:gd name="T38" fmla="*/ 25 w 25"/>
                <a:gd name="T39" fmla="*/ 0 h 71"/>
                <a:gd name="T40" fmla="*/ 25 w 25"/>
                <a:gd name="T4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71">
                  <a:moveTo>
                    <a:pt x="25" y="0"/>
                  </a:moveTo>
                  <a:lnTo>
                    <a:pt x="25" y="71"/>
                  </a:lnTo>
                  <a:lnTo>
                    <a:pt x="25" y="71"/>
                  </a:lnTo>
                  <a:lnTo>
                    <a:pt x="20" y="68"/>
                  </a:lnTo>
                  <a:lnTo>
                    <a:pt x="16" y="65"/>
                  </a:lnTo>
                  <a:lnTo>
                    <a:pt x="11" y="61"/>
                  </a:lnTo>
                  <a:lnTo>
                    <a:pt x="7" y="56"/>
                  </a:lnTo>
                  <a:lnTo>
                    <a:pt x="3" y="51"/>
                  </a:lnTo>
                  <a:lnTo>
                    <a:pt x="1" y="47"/>
                  </a:lnTo>
                  <a:lnTo>
                    <a:pt x="0" y="41"/>
                  </a:lnTo>
                  <a:lnTo>
                    <a:pt x="0" y="36"/>
                  </a:lnTo>
                  <a:lnTo>
                    <a:pt x="0" y="36"/>
                  </a:lnTo>
                  <a:lnTo>
                    <a:pt x="0" y="30"/>
                  </a:lnTo>
                  <a:lnTo>
                    <a:pt x="1" y="24"/>
                  </a:lnTo>
                  <a:lnTo>
                    <a:pt x="3" y="19"/>
                  </a:lnTo>
                  <a:lnTo>
                    <a:pt x="7" y="14"/>
                  </a:lnTo>
                  <a:lnTo>
                    <a:pt x="11" y="10"/>
                  </a:lnTo>
                  <a:lnTo>
                    <a:pt x="16" y="5"/>
                  </a:lnTo>
                  <a:lnTo>
                    <a:pt x="20" y="3"/>
                  </a:lnTo>
                  <a:lnTo>
                    <a:pt x="25" y="0"/>
                  </a:lnTo>
                  <a:lnTo>
                    <a:pt x="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41"/>
            <p:cNvSpPr>
              <a:spLocks/>
            </p:cNvSpPr>
            <p:nvPr/>
          </p:nvSpPr>
          <p:spPr bwMode="auto">
            <a:xfrm>
              <a:off x="8216900" y="1033463"/>
              <a:ext cx="211138" cy="127000"/>
            </a:xfrm>
            <a:custGeom>
              <a:avLst/>
              <a:gdLst>
                <a:gd name="T0" fmla="*/ 92 w 400"/>
                <a:gd name="T1" fmla="*/ 3 h 241"/>
                <a:gd name="T2" fmla="*/ 400 w 400"/>
                <a:gd name="T3" fmla="*/ 43 h 241"/>
                <a:gd name="T4" fmla="*/ 400 w 400"/>
                <a:gd name="T5" fmla="*/ 43 h 241"/>
                <a:gd name="T6" fmla="*/ 393 w 400"/>
                <a:gd name="T7" fmla="*/ 61 h 241"/>
                <a:gd name="T8" fmla="*/ 387 w 400"/>
                <a:gd name="T9" fmla="*/ 80 h 241"/>
                <a:gd name="T10" fmla="*/ 381 w 400"/>
                <a:gd name="T11" fmla="*/ 100 h 241"/>
                <a:gd name="T12" fmla="*/ 376 w 400"/>
                <a:gd name="T13" fmla="*/ 121 h 241"/>
                <a:gd name="T14" fmla="*/ 168 w 400"/>
                <a:gd name="T15" fmla="*/ 121 h 241"/>
                <a:gd name="T16" fmla="*/ 168 w 400"/>
                <a:gd name="T17" fmla="*/ 121 h 241"/>
                <a:gd name="T18" fmla="*/ 165 w 400"/>
                <a:gd name="T19" fmla="*/ 121 h 241"/>
                <a:gd name="T20" fmla="*/ 161 w 400"/>
                <a:gd name="T21" fmla="*/ 122 h 241"/>
                <a:gd name="T22" fmla="*/ 156 w 400"/>
                <a:gd name="T23" fmla="*/ 125 h 241"/>
                <a:gd name="T24" fmla="*/ 151 w 400"/>
                <a:gd name="T25" fmla="*/ 131 h 241"/>
                <a:gd name="T26" fmla="*/ 151 w 400"/>
                <a:gd name="T27" fmla="*/ 135 h 241"/>
                <a:gd name="T28" fmla="*/ 150 w 400"/>
                <a:gd name="T29" fmla="*/ 139 h 241"/>
                <a:gd name="T30" fmla="*/ 150 w 400"/>
                <a:gd name="T31" fmla="*/ 139 h 241"/>
                <a:gd name="T32" fmla="*/ 151 w 400"/>
                <a:gd name="T33" fmla="*/ 142 h 241"/>
                <a:gd name="T34" fmla="*/ 151 w 400"/>
                <a:gd name="T35" fmla="*/ 145 h 241"/>
                <a:gd name="T36" fmla="*/ 156 w 400"/>
                <a:gd name="T37" fmla="*/ 151 h 241"/>
                <a:gd name="T38" fmla="*/ 161 w 400"/>
                <a:gd name="T39" fmla="*/ 154 h 241"/>
                <a:gd name="T40" fmla="*/ 165 w 400"/>
                <a:gd name="T41" fmla="*/ 156 h 241"/>
                <a:gd name="T42" fmla="*/ 168 w 400"/>
                <a:gd name="T43" fmla="*/ 157 h 241"/>
                <a:gd name="T44" fmla="*/ 371 w 400"/>
                <a:gd name="T45" fmla="*/ 157 h 241"/>
                <a:gd name="T46" fmla="*/ 371 w 400"/>
                <a:gd name="T47" fmla="*/ 157 h 241"/>
                <a:gd name="T48" fmla="*/ 370 w 400"/>
                <a:gd name="T49" fmla="*/ 174 h 241"/>
                <a:gd name="T50" fmla="*/ 370 w 400"/>
                <a:gd name="T51" fmla="*/ 192 h 241"/>
                <a:gd name="T52" fmla="*/ 370 w 400"/>
                <a:gd name="T53" fmla="*/ 192 h 241"/>
                <a:gd name="T54" fmla="*/ 371 w 400"/>
                <a:gd name="T55" fmla="*/ 205 h 241"/>
                <a:gd name="T56" fmla="*/ 373 w 400"/>
                <a:gd name="T57" fmla="*/ 218 h 241"/>
                <a:gd name="T58" fmla="*/ 378 w 400"/>
                <a:gd name="T59" fmla="*/ 230 h 241"/>
                <a:gd name="T60" fmla="*/ 384 w 400"/>
                <a:gd name="T61" fmla="*/ 241 h 241"/>
                <a:gd name="T62" fmla="*/ 384 w 400"/>
                <a:gd name="T63" fmla="*/ 241 h 241"/>
                <a:gd name="T64" fmla="*/ 63 w 400"/>
                <a:gd name="T65" fmla="*/ 241 h 241"/>
                <a:gd name="T66" fmla="*/ 63 w 400"/>
                <a:gd name="T67" fmla="*/ 241 h 241"/>
                <a:gd name="T68" fmla="*/ 53 w 400"/>
                <a:gd name="T69" fmla="*/ 239 h 241"/>
                <a:gd name="T70" fmla="*/ 44 w 400"/>
                <a:gd name="T71" fmla="*/ 238 h 241"/>
                <a:gd name="T72" fmla="*/ 37 w 400"/>
                <a:gd name="T73" fmla="*/ 236 h 241"/>
                <a:gd name="T74" fmla="*/ 31 w 400"/>
                <a:gd name="T75" fmla="*/ 233 h 241"/>
                <a:gd name="T76" fmla="*/ 25 w 400"/>
                <a:gd name="T77" fmla="*/ 230 h 241"/>
                <a:gd name="T78" fmla="*/ 20 w 400"/>
                <a:gd name="T79" fmla="*/ 225 h 241"/>
                <a:gd name="T80" fmla="*/ 12 w 400"/>
                <a:gd name="T81" fmla="*/ 218 h 241"/>
                <a:gd name="T82" fmla="*/ 6 w 400"/>
                <a:gd name="T83" fmla="*/ 209 h 241"/>
                <a:gd name="T84" fmla="*/ 2 w 400"/>
                <a:gd name="T85" fmla="*/ 201 h 241"/>
                <a:gd name="T86" fmla="*/ 0 w 400"/>
                <a:gd name="T87" fmla="*/ 195 h 241"/>
                <a:gd name="T88" fmla="*/ 0 w 400"/>
                <a:gd name="T89" fmla="*/ 195 h 241"/>
                <a:gd name="T90" fmla="*/ 0 w 400"/>
                <a:gd name="T91" fmla="*/ 71 h 241"/>
                <a:gd name="T92" fmla="*/ 0 w 400"/>
                <a:gd name="T93" fmla="*/ 71 h 241"/>
                <a:gd name="T94" fmla="*/ 1 w 400"/>
                <a:gd name="T95" fmla="*/ 55 h 241"/>
                <a:gd name="T96" fmla="*/ 4 w 400"/>
                <a:gd name="T97" fmla="*/ 43 h 241"/>
                <a:gd name="T98" fmla="*/ 8 w 400"/>
                <a:gd name="T99" fmla="*/ 32 h 241"/>
                <a:gd name="T100" fmla="*/ 14 w 400"/>
                <a:gd name="T101" fmla="*/ 22 h 241"/>
                <a:gd name="T102" fmla="*/ 21 w 400"/>
                <a:gd name="T103" fmla="*/ 16 h 241"/>
                <a:gd name="T104" fmla="*/ 29 w 400"/>
                <a:gd name="T105" fmla="*/ 10 h 241"/>
                <a:gd name="T106" fmla="*/ 37 w 400"/>
                <a:gd name="T107" fmla="*/ 6 h 241"/>
                <a:gd name="T108" fmla="*/ 46 w 400"/>
                <a:gd name="T109" fmla="*/ 3 h 241"/>
                <a:gd name="T110" fmla="*/ 54 w 400"/>
                <a:gd name="T111" fmla="*/ 2 h 241"/>
                <a:gd name="T112" fmla="*/ 63 w 400"/>
                <a:gd name="T113" fmla="*/ 0 h 241"/>
                <a:gd name="T114" fmla="*/ 77 w 400"/>
                <a:gd name="T115" fmla="*/ 0 h 241"/>
                <a:gd name="T116" fmla="*/ 87 w 400"/>
                <a:gd name="T117" fmla="*/ 2 h 241"/>
                <a:gd name="T118" fmla="*/ 92 w 400"/>
                <a:gd name="T119" fmla="*/ 3 h 241"/>
                <a:gd name="T120" fmla="*/ 92 w 400"/>
                <a:gd name="T121" fmla="*/ 3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0" h="241">
                  <a:moveTo>
                    <a:pt x="92" y="3"/>
                  </a:moveTo>
                  <a:lnTo>
                    <a:pt x="400" y="43"/>
                  </a:lnTo>
                  <a:lnTo>
                    <a:pt x="400" y="43"/>
                  </a:lnTo>
                  <a:lnTo>
                    <a:pt x="393" y="61"/>
                  </a:lnTo>
                  <a:lnTo>
                    <a:pt x="387" y="80"/>
                  </a:lnTo>
                  <a:lnTo>
                    <a:pt x="381" y="100"/>
                  </a:lnTo>
                  <a:lnTo>
                    <a:pt x="376" y="121"/>
                  </a:lnTo>
                  <a:lnTo>
                    <a:pt x="168" y="121"/>
                  </a:lnTo>
                  <a:lnTo>
                    <a:pt x="168" y="121"/>
                  </a:lnTo>
                  <a:lnTo>
                    <a:pt x="165" y="121"/>
                  </a:lnTo>
                  <a:lnTo>
                    <a:pt x="161" y="122"/>
                  </a:lnTo>
                  <a:lnTo>
                    <a:pt x="156" y="125"/>
                  </a:lnTo>
                  <a:lnTo>
                    <a:pt x="151" y="131"/>
                  </a:lnTo>
                  <a:lnTo>
                    <a:pt x="151" y="135"/>
                  </a:lnTo>
                  <a:lnTo>
                    <a:pt x="150" y="139"/>
                  </a:lnTo>
                  <a:lnTo>
                    <a:pt x="150" y="139"/>
                  </a:lnTo>
                  <a:lnTo>
                    <a:pt x="151" y="142"/>
                  </a:lnTo>
                  <a:lnTo>
                    <a:pt x="151" y="145"/>
                  </a:lnTo>
                  <a:lnTo>
                    <a:pt x="156" y="151"/>
                  </a:lnTo>
                  <a:lnTo>
                    <a:pt x="161" y="154"/>
                  </a:lnTo>
                  <a:lnTo>
                    <a:pt x="165" y="156"/>
                  </a:lnTo>
                  <a:lnTo>
                    <a:pt x="168" y="157"/>
                  </a:lnTo>
                  <a:lnTo>
                    <a:pt x="371" y="157"/>
                  </a:lnTo>
                  <a:lnTo>
                    <a:pt x="371" y="157"/>
                  </a:lnTo>
                  <a:lnTo>
                    <a:pt x="370" y="174"/>
                  </a:lnTo>
                  <a:lnTo>
                    <a:pt x="370" y="192"/>
                  </a:lnTo>
                  <a:lnTo>
                    <a:pt x="370" y="192"/>
                  </a:lnTo>
                  <a:lnTo>
                    <a:pt x="371" y="205"/>
                  </a:lnTo>
                  <a:lnTo>
                    <a:pt x="373" y="218"/>
                  </a:lnTo>
                  <a:lnTo>
                    <a:pt x="378" y="230"/>
                  </a:lnTo>
                  <a:lnTo>
                    <a:pt x="384" y="241"/>
                  </a:lnTo>
                  <a:lnTo>
                    <a:pt x="384" y="241"/>
                  </a:lnTo>
                  <a:lnTo>
                    <a:pt x="63" y="241"/>
                  </a:lnTo>
                  <a:lnTo>
                    <a:pt x="63" y="241"/>
                  </a:lnTo>
                  <a:lnTo>
                    <a:pt x="53" y="239"/>
                  </a:lnTo>
                  <a:lnTo>
                    <a:pt x="44" y="238"/>
                  </a:lnTo>
                  <a:lnTo>
                    <a:pt x="37" y="236"/>
                  </a:lnTo>
                  <a:lnTo>
                    <a:pt x="31" y="233"/>
                  </a:lnTo>
                  <a:lnTo>
                    <a:pt x="25" y="230"/>
                  </a:lnTo>
                  <a:lnTo>
                    <a:pt x="20" y="225"/>
                  </a:lnTo>
                  <a:lnTo>
                    <a:pt x="12" y="218"/>
                  </a:lnTo>
                  <a:lnTo>
                    <a:pt x="6" y="209"/>
                  </a:lnTo>
                  <a:lnTo>
                    <a:pt x="2" y="201"/>
                  </a:lnTo>
                  <a:lnTo>
                    <a:pt x="0" y="195"/>
                  </a:lnTo>
                  <a:lnTo>
                    <a:pt x="0" y="195"/>
                  </a:lnTo>
                  <a:lnTo>
                    <a:pt x="0" y="71"/>
                  </a:lnTo>
                  <a:lnTo>
                    <a:pt x="0" y="71"/>
                  </a:lnTo>
                  <a:lnTo>
                    <a:pt x="1" y="55"/>
                  </a:lnTo>
                  <a:lnTo>
                    <a:pt x="4" y="43"/>
                  </a:lnTo>
                  <a:lnTo>
                    <a:pt x="8" y="32"/>
                  </a:lnTo>
                  <a:lnTo>
                    <a:pt x="14" y="22"/>
                  </a:lnTo>
                  <a:lnTo>
                    <a:pt x="21" y="16"/>
                  </a:lnTo>
                  <a:lnTo>
                    <a:pt x="29" y="10"/>
                  </a:lnTo>
                  <a:lnTo>
                    <a:pt x="37" y="6"/>
                  </a:lnTo>
                  <a:lnTo>
                    <a:pt x="46" y="3"/>
                  </a:lnTo>
                  <a:lnTo>
                    <a:pt x="54" y="2"/>
                  </a:lnTo>
                  <a:lnTo>
                    <a:pt x="63" y="0"/>
                  </a:lnTo>
                  <a:lnTo>
                    <a:pt x="77" y="0"/>
                  </a:lnTo>
                  <a:lnTo>
                    <a:pt x="87" y="2"/>
                  </a:lnTo>
                  <a:lnTo>
                    <a:pt x="92" y="3"/>
                  </a:lnTo>
                  <a:lnTo>
                    <a:pt x="9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 name="Group 58"/>
          <p:cNvGrpSpPr/>
          <p:nvPr/>
        </p:nvGrpSpPr>
        <p:grpSpPr>
          <a:xfrm>
            <a:off x="7538144" y="3620135"/>
            <a:ext cx="611188" cy="688975"/>
            <a:chOff x="9999662" y="560388"/>
            <a:chExt cx="611188" cy="688975"/>
          </a:xfrm>
          <a:solidFill>
            <a:schemeClr val="tx1">
              <a:lumMod val="85000"/>
              <a:lumOff val="15000"/>
            </a:schemeClr>
          </a:solidFill>
        </p:grpSpPr>
        <p:sp>
          <p:nvSpPr>
            <p:cNvPr id="60" name="Freeform 649"/>
            <p:cNvSpPr>
              <a:spLocks/>
            </p:cNvSpPr>
            <p:nvPr/>
          </p:nvSpPr>
          <p:spPr bwMode="auto">
            <a:xfrm>
              <a:off x="9999662" y="725488"/>
              <a:ext cx="611188" cy="236537"/>
            </a:xfrm>
            <a:custGeom>
              <a:avLst/>
              <a:gdLst>
                <a:gd name="T0" fmla="*/ 1085 w 1155"/>
                <a:gd name="T1" fmla="*/ 445 h 445"/>
                <a:gd name="T2" fmla="*/ 1049 w 1155"/>
                <a:gd name="T3" fmla="*/ 399 h 445"/>
                <a:gd name="T4" fmla="*/ 968 w 1155"/>
                <a:gd name="T5" fmla="*/ 297 h 445"/>
                <a:gd name="T6" fmla="*/ 921 w 1155"/>
                <a:gd name="T7" fmla="*/ 243 h 445"/>
                <a:gd name="T8" fmla="*/ 875 w 1155"/>
                <a:gd name="T9" fmla="*/ 196 h 445"/>
                <a:gd name="T10" fmla="*/ 833 w 1155"/>
                <a:gd name="T11" fmla="*/ 163 h 445"/>
                <a:gd name="T12" fmla="*/ 817 w 1155"/>
                <a:gd name="T13" fmla="*/ 153 h 445"/>
                <a:gd name="T14" fmla="*/ 803 w 1155"/>
                <a:gd name="T15" fmla="*/ 149 h 445"/>
                <a:gd name="T16" fmla="*/ 798 w 1155"/>
                <a:gd name="T17" fmla="*/ 152 h 445"/>
                <a:gd name="T18" fmla="*/ 787 w 1155"/>
                <a:gd name="T19" fmla="*/ 158 h 445"/>
                <a:gd name="T20" fmla="*/ 778 w 1155"/>
                <a:gd name="T21" fmla="*/ 175 h 445"/>
                <a:gd name="T22" fmla="*/ 773 w 1155"/>
                <a:gd name="T23" fmla="*/ 205 h 445"/>
                <a:gd name="T24" fmla="*/ 773 w 1155"/>
                <a:gd name="T25" fmla="*/ 337 h 445"/>
                <a:gd name="T26" fmla="*/ 757 w 1155"/>
                <a:gd name="T27" fmla="*/ 329 h 445"/>
                <a:gd name="T28" fmla="*/ 721 w 1155"/>
                <a:gd name="T29" fmla="*/ 316 h 445"/>
                <a:gd name="T30" fmla="*/ 677 w 1155"/>
                <a:gd name="T31" fmla="*/ 306 h 445"/>
                <a:gd name="T32" fmla="*/ 630 w 1155"/>
                <a:gd name="T33" fmla="*/ 300 h 445"/>
                <a:gd name="T34" fmla="*/ 647 w 1155"/>
                <a:gd name="T35" fmla="*/ 245 h 445"/>
                <a:gd name="T36" fmla="*/ 502 w 1155"/>
                <a:gd name="T37" fmla="*/ 245 h 445"/>
                <a:gd name="T38" fmla="*/ 545 w 1155"/>
                <a:gd name="T39" fmla="*/ 299 h 445"/>
                <a:gd name="T40" fmla="*/ 497 w 1155"/>
                <a:gd name="T41" fmla="*/ 302 h 445"/>
                <a:gd name="T42" fmla="*/ 453 w 1155"/>
                <a:gd name="T43" fmla="*/ 311 h 445"/>
                <a:gd name="T44" fmla="*/ 414 w 1155"/>
                <a:gd name="T45" fmla="*/ 323 h 445"/>
                <a:gd name="T46" fmla="*/ 381 w 1155"/>
                <a:gd name="T47" fmla="*/ 337 h 445"/>
                <a:gd name="T48" fmla="*/ 381 w 1155"/>
                <a:gd name="T49" fmla="*/ 205 h 445"/>
                <a:gd name="T50" fmla="*/ 380 w 1155"/>
                <a:gd name="T51" fmla="*/ 188 h 445"/>
                <a:gd name="T52" fmla="*/ 372 w 1155"/>
                <a:gd name="T53" fmla="*/ 165 h 445"/>
                <a:gd name="T54" fmla="*/ 362 w 1155"/>
                <a:gd name="T55" fmla="*/ 154 h 445"/>
                <a:gd name="T56" fmla="*/ 352 w 1155"/>
                <a:gd name="T57" fmla="*/ 149 h 445"/>
                <a:gd name="T58" fmla="*/ 346 w 1155"/>
                <a:gd name="T59" fmla="*/ 151 h 445"/>
                <a:gd name="T60" fmla="*/ 330 w 1155"/>
                <a:gd name="T61" fmla="*/ 157 h 445"/>
                <a:gd name="T62" fmla="*/ 301 w 1155"/>
                <a:gd name="T63" fmla="*/ 177 h 445"/>
                <a:gd name="T64" fmla="*/ 257 w 1155"/>
                <a:gd name="T65" fmla="*/ 219 h 445"/>
                <a:gd name="T66" fmla="*/ 210 w 1155"/>
                <a:gd name="T67" fmla="*/ 270 h 445"/>
                <a:gd name="T68" fmla="*/ 142 w 1155"/>
                <a:gd name="T69" fmla="*/ 352 h 445"/>
                <a:gd name="T70" fmla="*/ 70 w 1155"/>
                <a:gd name="T71" fmla="*/ 445 h 445"/>
                <a:gd name="T72" fmla="*/ 0 w 1155"/>
                <a:gd name="T73" fmla="*/ 391 h 445"/>
                <a:gd name="T74" fmla="*/ 44 w 1155"/>
                <a:gd name="T75" fmla="*/ 336 h 445"/>
                <a:gd name="T76" fmla="*/ 171 w 1155"/>
                <a:gd name="T77" fmla="*/ 165 h 445"/>
                <a:gd name="T78" fmla="*/ 193 w 1155"/>
                <a:gd name="T79" fmla="*/ 139 h 445"/>
                <a:gd name="T80" fmla="*/ 238 w 1155"/>
                <a:gd name="T81" fmla="*/ 94 h 445"/>
                <a:gd name="T82" fmla="*/ 281 w 1155"/>
                <a:gd name="T83" fmla="*/ 58 h 445"/>
                <a:gd name="T84" fmla="*/ 324 w 1155"/>
                <a:gd name="T85" fmla="*/ 34 h 445"/>
                <a:gd name="T86" fmla="*/ 362 w 1155"/>
                <a:gd name="T87" fmla="*/ 17 h 445"/>
                <a:gd name="T88" fmla="*/ 405 w 1155"/>
                <a:gd name="T89" fmla="*/ 4 h 445"/>
                <a:gd name="T90" fmla="*/ 431 w 1155"/>
                <a:gd name="T91" fmla="*/ 0 h 445"/>
                <a:gd name="T92" fmla="*/ 681 w 1155"/>
                <a:gd name="T93" fmla="*/ 0 h 445"/>
                <a:gd name="T94" fmla="*/ 724 w 1155"/>
                <a:gd name="T95" fmla="*/ 0 h 445"/>
                <a:gd name="T96" fmla="*/ 749 w 1155"/>
                <a:gd name="T97" fmla="*/ 4 h 445"/>
                <a:gd name="T98" fmla="*/ 793 w 1155"/>
                <a:gd name="T99" fmla="*/ 17 h 445"/>
                <a:gd name="T100" fmla="*/ 831 w 1155"/>
                <a:gd name="T101" fmla="*/ 34 h 445"/>
                <a:gd name="T102" fmla="*/ 874 w 1155"/>
                <a:gd name="T103" fmla="*/ 58 h 445"/>
                <a:gd name="T104" fmla="*/ 917 w 1155"/>
                <a:gd name="T105" fmla="*/ 94 h 445"/>
                <a:gd name="T106" fmla="*/ 962 w 1155"/>
                <a:gd name="T107" fmla="*/ 139 h 445"/>
                <a:gd name="T108" fmla="*/ 983 w 1155"/>
                <a:gd name="T109" fmla="*/ 165 h 445"/>
                <a:gd name="T110" fmla="*/ 1111 w 1155"/>
                <a:gd name="T111" fmla="*/ 336 h 445"/>
                <a:gd name="T112" fmla="*/ 1155 w 1155"/>
                <a:gd name="T113" fmla="*/ 39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55" h="445">
                  <a:moveTo>
                    <a:pt x="1155" y="391"/>
                  </a:moveTo>
                  <a:lnTo>
                    <a:pt x="1085" y="445"/>
                  </a:lnTo>
                  <a:lnTo>
                    <a:pt x="1085" y="445"/>
                  </a:lnTo>
                  <a:lnTo>
                    <a:pt x="1049" y="399"/>
                  </a:lnTo>
                  <a:lnTo>
                    <a:pt x="1012" y="352"/>
                  </a:lnTo>
                  <a:lnTo>
                    <a:pt x="968" y="297"/>
                  </a:lnTo>
                  <a:lnTo>
                    <a:pt x="945" y="270"/>
                  </a:lnTo>
                  <a:lnTo>
                    <a:pt x="921" y="243"/>
                  </a:lnTo>
                  <a:lnTo>
                    <a:pt x="898" y="219"/>
                  </a:lnTo>
                  <a:lnTo>
                    <a:pt x="875" y="196"/>
                  </a:lnTo>
                  <a:lnTo>
                    <a:pt x="853" y="177"/>
                  </a:lnTo>
                  <a:lnTo>
                    <a:pt x="833" y="163"/>
                  </a:lnTo>
                  <a:lnTo>
                    <a:pt x="825" y="157"/>
                  </a:lnTo>
                  <a:lnTo>
                    <a:pt x="817" y="153"/>
                  </a:lnTo>
                  <a:lnTo>
                    <a:pt x="809" y="151"/>
                  </a:lnTo>
                  <a:lnTo>
                    <a:pt x="803" y="149"/>
                  </a:lnTo>
                  <a:lnTo>
                    <a:pt x="803" y="149"/>
                  </a:lnTo>
                  <a:lnTo>
                    <a:pt x="798" y="152"/>
                  </a:lnTo>
                  <a:lnTo>
                    <a:pt x="793" y="154"/>
                  </a:lnTo>
                  <a:lnTo>
                    <a:pt x="787" y="158"/>
                  </a:lnTo>
                  <a:lnTo>
                    <a:pt x="783" y="165"/>
                  </a:lnTo>
                  <a:lnTo>
                    <a:pt x="778" y="175"/>
                  </a:lnTo>
                  <a:lnTo>
                    <a:pt x="774" y="188"/>
                  </a:lnTo>
                  <a:lnTo>
                    <a:pt x="773" y="205"/>
                  </a:lnTo>
                  <a:lnTo>
                    <a:pt x="773" y="205"/>
                  </a:lnTo>
                  <a:lnTo>
                    <a:pt x="773" y="337"/>
                  </a:lnTo>
                  <a:lnTo>
                    <a:pt x="773" y="337"/>
                  </a:lnTo>
                  <a:lnTo>
                    <a:pt x="757" y="329"/>
                  </a:lnTo>
                  <a:lnTo>
                    <a:pt x="740" y="322"/>
                  </a:lnTo>
                  <a:lnTo>
                    <a:pt x="721" y="316"/>
                  </a:lnTo>
                  <a:lnTo>
                    <a:pt x="699" y="310"/>
                  </a:lnTo>
                  <a:lnTo>
                    <a:pt x="677" y="306"/>
                  </a:lnTo>
                  <a:lnTo>
                    <a:pt x="654" y="302"/>
                  </a:lnTo>
                  <a:lnTo>
                    <a:pt x="630" y="300"/>
                  </a:lnTo>
                  <a:lnTo>
                    <a:pt x="604" y="297"/>
                  </a:lnTo>
                  <a:lnTo>
                    <a:pt x="647" y="245"/>
                  </a:lnTo>
                  <a:lnTo>
                    <a:pt x="574" y="29"/>
                  </a:lnTo>
                  <a:lnTo>
                    <a:pt x="502" y="245"/>
                  </a:lnTo>
                  <a:lnTo>
                    <a:pt x="545" y="299"/>
                  </a:lnTo>
                  <a:lnTo>
                    <a:pt x="545" y="299"/>
                  </a:lnTo>
                  <a:lnTo>
                    <a:pt x="520" y="300"/>
                  </a:lnTo>
                  <a:lnTo>
                    <a:pt x="497" y="302"/>
                  </a:lnTo>
                  <a:lnTo>
                    <a:pt x="474" y="306"/>
                  </a:lnTo>
                  <a:lnTo>
                    <a:pt x="453" y="311"/>
                  </a:lnTo>
                  <a:lnTo>
                    <a:pt x="433" y="316"/>
                  </a:lnTo>
                  <a:lnTo>
                    <a:pt x="414" y="323"/>
                  </a:lnTo>
                  <a:lnTo>
                    <a:pt x="397" y="330"/>
                  </a:lnTo>
                  <a:lnTo>
                    <a:pt x="381" y="337"/>
                  </a:lnTo>
                  <a:lnTo>
                    <a:pt x="381" y="337"/>
                  </a:lnTo>
                  <a:lnTo>
                    <a:pt x="381" y="205"/>
                  </a:lnTo>
                  <a:lnTo>
                    <a:pt x="381" y="205"/>
                  </a:lnTo>
                  <a:lnTo>
                    <a:pt x="380" y="188"/>
                  </a:lnTo>
                  <a:lnTo>
                    <a:pt x="377" y="175"/>
                  </a:lnTo>
                  <a:lnTo>
                    <a:pt x="372" y="165"/>
                  </a:lnTo>
                  <a:lnTo>
                    <a:pt x="366" y="158"/>
                  </a:lnTo>
                  <a:lnTo>
                    <a:pt x="362" y="154"/>
                  </a:lnTo>
                  <a:lnTo>
                    <a:pt x="357" y="152"/>
                  </a:lnTo>
                  <a:lnTo>
                    <a:pt x="352" y="149"/>
                  </a:lnTo>
                  <a:lnTo>
                    <a:pt x="352" y="149"/>
                  </a:lnTo>
                  <a:lnTo>
                    <a:pt x="346" y="151"/>
                  </a:lnTo>
                  <a:lnTo>
                    <a:pt x="338" y="153"/>
                  </a:lnTo>
                  <a:lnTo>
                    <a:pt x="330" y="157"/>
                  </a:lnTo>
                  <a:lnTo>
                    <a:pt x="322" y="163"/>
                  </a:lnTo>
                  <a:lnTo>
                    <a:pt x="301" y="177"/>
                  </a:lnTo>
                  <a:lnTo>
                    <a:pt x="280" y="196"/>
                  </a:lnTo>
                  <a:lnTo>
                    <a:pt x="257" y="219"/>
                  </a:lnTo>
                  <a:lnTo>
                    <a:pt x="234" y="243"/>
                  </a:lnTo>
                  <a:lnTo>
                    <a:pt x="210" y="270"/>
                  </a:lnTo>
                  <a:lnTo>
                    <a:pt x="187" y="297"/>
                  </a:lnTo>
                  <a:lnTo>
                    <a:pt x="142" y="352"/>
                  </a:lnTo>
                  <a:lnTo>
                    <a:pt x="106" y="399"/>
                  </a:lnTo>
                  <a:lnTo>
                    <a:pt x="70" y="445"/>
                  </a:lnTo>
                  <a:lnTo>
                    <a:pt x="0" y="391"/>
                  </a:lnTo>
                  <a:lnTo>
                    <a:pt x="0" y="391"/>
                  </a:lnTo>
                  <a:lnTo>
                    <a:pt x="11" y="378"/>
                  </a:lnTo>
                  <a:lnTo>
                    <a:pt x="44" y="336"/>
                  </a:lnTo>
                  <a:lnTo>
                    <a:pt x="97" y="266"/>
                  </a:lnTo>
                  <a:lnTo>
                    <a:pt x="171" y="165"/>
                  </a:lnTo>
                  <a:lnTo>
                    <a:pt x="171" y="165"/>
                  </a:lnTo>
                  <a:lnTo>
                    <a:pt x="193" y="139"/>
                  </a:lnTo>
                  <a:lnTo>
                    <a:pt x="215" y="114"/>
                  </a:lnTo>
                  <a:lnTo>
                    <a:pt x="238" y="94"/>
                  </a:lnTo>
                  <a:lnTo>
                    <a:pt x="260" y="74"/>
                  </a:lnTo>
                  <a:lnTo>
                    <a:pt x="281" y="58"/>
                  </a:lnTo>
                  <a:lnTo>
                    <a:pt x="303" y="45"/>
                  </a:lnTo>
                  <a:lnTo>
                    <a:pt x="324" y="34"/>
                  </a:lnTo>
                  <a:lnTo>
                    <a:pt x="343" y="24"/>
                  </a:lnTo>
                  <a:lnTo>
                    <a:pt x="362" y="17"/>
                  </a:lnTo>
                  <a:lnTo>
                    <a:pt x="379" y="11"/>
                  </a:lnTo>
                  <a:lnTo>
                    <a:pt x="405" y="4"/>
                  </a:lnTo>
                  <a:lnTo>
                    <a:pt x="423" y="0"/>
                  </a:lnTo>
                  <a:lnTo>
                    <a:pt x="431" y="0"/>
                  </a:lnTo>
                  <a:lnTo>
                    <a:pt x="473" y="0"/>
                  </a:lnTo>
                  <a:lnTo>
                    <a:pt x="681" y="0"/>
                  </a:lnTo>
                  <a:lnTo>
                    <a:pt x="724" y="0"/>
                  </a:lnTo>
                  <a:lnTo>
                    <a:pt x="724" y="0"/>
                  </a:lnTo>
                  <a:lnTo>
                    <a:pt x="730" y="0"/>
                  </a:lnTo>
                  <a:lnTo>
                    <a:pt x="749" y="4"/>
                  </a:lnTo>
                  <a:lnTo>
                    <a:pt x="776" y="11"/>
                  </a:lnTo>
                  <a:lnTo>
                    <a:pt x="793" y="17"/>
                  </a:lnTo>
                  <a:lnTo>
                    <a:pt x="812" y="24"/>
                  </a:lnTo>
                  <a:lnTo>
                    <a:pt x="831" y="34"/>
                  </a:lnTo>
                  <a:lnTo>
                    <a:pt x="852" y="45"/>
                  </a:lnTo>
                  <a:lnTo>
                    <a:pt x="874" y="58"/>
                  </a:lnTo>
                  <a:lnTo>
                    <a:pt x="895" y="74"/>
                  </a:lnTo>
                  <a:lnTo>
                    <a:pt x="917" y="94"/>
                  </a:lnTo>
                  <a:lnTo>
                    <a:pt x="939" y="114"/>
                  </a:lnTo>
                  <a:lnTo>
                    <a:pt x="962" y="139"/>
                  </a:lnTo>
                  <a:lnTo>
                    <a:pt x="983" y="165"/>
                  </a:lnTo>
                  <a:lnTo>
                    <a:pt x="983" y="165"/>
                  </a:lnTo>
                  <a:lnTo>
                    <a:pt x="1058" y="266"/>
                  </a:lnTo>
                  <a:lnTo>
                    <a:pt x="1111" y="336"/>
                  </a:lnTo>
                  <a:lnTo>
                    <a:pt x="1144" y="378"/>
                  </a:lnTo>
                  <a:lnTo>
                    <a:pt x="1155" y="391"/>
                  </a:lnTo>
                  <a:lnTo>
                    <a:pt x="1155" y="3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50"/>
            <p:cNvSpPr>
              <a:spLocks noEditPoints="1"/>
            </p:cNvSpPr>
            <p:nvPr/>
          </p:nvSpPr>
          <p:spPr bwMode="auto">
            <a:xfrm>
              <a:off x="10439400" y="1042988"/>
              <a:ext cx="146050" cy="149225"/>
            </a:xfrm>
            <a:custGeom>
              <a:avLst/>
              <a:gdLst>
                <a:gd name="T0" fmla="*/ 130 w 277"/>
                <a:gd name="T1" fmla="*/ 2 h 282"/>
                <a:gd name="T2" fmla="*/ 177 w 277"/>
                <a:gd name="T3" fmla="*/ 16 h 282"/>
                <a:gd name="T4" fmla="*/ 217 w 277"/>
                <a:gd name="T5" fmla="*/ 46 h 282"/>
                <a:gd name="T6" fmla="*/ 249 w 277"/>
                <a:gd name="T7" fmla="*/ 89 h 282"/>
                <a:gd name="T8" fmla="*/ 269 w 277"/>
                <a:gd name="T9" fmla="*/ 140 h 282"/>
                <a:gd name="T10" fmla="*/ 277 w 277"/>
                <a:gd name="T11" fmla="*/ 199 h 282"/>
                <a:gd name="T12" fmla="*/ 275 w 277"/>
                <a:gd name="T13" fmla="*/ 213 h 282"/>
                <a:gd name="T14" fmla="*/ 263 w 277"/>
                <a:gd name="T15" fmla="*/ 235 h 282"/>
                <a:gd name="T16" fmla="*/ 229 w 277"/>
                <a:gd name="T17" fmla="*/ 260 h 282"/>
                <a:gd name="T18" fmla="*/ 180 w 277"/>
                <a:gd name="T19" fmla="*/ 276 h 282"/>
                <a:gd name="T20" fmla="*/ 123 w 277"/>
                <a:gd name="T21" fmla="*/ 282 h 282"/>
                <a:gd name="T22" fmla="*/ 64 w 277"/>
                <a:gd name="T23" fmla="*/ 278 h 282"/>
                <a:gd name="T24" fmla="*/ 47 w 277"/>
                <a:gd name="T25" fmla="*/ 266 h 282"/>
                <a:gd name="T26" fmla="*/ 47 w 277"/>
                <a:gd name="T27" fmla="*/ 228 h 282"/>
                <a:gd name="T28" fmla="*/ 35 w 277"/>
                <a:gd name="T29" fmla="*/ 151 h 282"/>
                <a:gd name="T30" fmla="*/ 10 w 277"/>
                <a:gd name="T31" fmla="*/ 79 h 282"/>
                <a:gd name="T32" fmla="*/ 11 w 277"/>
                <a:gd name="T33" fmla="*/ 44 h 282"/>
                <a:gd name="T34" fmla="*/ 51 w 277"/>
                <a:gd name="T35" fmla="*/ 16 h 282"/>
                <a:gd name="T36" fmla="*/ 97 w 277"/>
                <a:gd name="T37" fmla="*/ 2 h 282"/>
                <a:gd name="T38" fmla="*/ 142 w 277"/>
                <a:gd name="T39" fmla="*/ 91 h 282"/>
                <a:gd name="T40" fmla="*/ 176 w 277"/>
                <a:gd name="T41" fmla="*/ 80 h 282"/>
                <a:gd name="T42" fmla="*/ 161 w 277"/>
                <a:gd name="T43" fmla="*/ 55 h 282"/>
                <a:gd name="T44" fmla="*/ 136 w 277"/>
                <a:gd name="T45" fmla="*/ 38 h 282"/>
                <a:gd name="T46" fmla="*/ 102 w 277"/>
                <a:gd name="T47" fmla="*/ 22 h 282"/>
                <a:gd name="T48" fmla="*/ 91 w 277"/>
                <a:gd name="T49" fmla="*/ 38 h 282"/>
                <a:gd name="T50" fmla="*/ 64 w 277"/>
                <a:gd name="T51" fmla="*/ 55 h 282"/>
                <a:gd name="T52" fmla="*/ 51 w 277"/>
                <a:gd name="T53" fmla="*/ 80 h 282"/>
                <a:gd name="T54" fmla="*/ 51 w 277"/>
                <a:gd name="T55" fmla="*/ 101 h 282"/>
                <a:gd name="T56" fmla="*/ 64 w 277"/>
                <a:gd name="T57" fmla="*/ 127 h 282"/>
                <a:gd name="T58" fmla="*/ 91 w 277"/>
                <a:gd name="T59" fmla="*/ 144 h 282"/>
                <a:gd name="T60" fmla="*/ 102 w 277"/>
                <a:gd name="T61" fmla="*/ 197 h 282"/>
                <a:gd name="T62" fmla="*/ 85 w 277"/>
                <a:gd name="T63" fmla="*/ 181 h 282"/>
                <a:gd name="T64" fmla="*/ 50 w 277"/>
                <a:gd name="T65" fmla="*/ 173 h 282"/>
                <a:gd name="T66" fmla="*/ 58 w 277"/>
                <a:gd name="T67" fmla="*/ 202 h 282"/>
                <a:gd name="T68" fmla="*/ 81 w 277"/>
                <a:gd name="T69" fmla="*/ 221 h 282"/>
                <a:gd name="T70" fmla="*/ 102 w 277"/>
                <a:gd name="T71" fmla="*/ 242 h 282"/>
                <a:gd name="T72" fmla="*/ 125 w 277"/>
                <a:gd name="T73" fmla="*/ 228 h 282"/>
                <a:gd name="T74" fmla="*/ 154 w 277"/>
                <a:gd name="T75" fmla="*/ 216 h 282"/>
                <a:gd name="T76" fmla="*/ 172 w 277"/>
                <a:gd name="T77" fmla="*/ 193 h 282"/>
                <a:gd name="T78" fmla="*/ 176 w 277"/>
                <a:gd name="T79" fmla="*/ 173 h 282"/>
                <a:gd name="T80" fmla="*/ 167 w 277"/>
                <a:gd name="T81" fmla="*/ 145 h 282"/>
                <a:gd name="T82" fmla="*/ 146 w 277"/>
                <a:gd name="T83" fmla="*/ 125 h 282"/>
                <a:gd name="T84" fmla="*/ 125 w 277"/>
                <a:gd name="T85" fmla="*/ 67 h 282"/>
                <a:gd name="T86" fmla="*/ 137 w 277"/>
                <a:gd name="T87" fmla="*/ 77 h 282"/>
                <a:gd name="T88" fmla="*/ 142 w 277"/>
                <a:gd name="T89" fmla="*/ 91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82">
                  <a:moveTo>
                    <a:pt x="113" y="0"/>
                  </a:moveTo>
                  <a:lnTo>
                    <a:pt x="113" y="0"/>
                  </a:lnTo>
                  <a:lnTo>
                    <a:pt x="130" y="2"/>
                  </a:lnTo>
                  <a:lnTo>
                    <a:pt x="146" y="5"/>
                  </a:lnTo>
                  <a:lnTo>
                    <a:pt x="161" y="10"/>
                  </a:lnTo>
                  <a:lnTo>
                    <a:pt x="177" y="16"/>
                  </a:lnTo>
                  <a:lnTo>
                    <a:pt x="192" y="25"/>
                  </a:lnTo>
                  <a:lnTo>
                    <a:pt x="205" y="34"/>
                  </a:lnTo>
                  <a:lnTo>
                    <a:pt x="217" y="46"/>
                  </a:lnTo>
                  <a:lnTo>
                    <a:pt x="229" y="59"/>
                  </a:lnTo>
                  <a:lnTo>
                    <a:pt x="239" y="73"/>
                  </a:lnTo>
                  <a:lnTo>
                    <a:pt x="249" y="89"/>
                  </a:lnTo>
                  <a:lnTo>
                    <a:pt x="257" y="105"/>
                  </a:lnTo>
                  <a:lnTo>
                    <a:pt x="265" y="122"/>
                  </a:lnTo>
                  <a:lnTo>
                    <a:pt x="269" y="140"/>
                  </a:lnTo>
                  <a:lnTo>
                    <a:pt x="273" y="159"/>
                  </a:lnTo>
                  <a:lnTo>
                    <a:pt x="275" y="179"/>
                  </a:lnTo>
                  <a:lnTo>
                    <a:pt x="277" y="199"/>
                  </a:lnTo>
                  <a:lnTo>
                    <a:pt x="277" y="199"/>
                  </a:lnTo>
                  <a:lnTo>
                    <a:pt x="277" y="205"/>
                  </a:lnTo>
                  <a:lnTo>
                    <a:pt x="275" y="213"/>
                  </a:lnTo>
                  <a:lnTo>
                    <a:pt x="273" y="218"/>
                  </a:lnTo>
                  <a:lnTo>
                    <a:pt x="271" y="224"/>
                  </a:lnTo>
                  <a:lnTo>
                    <a:pt x="263" y="235"/>
                  </a:lnTo>
                  <a:lnTo>
                    <a:pt x="255" y="244"/>
                  </a:lnTo>
                  <a:lnTo>
                    <a:pt x="243" y="253"/>
                  </a:lnTo>
                  <a:lnTo>
                    <a:pt x="229" y="260"/>
                  </a:lnTo>
                  <a:lnTo>
                    <a:pt x="215" y="266"/>
                  </a:lnTo>
                  <a:lnTo>
                    <a:pt x="198" y="271"/>
                  </a:lnTo>
                  <a:lnTo>
                    <a:pt x="180" y="276"/>
                  </a:lnTo>
                  <a:lnTo>
                    <a:pt x="161" y="278"/>
                  </a:lnTo>
                  <a:lnTo>
                    <a:pt x="142" y="281"/>
                  </a:lnTo>
                  <a:lnTo>
                    <a:pt x="123" y="282"/>
                  </a:lnTo>
                  <a:lnTo>
                    <a:pt x="103" y="282"/>
                  </a:lnTo>
                  <a:lnTo>
                    <a:pt x="84" y="281"/>
                  </a:lnTo>
                  <a:lnTo>
                    <a:pt x="64" y="278"/>
                  </a:lnTo>
                  <a:lnTo>
                    <a:pt x="46" y="276"/>
                  </a:lnTo>
                  <a:lnTo>
                    <a:pt x="46" y="276"/>
                  </a:lnTo>
                  <a:lnTo>
                    <a:pt x="47" y="266"/>
                  </a:lnTo>
                  <a:lnTo>
                    <a:pt x="47" y="256"/>
                  </a:lnTo>
                  <a:lnTo>
                    <a:pt x="47" y="256"/>
                  </a:lnTo>
                  <a:lnTo>
                    <a:pt x="47" y="228"/>
                  </a:lnTo>
                  <a:lnTo>
                    <a:pt x="45" y="202"/>
                  </a:lnTo>
                  <a:lnTo>
                    <a:pt x="41" y="176"/>
                  </a:lnTo>
                  <a:lnTo>
                    <a:pt x="35" y="151"/>
                  </a:lnTo>
                  <a:lnTo>
                    <a:pt x="28" y="125"/>
                  </a:lnTo>
                  <a:lnTo>
                    <a:pt x="19" y="102"/>
                  </a:lnTo>
                  <a:lnTo>
                    <a:pt x="10" y="79"/>
                  </a:lnTo>
                  <a:lnTo>
                    <a:pt x="0" y="57"/>
                  </a:lnTo>
                  <a:lnTo>
                    <a:pt x="0" y="57"/>
                  </a:lnTo>
                  <a:lnTo>
                    <a:pt x="11" y="44"/>
                  </a:lnTo>
                  <a:lnTo>
                    <a:pt x="23" y="33"/>
                  </a:lnTo>
                  <a:lnTo>
                    <a:pt x="36" y="23"/>
                  </a:lnTo>
                  <a:lnTo>
                    <a:pt x="51" y="16"/>
                  </a:lnTo>
                  <a:lnTo>
                    <a:pt x="66" y="10"/>
                  </a:lnTo>
                  <a:lnTo>
                    <a:pt x="81" y="5"/>
                  </a:lnTo>
                  <a:lnTo>
                    <a:pt x="97" y="2"/>
                  </a:lnTo>
                  <a:lnTo>
                    <a:pt x="113" y="0"/>
                  </a:lnTo>
                  <a:lnTo>
                    <a:pt x="113" y="0"/>
                  </a:lnTo>
                  <a:close/>
                  <a:moveTo>
                    <a:pt x="142" y="91"/>
                  </a:moveTo>
                  <a:lnTo>
                    <a:pt x="176" y="91"/>
                  </a:lnTo>
                  <a:lnTo>
                    <a:pt x="176" y="91"/>
                  </a:lnTo>
                  <a:lnTo>
                    <a:pt x="176" y="80"/>
                  </a:lnTo>
                  <a:lnTo>
                    <a:pt x="172" y="72"/>
                  </a:lnTo>
                  <a:lnTo>
                    <a:pt x="167" y="62"/>
                  </a:lnTo>
                  <a:lnTo>
                    <a:pt x="161" y="55"/>
                  </a:lnTo>
                  <a:lnTo>
                    <a:pt x="154" y="48"/>
                  </a:lnTo>
                  <a:lnTo>
                    <a:pt x="146" y="43"/>
                  </a:lnTo>
                  <a:lnTo>
                    <a:pt x="136" y="38"/>
                  </a:lnTo>
                  <a:lnTo>
                    <a:pt x="125" y="36"/>
                  </a:lnTo>
                  <a:lnTo>
                    <a:pt x="125" y="22"/>
                  </a:lnTo>
                  <a:lnTo>
                    <a:pt x="102" y="22"/>
                  </a:lnTo>
                  <a:lnTo>
                    <a:pt x="102" y="36"/>
                  </a:lnTo>
                  <a:lnTo>
                    <a:pt x="102" y="36"/>
                  </a:lnTo>
                  <a:lnTo>
                    <a:pt x="91" y="38"/>
                  </a:lnTo>
                  <a:lnTo>
                    <a:pt x="81" y="43"/>
                  </a:lnTo>
                  <a:lnTo>
                    <a:pt x="73" y="48"/>
                  </a:lnTo>
                  <a:lnTo>
                    <a:pt x="64" y="55"/>
                  </a:lnTo>
                  <a:lnTo>
                    <a:pt x="58" y="62"/>
                  </a:lnTo>
                  <a:lnTo>
                    <a:pt x="53" y="72"/>
                  </a:lnTo>
                  <a:lnTo>
                    <a:pt x="51" y="80"/>
                  </a:lnTo>
                  <a:lnTo>
                    <a:pt x="50" y="91"/>
                  </a:lnTo>
                  <a:lnTo>
                    <a:pt x="50" y="91"/>
                  </a:lnTo>
                  <a:lnTo>
                    <a:pt x="51" y="101"/>
                  </a:lnTo>
                  <a:lnTo>
                    <a:pt x="53" y="111"/>
                  </a:lnTo>
                  <a:lnTo>
                    <a:pt x="58" y="119"/>
                  </a:lnTo>
                  <a:lnTo>
                    <a:pt x="64" y="127"/>
                  </a:lnTo>
                  <a:lnTo>
                    <a:pt x="73" y="134"/>
                  </a:lnTo>
                  <a:lnTo>
                    <a:pt x="81" y="139"/>
                  </a:lnTo>
                  <a:lnTo>
                    <a:pt x="91" y="144"/>
                  </a:lnTo>
                  <a:lnTo>
                    <a:pt x="102" y="146"/>
                  </a:lnTo>
                  <a:lnTo>
                    <a:pt x="102" y="197"/>
                  </a:lnTo>
                  <a:lnTo>
                    <a:pt x="102" y="197"/>
                  </a:lnTo>
                  <a:lnTo>
                    <a:pt x="95" y="193"/>
                  </a:lnTo>
                  <a:lnTo>
                    <a:pt x="89" y="187"/>
                  </a:lnTo>
                  <a:lnTo>
                    <a:pt x="85" y="181"/>
                  </a:lnTo>
                  <a:lnTo>
                    <a:pt x="84" y="173"/>
                  </a:lnTo>
                  <a:lnTo>
                    <a:pt x="50" y="173"/>
                  </a:lnTo>
                  <a:lnTo>
                    <a:pt x="50" y="173"/>
                  </a:lnTo>
                  <a:lnTo>
                    <a:pt x="51" y="184"/>
                  </a:lnTo>
                  <a:lnTo>
                    <a:pt x="53" y="193"/>
                  </a:lnTo>
                  <a:lnTo>
                    <a:pt x="58" y="202"/>
                  </a:lnTo>
                  <a:lnTo>
                    <a:pt x="64" y="209"/>
                  </a:lnTo>
                  <a:lnTo>
                    <a:pt x="73" y="216"/>
                  </a:lnTo>
                  <a:lnTo>
                    <a:pt x="81" y="221"/>
                  </a:lnTo>
                  <a:lnTo>
                    <a:pt x="91" y="226"/>
                  </a:lnTo>
                  <a:lnTo>
                    <a:pt x="102" y="228"/>
                  </a:lnTo>
                  <a:lnTo>
                    <a:pt x="102" y="242"/>
                  </a:lnTo>
                  <a:lnTo>
                    <a:pt x="125" y="242"/>
                  </a:lnTo>
                  <a:lnTo>
                    <a:pt x="125" y="228"/>
                  </a:lnTo>
                  <a:lnTo>
                    <a:pt x="125" y="228"/>
                  </a:lnTo>
                  <a:lnTo>
                    <a:pt x="136" y="226"/>
                  </a:lnTo>
                  <a:lnTo>
                    <a:pt x="146" y="221"/>
                  </a:lnTo>
                  <a:lnTo>
                    <a:pt x="154" y="216"/>
                  </a:lnTo>
                  <a:lnTo>
                    <a:pt x="161" y="209"/>
                  </a:lnTo>
                  <a:lnTo>
                    <a:pt x="167" y="202"/>
                  </a:lnTo>
                  <a:lnTo>
                    <a:pt x="172" y="193"/>
                  </a:lnTo>
                  <a:lnTo>
                    <a:pt x="176" y="184"/>
                  </a:lnTo>
                  <a:lnTo>
                    <a:pt x="176" y="173"/>
                  </a:lnTo>
                  <a:lnTo>
                    <a:pt x="176" y="173"/>
                  </a:lnTo>
                  <a:lnTo>
                    <a:pt x="176" y="163"/>
                  </a:lnTo>
                  <a:lnTo>
                    <a:pt x="172" y="153"/>
                  </a:lnTo>
                  <a:lnTo>
                    <a:pt x="167" y="145"/>
                  </a:lnTo>
                  <a:lnTo>
                    <a:pt x="161" y="137"/>
                  </a:lnTo>
                  <a:lnTo>
                    <a:pt x="154" y="130"/>
                  </a:lnTo>
                  <a:lnTo>
                    <a:pt x="146" y="125"/>
                  </a:lnTo>
                  <a:lnTo>
                    <a:pt x="136" y="121"/>
                  </a:lnTo>
                  <a:lnTo>
                    <a:pt x="125" y="118"/>
                  </a:lnTo>
                  <a:lnTo>
                    <a:pt x="125" y="67"/>
                  </a:lnTo>
                  <a:lnTo>
                    <a:pt x="125" y="67"/>
                  </a:lnTo>
                  <a:lnTo>
                    <a:pt x="132" y="71"/>
                  </a:lnTo>
                  <a:lnTo>
                    <a:pt x="137" y="77"/>
                  </a:lnTo>
                  <a:lnTo>
                    <a:pt x="141" y="83"/>
                  </a:lnTo>
                  <a:lnTo>
                    <a:pt x="142" y="91"/>
                  </a:lnTo>
                  <a:lnTo>
                    <a:pt x="142"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51"/>
            <p:cNvSpPr>
              <a:spLocks/>
            </p:cNvSpPr>
            <p:nvPr/>
          </p:nvSpPr>
          <p:spPr bwMode="auto">
            <a:xfrm>
              <a:off x="10448925" y="985838"/>
              <a:ext cx="101600" cy="58737"/>
            </a:xfrm>
            <a:custGeom>
              <a:avLst/>
              <a:gdLst>
                <a:gd name="T0" fmla="*/ 193 w 193"/>
                <a:gd name="T1" fmla="*/ 40 h 111"/>
                <a:gd name="T2" fmla="*/ 193 w 193"/>
                <a:gd name="T3" fmla="*/ 40 h 111"/>
                <a:gd name="T4" fmla="*/ 192 w 193"/>
                <a:gd name="T5" fmla="*/ 51 h 111"/>
                <a:gd name="T6" fmla="*/ 191 w 193"/>
                <a:gd name="T7" fmla="*/ 60 h 111"/>
                <a:gd name="T8" fmla="*/ 187 w 193"/>
                <a:gd name="T9" fmla="*/ 70 h 111"/>
                <a:gd name="T10" fmla="*/ 183 w 193"/>
                <a:gd name="T11" fmla="*/ 80 h 111"/>
                <a:gd name="T12" fmla="*/ 180 w 193"/>
                <a:gd name="T13" fmla="*/ 88 h 111"/>
                <a:gd name="T14" fmla="*/ 174 w 193"/>
                <a:gd name="T15" fmla="*/ 97 h 111"/>
                <a:gd name="T16" fmla="*/ 167 w 193"/>
                <a:gd name="T17" fmla="*/ 104 h 111"/>
                <a:gd name="T18" fmla="*/ 160 w 193"/>
                <a:gd name="T19" fmla="*/ 111 h 111"/>
                <a:gd name="T20" fmla="*/ 160 w 193"/>
                <a:gd name="T21" fmla="*/ 111 h 111"/>
                <a:gd name="T22" fmla="*/ 146 w 193"/>
                <a:gd name="T23" fmla="*/ 105 h 111"/>
                <a:gd name="T24" fmla="*/ 130 w 193"/>
                <a:gd name="T25" fmla="*/ 100 h 111"/>
                <a:gd name="T26" fmla="*/ 113 w 193"/>
                <a:gd name="T27" fmla="*/ 98 h 111"/>
                <a:gd name="T28" fmla="*/ 96 w 193"/>
                <a:gd name="T29" fmla="*/ 97 h 111"/>
                <a:gd name="T30" fmla="*/ 96 w 193"/>
                <a:gd name="T31" fmla="*/ 97 h 111"/>
                <a:gd name="T32" fmla="*/ 79 w 193"/>
                <a:gd name="T33" fmla="*/ 98 h 111"/>
                <a:gd name="T34" fmla="*/ 63 w 193"/>
                <a:gd name="T35" fmla="*/ 100 h 111"/>
                <a:gd name="T36" fmla="*/ 47 w 193"/>
                <a:gd name="T37" fmla="*/ 105 h 111"/>
                <a:gd name="T38" fmla="*/ 32 w 193"/>
                <a:gd name="T39" fmla="*/ 111 h 111"/>
                <a:gd name="T40" fmla="*/ 32 w 193"/>
                <a:gd name="T41" fmla="*/ 111 h 111"/>
                <a:gd name="T42" fmla="*/ 26 w 193"/>
                <a:gd name="T43" fmla="*/ 104 h 111"/>
                <a:gd name="T44" fmla="*/ 18 w 193"/>
                <a:gd name="T45" fmla="*/ 97 h 111"/>
                <a:gd name="T46" fmla="*/ 13 w 193"/>
                <a:gd name="T47" fmla="*/ 88 h 111"/>
                <a:gd name="T48" fmla="*/ 9 w 193"/>
                <a:gd name="T49" fmla="*/ 80 h 111"/>
                <a:gd name="T50" fmla="*/ 5 w 193"/>
                <a:gd name="T51" fmla="*/ 70 h 111"/>
                <a:gd name="T52" fmla="*/ 2 w 193"/>
                <a:gd name="T53" fmla="*/ 60 h 111"/>
                <a:gd name="T54" fmla="*/ 1 w 193"/>
                <a:gd name="T55" fmla="*/ 51 h 111"/>
                <a:gd name="T56" fmla="*/ 0 w 193"/>
                <a:gd name="T57" fmla="*/ 40 h 111"/>
                <a:gd name="T58" fmla="*/ 0 w 193"/>
                <a:gd name="T59" fmla="*/ 40 h 111"/>
                <a:gd name="T60" fmla="*/ 1 w 193"/>
                <a:gd name="T61" fmla="*/ 35 h 111"/>
                <a:gd name="T62" fmla="*/ 2 w 193"/>
                <a:gd name="T63" fmla="*/ 31 h 111"/>
                <a:gd name="T64" fmla="*/ 5 w 193"/>
                <a:gd name="T65" fmla="*/ 26 h 111"/>
                <a:gd name="T66" fmla="*/ 9 w 193"/>
                <a:gd name="T67" fmla="*/ 23 h 111"/>
                <a:gd name="T68" fmla="*/ 18 w 193"/>
                <a:gd name="T69" fmla="*/ 15 h 111"/>
                <a:gd name="T70" fmla="*/ 30 w 193"/>
                <a:gd name="T71" fmla="*/ 11 h 111"/>
                <a:gd name="T72" fmla="*/ 45 w 193"/>
                <a:gd name="T73" fmla="*/ 6 h 111"/>
                <a:gd name="T74" fmla="*/ 61 w 193"/>
                <a:gd name="T75" fmla="*/ 2 h 111"/>
                <a:gd name="T76" fmla="*/ 79 w 193"/>
                <a:gd name="T77" fmla="*/ 1 h 111"/>
                <a:gd name="T78" fmla="*/ 96 w 193"/>
                <a:gd name="T79" fmla="*/ 0 h 111"/>
                <a:gd name="T80" fmla="*/ 114 w 193"/>
                <a:gd name="T81" fmla="*/ 1 h 111"/>
                <a:gd name="T82" fmla="*/ 131 w 193"/>
                <a:gd name="T83" fmla="*/ 2 h 111"/>
                <a:gd name="T84" fmla="*/ 148 w 193"/>
                <a:gd name="T85" fmla="*/ 6 h 111"/>
                <a:gd name="T86" fmla="*/ 163 w 193"/>
                <a:gd name="T87" fmla="*/ 11 h 111"/>
                <a:gd name="T88" fmla="*/ 175 w 193"/>
                <a:gd name="T89" fmla="*/ 15 h 111"/>
                <a:gd name="T90" fmla="*/ 184 w 193"/>
                <a:gd name="T91" fmla="*/ 23 h 111"/>
                <a:gd name="T92" fmla="*/ 188 w 193"/>
                <a:gd name="T93" fmla="*/ 26 h 111"/>
                <a:gd name="T94" fmla="*/ 191 w 193"/>
                <a:gd name="T95" fmla="*/ 31 h 111"/>
                <a:gd name="T96" fmla="*/ 192 w 193"/>
                <a:gd name="T97" fmla="*/ 35 h 111"/>
                <a:gd name="T98" fmla="*/ 193 w 193"/>
                <a:gd name="T99" fmla="*/ 40 h 111"/>
                <a:gd name="T100" fmla="*/ 193 w 193"/>
                <a:gd name="T101" fmla="*/ 4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 h="111">
                  <a:moveTo>
                    <a:pt x="193" y="40"/>
                  </a:moveTo>
                  <a:lnTo>
                    <a:pt x="193" y="40"/>
                  </a:lnTo>
                  <a:lnTo>
                    <a:pt x="192" y="51"/>
                  </a:lnTo>
                  <a:lnTo>
                    <a:pt x="191" y="60"/>
                  </a:lnTo>
                  <a:lnTo>
                    <a:pt x="187" y="70"/>
                  </a:lnTo>
                  <a:lnTo>
                    <a:pt x="183" y="80"/>
                  </a:lnTo>
                  <a:lnTo>
                    <a:pt x="180" y="88"/>
                  </a:lnTo>
                  <a:lnTo>
                    <a:pt x="174" y="97"/>
                  </a:lnTo>
                  <a:lnTo>
                    <a:pt x="167" y="104"/>
                  </a:lnTo>
                  <a:lnTo>
                    <a:pt x="160" y="111"/>
                  </a:lnTo>
                  <a:lnTo>
                    <a:pt x="160" y="111"/>
                  </a:lnTo>
                  <a:lnTo>
                    <a:pt x="146" y="105"/>
                  </a:lnTo>
                  <a:lnTo>
                    <a:pt x="130" y="100"/>
                  </a:lnTo>
                  <a:lnTo>
                    <a:pt x="113" y="98"/>
                  </a:lnTo>
                  <a:lnTo>
                    <a:pt x="96" y="97"/>
                  </a:lnTo>
                  <a:lnTo>
                    <a:pt x="96" y="97"/>
                  </a:lnTo>
                  <a:lnTo>
                    <a:pt x="79" y="98"/>
                  </a:lnTo>
                  <a:lnTo>
                    <a:pt x="63" y="100"/>
                  </a:lnTo>
                  <a:lnTo>
                    <a:pt x="47" y="105"/>
                  </a:lnTo>
                  <a:lnTo>
                    <a:pt x="32" y="111"/>
                  </a:lnTo>
                  <a:lnTo>
                    <a:pt x="32" y="111"/>
                  </a:lnTo>
                  <a:lnTo>
                    <a:pt x="26" y="104"/>
                  </a:lnTo>
                  <a:lnTo>
                    <a:pt x="18" y="97"/>
                  </a:lnTo>
                  <a:lnTo>
                    <a:pt x="13" y="88"/>
                  </a:lnTo>
                  <a:lnTo>
                    <a:pt x="9" y="80"/>
                  </a:lnTo>
                  <a:lnTo>
                    <a:pt x="5" y="70"/>
                  </a:lnTo>
                  <a:lnTo>
                    <a:pt x="2" y="60"/>
                  </a:lnTo>
                  <a:lnTo>
                    <a:pt x="1" y="51"/>
                  </a:lnTo>
                  <a:lnTo>
                    <a:pt x="0" y="40"/>
                  </a:lnTo>
                  <a:lnTo>
                    <a:pt x="0" y="40"/>
                  </a:lnTo>
                  <a:lnTo>
                    <a:pt x="1" y="35"/>
                  </a:lnTo>
                  <a:lnTo>
                    <a:pt x="2" y="31"/>
                  </a:lnTo>
                  <a:lnTo>
                    <a:pt x="5" y="26"/>
                  </a:lnTo>
                  <a:lnTo>
                    <a:pt x="9" y="23"/>
                  </a:lnTo>
                  <a:lnTo>
                    <a:pt x="18" y="15"/>
                  </a:lnTo>
                  <a:lnTo>
                    <a:pt x="30" y="11"/>
                  </a:lnTo>
                  <a:lnTo>
                    <a:pt x="45" y="6"/>
                  </a:lnTo>
                  <a:lnTo>
                    <a:pt x="61" y="2"/>
                  </a:lnTo>
                  <a:lnTo>
                    <a:pt x="79" y="1"/>
                  </a:lnTo>
                  <a:lnTo>
                    <a:pt x="96" y="0"/>
                  </a:lnTo>
                  <a:lnTo>
                    <a:pt x="114" y="1"/>
                  </a:lnTo>
                  <a:lnTo>
                    <a:pt x="131" y="2"/>
                  </a:lnTo>
                  <a:lnTo>
                    <a:pt x="148" y="6"/>
                  </a:lnTo>
                  <a:lnTo>
                    <a:pt x="163" y="11"/>
                  </a:lnTo>
                  <a:lnTo>
                    <a:pt x="175" y="15"/>
                  </a:lnTo>
                  <a:lnTo>
                    <a:pt x="184" y="23"/>
                  </a:lnTo>
                  <a:lnTo>
                    <a:pt x="188" y="26"/>
                  </a:lnTo>
                  <a:lnTo>
                    <a:pt x="191" y="31"/>
                  </a:lnTo>
                  <a:lnTo>
                    <a:pt x="192" y="35"/>
                  </a:lnTo>
                  <a:lnTo>
                    <a:pt x="193" y="40"/>
                  </a:lnTo>
                  <a:lnTo>
                    <a:pt x="193"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52"/>
            <p:cNvSpPr>
              <a:spLocks/>
            </p:cNvSpPr>
            <p:nvPr/>
          </p:nvSpPr>
          <p:spPr bwMode="auto">
            <a:xfrm>
              <a:off x="10506075" y="1122363"/>
              <a:ext cx="7938" cy="23812"/>
            </a:xfrm>
            <a:custGeom>
              <a:avLst/>
              <a:gdLst>
                <a:gd name="T0" fmla="*/ 0 w 17"/>
                <a:gd name="T1" fmla="*/ 0 h 47"/>
                <a:gd name="T2" fmla="*/ 0 w 17"/>
                <a:gd name="T3" fmla="*/ 0 h 47"/>
                <a:gd name="T4" fmla="*/ 7 w 17"/>
                <a:gd name="T5" fmla="*/ 3 h 47"/>
                <a:gd name="T6" fmla="*/ 12 w 17"/>
                <a:gd name="T7" fmla="*/ 9 h 47"/>
                <a:gd name="T8" fmla="*/ 16 w 17"/>
                <a:gd name="T9" fmla="*/ 15 h 47"/>
                <a:gd name="T10" fmla="*/ 17 w 17"/>
                <a:gd name="T11" fmla="*/ 23 h 47"/>
                <a:gd name="T12" fmla="*/ 17 w 17"/>
                <a:gd name="T13" fmla="*/ 23 h 47"/>
                <a:gd name="T14" fmla="*/ 16 w 17"/>
                <a:gd name="T15" fmla="*/ 31 h 47"/>
                <a:gd name="T16" fmla="*/ 12 w 17"/>
                <a:gd name="T17" fmla="*/ 37 h 47"/>
                <a:gd name="T18" fmla="*/ 7 w 17"/>
                <a:gd name="T19" fmla="*/ 43 h 47"/>
                <a:gd name="T20" fmla="*/ 0 w 17"/>
                <a:gd name="T21" fmla="*/ 47 h 47"/>
                <a:gd name="T22" fmla="*/ 0 w 17"/>
                <a:gd name="T2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47">
                  <a:moveTo>
                    <a:pt x="0" y="0"/>
                  </a:moveTo>
                  <a:lnTo>
                    <a:pt x="0" y="0"/>
                  </a:lnTo>
                  <a:lnTo>
                    <a:pt x="7" y="3"/>
                  </a:lnTo>
                  <a:lnTo>
                    <a:pt x="12" y="9"/>
                  </a:lnTo>
                  <a:lnTo>
                    <a:pt x="16" y="15"/>
                  </a:lnTo>
                  <a:lnTo>
                    <a:pt x="17" y="23"/>
                  </a:lnTo>
                  <a:lnTo>
                    <a:pt x="17" y="23"/>
                  </a:lnTo>
                  <a:lnTo>
                    <a:pt x="16" y="31"/>
                  </a:lnTo>
                  <a:lnTo>
                    <a:pt x="12" y="37"/>
                  </a:lnTo>
                  <a:lnTo>
                    <a:pt x="7" y="43"/>
                  </a:lnTo>
                  <a:lnTo>
                    <a:pt x="0" y="4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53"/>
            <p:cNvSpPr>
              <a:spLocks/>
            </p:cNvSpPr>
            <p:nvPr/>
          </p:nvSpPr>
          <p:spPr bwMode="auto">
            <a:xfrm>
              <a:off x="10483850" y="1077913"/>
              <a:ext cx="9525" cy="25400"/>
            </a:xfrm>
            <a:custGeom>
              <a:avLst/>
              <a:gdLst>
                <a:gd name="T0" fmla="*/ 18 w 18"/>
                <a:gd name="T1" fmla="*/ 0 h 47"/>
                <a:gd name="T2" fmla="*/ 18 w 18"/>
                <a:gd name="T3" fmla="*/ 47 h 47"/>
                <a:gd name="T4" fmla="*/ 18 w 18"/>
                <a:gd name="T5" fmla="*/ 47 h 47"/>
                <a:gd name="T6" fmla="*/ 11 w 18"/>
                <a:gd name="T7" fmla="*/ 44 h 47"/>
                <a:gd name="T8" fmla="*/ 5 w 18"/>
                <a:gd name="T9" fmla="*/ 38 h 47"/>
                <a:gd name="T10" fmla="*/ 1 w 18"/>
                <a:gd name="T11" fmla="*/ 32 h 47"/>
                <a:gd name="T12" fmla="*/ 0 w 18"/>
                <a:gd name="T13" fmla="*/ 24 h 47"/>
                <a:gd name="T14" fmla="*/ 0 w 18"/>
                <a:gd name="T15" fmla="*/ 24 h 47"/>
                <a:gd name="T16" fmla="*/ 1 w 18"/>
                <a:gd name="T17" fmla="*/ 16 h 47"/>
                <a:gd name="T18" fmla="*/ 5 w 18"/>
                <a:gd name="T19" fmla="*/ 10 h 47"/>
                <a:gd name="T20" fmla="*/ 11 w 18"/>
                <a:gd name="T21" fmla="*/ 4 h 47"/>
                <a:gd name="T22" fmla="*/ 18 w 18"/>
                <a:gd name="T23" fmla="*/ 0 h 47"/>
                <a:gd name="T24" fmla="*/ 18 w 18"/>
                <a:gd name="T2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47">
                  <a:moveTo>
                    <a:pt x="18" y="0"/>
                  </a:moveTo>
                  <a:lnTo>
                    <a:pt x="18" y="47"/>
                  </a:lnTo>
                  <a:lnTo>
                    <a:pt x="18" y="47"/>
                  </a:lnTo>
                  <a:lnTo>
                    <a:pt x="11" y="44"/>
                  </a:lnTo>
                  <a:lnTo>
                    <a:pt x="5" y="38"/>
                  </a:lnTo>
                  <a:lnTo>
                    <a:pt x="1" y="32"/>
                  </a:lnTo>
                  <a:lnTo>
                    <a:pt x="0" y="24"/>
                  </a:lnTo>
                  <a:lnTo>
                    <a:pt x="0" y="24"/>
                  </a:lnTo>
                  <a:lnTo>
                    <a:pt x="1" y="16"/>
                  </a:lnTo>
                  <a:lnTo>
                    <a:pt x="5" y="10"/>
                  </a:lnTo>
                  <a:lnTo>
                    <a:pt x="11" y="4"/>
                  </a:lnTo>
                  <a:lnTo>
                    <a:pt x="18" y="0"/>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54"/>
            <p:cNvSpPr>
              <a:spLocks noEditPoints="1"/>
            </p:cNvSpPr>
            <p:nvPr/>
          </p:nvSpPr>
          <p:spPr bwMode="auto">
            <a:xfrm>
              <a:off x="10155237" y="992188"/>
              <a:ext cx="300038" cy="257175"/>
            </a:xfrm>
            <a:custGeom>
              <a:avLst/>
              <a:gdLst>
                <a:gd name="T0" fmla="*/ 311 w 566"/>
                <a:gd name="T1" fmla="*/ 2 h 486"/>
                <a:gd name="T2" fmla="*/ 367 w 566"/>
                <a:gd name="T3" fmla="*/ 16 h 486"/>
                <a:gd name="T4" fmla="*/ 418 w 566"/>
                <a:gd name="T5" fmla="*/ 41 h 486"/>
                <a:gd name="T6" fmla="*/ 463 w 566"/>
                <a:gd name="T7" fmla="*/ 79 h 486"/>
                <a:gd name="T8" fmla="*/ 532 w 566"/>
                <a:gd name="T9" fmla="*/ 179 h 486"/>
                <a:gd name="T10" fmla="*/ 565 w 566"/>
                <a:gd name="T11" fmla="*/ 308 h 486"/>
                <a:gd name="T12" fmla="*/ 565 w 566"/>
                <a:gd name="T13" fmla="*/ 352 h 486"/>
                <a:gd name="T14" fmla="*/ 556 w 566"/>
                <a:gd name="T15" fmla="*/ 384 h 486"/>
                <a:gd name="T16" fmla="*/ 514 w 566"/>
                <a:gd name="T17" fmla="*/ 430 h 486"/>
                <a:gd name="T18" fmla="*/ 435 w 566"/>
                <a:gd name="T19" fmla="*/ 466 h 486"/>
                <a:gd name="T20" fmla="*/ 336 w 566"/>
                <a:gd name="T21" fmla="*/ 484 h 486"/>
                <a:gd name="T22" fmla="*/ 230 w 566"/>
                <a:gd name="T23" fmla="*/ 484 h 486"/>
                <a:gd name="T24" fmla="*/ 131 w 566"/>
                <a:gd name="T25" fmla="*/ 466 h 486"/>
                <a:gd name="T26" fmla="*/ 52 w 566"/>
                <a:gd name="T27" fmla="*/ 430 h 486"/>
                <a:gd name="T28" fmla="*/ 9 w 566"/>
                <a:gd name="T29" fmla="*/ 384 h 486"/>
                <a:gd name="T30" fmla="*/ 1 w 566"/>
                <a:gd name="T31" fmla="*/ 352 h 486"/>
                <a:gd name="T32" fmla="*/ 1 w 566"/>
                <a:gd name="T33" fmla="*/ 308 h 486"/>
                <a:gd name="T34" fmla="*/ 34 w 566"/>
                <a:gd name="T35" fmla="*/ 179 h 486"/>
                <a:gd name="T36" fmla="*/ 103 w 566"/>
                <a:gd name="T37" fmla="*/ 79 h 486"/>
                <a:gd name="T38" fmla="*/ 148 w 566"/>
                <a:gd name="T39" fmla="*/ 41 h 486"/>
                <a:gd name="T40" fmla="*/ 199 w 566"/>
                <a:gd name="T41" fmla="*/ 16 h 486"/>
                <a:gd name="T42" fmla="*/ 254 w 566"/>
                <a:gd name="T43" fmla="*/ 2 h 486"/>
                <a:gd name="T44" fmla="*/ 333 w 566"/>
                <a:gd name="T45" fmla="*/ 155 h 486"/>
                <a:gd name="T46" fmla="*/ 390 w 566"/>
                <a:gd name="T47" fmla="*/ 138 h 486"/>
                <a:gd name="T48" fmla="*/ 377 w 566"/>
                <a:gd name="T49" fmla="*/ 107 h 486"/>
                <a:gd name="T50" fmla="*/ 354 w 566"/>
                <a:gd name="T51" fmla="*/ 82 h 486"/>
                <a:gd name="T52" fmla="*/ 321 w 566"/>
                <a:gd name="T53" fmla="*/ 65 h 486"/>
                <a:gd name="T54" fmla="*/ 263 w 566"/>
                <a:gd name="T55" fmla="*/ 37 h 486"/>
                <a:gd name="T56" fmla="*/ 245 w 566"/>
                <a:gd name="T57" fmla="*/ 65 h 486"/>
                <a:gd name="T58" fmla="*/ 212 w 566"/>
                <a:gd name="T59" fmla="*/ 82 h 486"/>
                <a:gd name="T60" fmla="*/ 189 w 566"/>
                <a:gd name="T61" fmla="*/ 107 h 486"/>
                <a:gd name="T62" fmla="*/ 176 w 566"/>
                <a:gd name="T63" fmla="*/ 138 h 486"/>
                <a:gd name="T64" fmla="*/ 174 w 566"/>
                <a:gd name="T65" fmla="*/ 165 h 486"/>
                <a:gd name="T66" fmla="*/ 184 w 566"/>
                <a:gd name="T67" fmla="*/ 196 h 486"/>
                <a:gd name="T68" fmla="*/ 206 w 566"/>
                <a:gd name="T69" fmla="*/ 224 h 486"/>
                <a:gd name="T70" fmla="*/ 236 w 566"/>
                <a:gd name="T71" fmla="*/ 242 h 486"/>
                <a:gd name="T72" fmla="*/ 263 w 566"/>
                <a:gd name="T73" fmla="*/ 339 h 486"/>
                <a:gd name="T74" fmla="*/ 246 w 566"/>
                <a:gd name="T75" fmla="*/ 327 h 486"/>
                <a:gd name="T76" fmla="*/ 233 w 566"/>
                <a:gd name="T77" fmla="*/ 304 h 486"/>
                <a:gd name="T78" fmla="*/ 174 w 566"/>
                <a:gd name="T79" fmla="*/ 307 h 486"/>
                <a:gd name="T80" fmla="*/ 184 w 566"/>
                <a:gd name="T81" fmla="*/ 339 h 486"/>
                <a:gd name="T82" fmla="*/ 206 w 566"/>
                <a:gd name="T83" fmla="*/ 366 h 486"/>
                <a:gd name="T84" fmla="*/ 236 w 566"/>
                <a:gd name="T85" fmla="*/ 386 h 486"/>
                <a:gd name="T86" fmla="*/ 263 w 566"/>
                <a:gd name="T87" fmla="*/ 416 h 486"/>
                <a:gd name="T88" fmla="*/ 313 w 566"/>
                <a:gd name="T89" fmla="*/ 392 h 486"/>
                <a:gd name="T90" fmla="*/ 347 w 566"/>
                <a:gd name="T91" fmla="*/ 377 h 486"/>
                <a:gd name="T92" fmla="*/ 372 w 566"/>
                <a:gd name="T93" fmla="*/ 354 h 486"/>
                <a:gd name="T94" fmla="*/ 388 w 566"/>
                <a:gd name="T95" fmla="*/ 324 h 486"/>
                <a:gd name="T96" fmla="*/ 393 w 566"/>
                <a:gd name="T97" fmla="*/ 298 h 486"/>
                <a:gd name="T98" fmla="*/ 385 w 566"/>
                <a:gd name="T99" fmla="*/ 264 h 486"/>
                <a:gd name="T100" fmla="*/ 367 w 566"/>
                <a:gd name="T101" fmla="*/ 236 h 486"/>
                <a:gd name="T102" fmla="*/ 338 w 566"/>
                <a:gd name="T103" fmla="*/ 215 h 486"/>
                <a:gd name="T104" fmla="*/ 303 w 566"/>
                <a:gd name="T105" fmla="*/ 202 h 486"/>
                <a:gd name="T106" fmla="*/ 315 w 566"/>
                <a:gd name="T107" fmla="*/ 121 h 486"/>
                <a:gd name="T108" fmla="*/ 331 w 566"/>
                <a:gd name="T109" fmla="*/ 143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66" h="486">
                  <a:moveTo>
                    <a:pt x="283" y="0"/>
                  </a:moveTo>
                  <a:lnTo>
                    <a:pt x="283" y="0"/>
                  </a:lnTo>
                  <a:lnTo>
                    <a:pt x="298" y="1"/>
                  </a:lnTo>
                  <a:lnTo>
                    <a:pt x="311" y="2"/>
                  </a:lnTo>
                  <a:lnTo>
                    <a:pt x="326" y="3"/>
                  </a:lnTo>
                  <a:lnTo>
                    <a:pt x="341" y="7"/>
                  </a:lnTo>
                  <a:lnTo>
                    <a:pt x="354" y="11"/>
                  </a:lnTo>
                  <a:lnTo>
                    <a:pt x="367" y="16"/>
                  </a:lnTo>
                  <a:lnTo>
                    <a:pt x="381" y="20"/>
                  </a:lnTo>
                  <a:lnTo>
                    <a:pt x="393" y="26"/>
                  </a:lnTo>
                  <a:lnTo>
                    <a:pt x="406" y="34"/>
                  </a:lnTo>
                  <a:lnTo>
                    <a:pt x="418" y="41"/>
                  </a:lnTo>
                  <a:lnTo>
                    <a:pt x="429" y="49"/>
                  </a:lnTo>
                  <a:lnTo>
                    <a:pt x="441" y="59"/>
                  </a:lnTo>
                  <a:lnTo>
                    <a:pt x="452" y="68"/>
                  </a:lnTo>
                  <a:lnTo>
                    <a:pt x="463" y="79"/>
                  </a:lnTo>
                  <a:lnTo>
                    <a:pt x="482" y="100"/>
                  </a:lnTo>
                  <a:lnTo>
                    <a:pt x="502" y="125"/>
                  </a:lnTo>
                  <a:lnTo>
                    <a:pt x="518" y="151"/>
                  </a:lnTo>
                  <a:lnTo>
                    <a:pt x="532" y="179"/>
                  </a:lnTo>
                  <a:lnTo>
                    <a:pt x="543" y="210"/>
                  </a:lnTo>
                  <a:lnTo>
                    <a:pt x="553" y="241"/>
                  </a:lnTo>
                  <a:lnTo>
                    <a:pt x="560" y="274"/>
                  </a:lnTo>
                  <a:lnTo>
                    <a:pt x="565" y="308"/>
                  </a:lnTo>
                  <a:lnTo>
                    <a:pt x="565" y="326"/>
                  </a:lnTo>
                  <a:lnTo>
                    <a:pt x="566" y="343"/>
                  </a:lnTo>
                  <a:lnTo>
                    <a:pt x="566" y="343"/>
                  </a:lnTo>
                  <a:lnTo>
                    <a:pt x="565" y="352"/>
                  </a:lnTo>
                  <a:lnTo>
                    <a:pt x="564" y="360"/>
                  </a:lnTo>
                  <a:lnTo>
                    <a:pt x="563" y="369"/>
                  </a:lnTo>
                  <a:lnTo>
                    <a:pt x="560" y="377"/>
                  </a:lnTo>
                  <a:lnTo>
                    <a:pt x="556" y="384"/>
                  </a:lnTo>
                  <a:lnTo>
                    <a:pt x="552" y="392"/>
                  </a:lnTo>
                  <a:lnTo>
                    <a:pt x="542" y="406"/>
                  </a:lnTo>
                  <a:lnTo>
                    <a:pt x="529" y="418"/>
                  </a:lnTo>
                  <a:lnTo>
                    <a:pt x="514" y="430"/>
                  </a:lnTo>
                  <a:lnTo>
                    <a:pt x="497" y="440"/>
                  </a:lnTo>
                  <a:lnTo>
                    <a:pt x="478" y="450"/>
                  </a:lnTo>
                  <a:lnTo>
                    <a:pt x="457" y="458"/>
                  </a:lnTo>
                  <a:lnTo>
                    <a:pt x="435" y="466"/>
                  </a:lnTo>
                  <a:lnTo>
                    <a:pt x="411" y="472"/>
                  </a:lnTo>
                  <a:lnTo>
                    <a:pt x="387" y="477"/>
                  </a:lnTo>
                  <a:lnTo>
                    <a:pt x="361" y="480"/>
                  </a:lnTo>
                  <a:lnTo>
                    <a:pt x="336" y="484"/>
                  </a:lnTo>
                  <a:lnTo>
                    <a:pt x="309" y="485"/>
                  </a:lnTo>
                  <a:lnTo>
                    <a:pt x="283" y="486"/>
                  </a:lnTo>
                  <a:lnTo>
                    <a:pt x="257" y="485"/>
                  </a:lnTo>
                  <a:lnTo>
                    <a:pt x="230" y="484"/>
                  </a:lnTo>
                  <a:lnTo>
                    <a:pt x="205" y="480"/>
                  </a:lnTo>
                  <a:lnTo>
                    <a:pt x="179" y="477"/>
                  </a:lnTo>
                  <a:lnTo>
                    <a:pt x="155" y="472"/>
                  </a:lnTo>
                  <a:lnTo>
                    <a:pt x="131" y="466"/>
                  </a:lnTo>
                  <a:lnTo>
                    <a:pt x="109" y="458"/>
                  </a:lnTo>
                  <a:lnTo>
                    <a:pt x="88" y="450"/>
                  </a:lnTo>
                  <a:lnTo>
                    <a:pt x="69" y="440"/>
                  </a:lnTo>
                  <a:lnTo>
                    <a:pt x="52" y="430"/>
                  </a:lnTo>
                  <a:lnTo>
                    <a:pt x="37" y="418"/>
                  </a:lnTo>
                  <a:lnTo>
                    <a:pt x="24" y="406"/>
                  </a:lnTo>
                  <a:lnTo>
                    <a:pt x="14" y="392"/>
                  </a:lnTo>
                  <a:lnTo>
                    <a:pt x="9" y="384"/>
                  </a:lnTo>
                  <a:lnTo>
                    <a:pt x="7" y="377"/>
                  </a:lnTo>
                  <a:lnTo>
                    <a:pt x="3" y="369"/>
                  </a:lnTo>
                  <a:lnTo>
                    <a:pt x="2" y="360"/>
                  </a:lnTo>
                  <a:lnTo>
                    <a:pt x="1" y="352"/>
                  </a:lnTo>
                  <a:lnTo>
                    <a:pt x="0" y="343"/>
                  </a:lnTo>
                  <a:lnTo>
                    <a:pt x="0" y="343"/>
                  </a:lnTo>
                  <a:lnTo>
                    <a:pt x="1" y="326"/>
                  </a:lnTo>
                  <a:lnTo>
                    <a:pt x="1" y="308"/>
                  </a:lnTo>
                  <a:lnTo>
                    <a:pt x="6" y="274"/>
                  </a:lnTo>
                  <a:lnTo>
                    <a:pt x="13" y="241"/>
                  </a:lnTo>
                  <a:lnTo>
                    <a:pt x="23" y="210"/>
                  </a:lnTo>
                  <a:lnTo>
                    <a:pt x="34" y="179"/>
                  </a:lnTo>
                  <a:lnTo>
                    <a:pt x="48" y="151"/>
                  </a:lnTo>
                  <a:lnTo>
                    <a:pt x="65" y="125"/>
                  </a:lnTo>
                  <a:lnTo>
                    <a:pt x="83" y="100"/>
                  </a:lnTo>
                  <a:lnTo>
                    <a:pt x="103" y="79"/>
                  </a:lnTo>
                  <a:lnTo>
                    <a:pt x="114" y="68"/>
                  </a:lnTo>
                  <a:lnTo>
                    <a:pt x="125" y="59"/>
                  </a:lnTo>
                  <a:lnTo>
                    <a:pt x="137" y="49"/>
                  </a:lnTo>
                  <a:lnTo>
                    <a:pt x="148" y="41"/>
                  </a:lnTo>
                  <a:lnTo>
                    <a:pt x="160" y="34"/>
                  </a:lnTo>
                  <a:lnTo>
                    <a:pt x="173" y="26"/>
                  </a:lnTo>
                  <a:lnTo>
                    <a:pt x="185" y="20"/>
                  </a:lnTo>
                  <a:lnTo>
                    <a:pt x="199" y="16"/>
                  </a:lnTo>
                  <a:lnTo>
                    <a:pt x="212" y="11"/>
                  </a:lnTo>
                  <a:lnTo>
                    <a:pt x="226" y="7"/>
                  </a:lnTo>
                  <a:lnTo>
                    <a:pt x="240" y="3"/>
                  </a:lnTo>
                  <a:lnTo>
                    <a:pt x="254" y="2"/>
                  </a:lnTo>
                  <a:lnTo>
                    <a:pt x="269" y="1"/>
                  </a:lnTo>
                  <a:lnTo>
                    <a:pt x="283" y="0"/>
                  </a:lnTo>
                  <a:lnTo>
                    <a:pt x="283" y="0"/>
                  </a:lnTo>
                  <a:close/>
                  <a:moveTo>
                    <a:pt x="333" y="155"/>
                  </a:moveTo>
                  <a:lnTo>
                    <a:pt x="393" y="155"/>
                  </a:lnTo>
                  <a:lnTo>
                    <a:pt x="393" y="155"/>
                  </a:lnTo>
                  <a:lnTo>
                    <a:pt x="391" y="147"/>
                  </a:lnTo>
                  <a:lnTo>
                    <a:pt x="390" y="138"/>
                  </a:lnTo>
                  <a:lnTo>
                    <a:pt x="388" y="130"/>
                  </a:lnTo>
                  <a:lnTo>
                    <a:pt x="385" y="122"/>
                  </a:lnTo>
                  <a:lnTo>
                    <a:pt x="382" y="114"/>
                  </a:lnTo>
                  <a:lnTo>
                    <a:pt x="377" y="107"/>
                  </a:lnTo>
                  <a:lnTo>
                    <a:pt x="372" y="100"/>
                  </a:lnTo>
                  <a:lnTo>
                    <a:pt x="367" y="93"/>
                  </a:lnTo>
                  <a:lnTo>
                    <a:pt x="360" y="87"/>
                  </a:lnTo>
                  <a:lnTo>
                    <a:pt x="354" y="82"/>
                  </a:lnTo>
                  <a:lnTo>
                    <a:pt x="347" y="76"/>
                  </a:lnTo>
                  <a:lnTo>
                    <a:pt x="338" y="73"/>
                  </a:lnTo>
                  <a:lnTo>
                    <a:pt x="330" y="68"/>
                  </a:lnTo>
                  <a:lnTo>
                    <a:pt x="321" y="65"/>
                  </a:lnTo>
                  <a:lnTo>
                    <a:pt x="313" y="63"/>
                  </a:lnTo>
                  <a:lnTo>
                    <a:pt x="303" y="60"/>
                  </a:lnTo>
                  <a:lnTo>
                    <a:pt x="303" y="37"/>
                  </a:lnTo>
                  <a:lnTo>
                    <a:pt x="263" y="37"/>
                  </a:lnTo>
                  <a:lnTo>
                    <a:pt x="263" y="60"/>
                  </a:lnTo>
                  <a:lnTo>
                    <a:pt x="263" y="60"/>
                  </a:lnTo>
                  <a:lnTo>
                    <a:pt x="253" y="63"/>
                  </a:lnTo>
                  <a:lnTo>
                    <a:pt x="245" y="65"/>
                  </a:lnTo>
                  <a:lnTo>
                    <a:pt x="236" y="68"/>
                  </a:lnTo>
                  <a:lnTo>
                    <a:pt x="228" y="73"/>
                  </a:lnTo>
                  <a:lnTo>
                    <a:pt x="219" y="76"/>
                  </a:lnTo>
                  <a:lnTo>
                    <a:pt x="212" y="82"/>
                  </a:lnTo>
                  <a:lnTo>
                    <a:pt x="206" y="87"/>
                  </a:lnTo>
                  <a:lnTo>
                    <a:pt x="200" y="93"/>
                  </a:lnTo>
                  <a:lnTo>
                    <a:pt x="194" y="100"/>
                  </a:lnTo>
                  <a:lnTo>
                    <a:pt x="189" y="107"/>
                  </a:lnTo>
                  <a:lnTo>
                    <a:pt x="184" y="114"/>
                  </a:lnTo>
                  <a:lnTo>
                    <a:pt x="180" y="122"/>
                  </a:lnTo>
                  <a:lnTo>
                    <a:pt x="178" y="130"/>
                  </a:lnTo>
                  <a:lnTo>
                    <a:pt x="176" y="138"/>
                  </a:lnTo>
                  <a:lnTo>
                    <a:pt x="174" y="147"/>
                  </a:lnTo>
                  <a:lnTo>
                    <a:pt x="173" y="155"/>
                  </a:lnTo>
                  <a:lnTo>
                    <a:pt x="173" y="155"/>
                  </a:lnTo>
                  <a:lnTo>
                    <a:pt x="174" y="165"/>
                  </a:lnTo>
                  <a:lnTo>
                    <a:pt x="176" y="173"/>
                  </a:lnTo>
                  <a:lnTo>
                    <a:pt x="178" y="182"/>
                  </a:lnTo>
                  <a:lnTo>
                    <a:pt x="180" y="189"/>
                  </a:lnTo>
                  <a:lnTo>
                    <a:pt x="184" y="196"/>
                  </a:lnTo>
                  <a:lnTo>
                    <a:pt x="189" y="205"/>
                  </a:lnTo>
                  <a:lnTo>
                    <a:pt x="194" y="211"/>
                  </a:lnTo>
                  <a:lnTo>
                    <a:pt x="200" y="218"/>
                  </a:lnTo>
                  <a:lnTo>
                    <a:pt x="206" y="224"/>
                  </a:lnTo>
                  <a:lnTo>
                    <a:pt x="212" y="229"/>
                  </a:lnTo>
                  <a:lnTo>
                    <a:pt x="219" y="234"/>
                  </a:lnTo>
                  <a:lnTo>
                    <a:pt x="228" y="239"/>
                  </a:lnTo>
                  <a:lnTo>
                    <a:pt x="236" y="242"/>
                  </a:lnTo>
                  <a:lnTo>
                    <a:pt x="245" y="246"/>
                  </a:lnTo>
                  <a:lnTo>
                    <a:pt x="253" y="248"/>
                  </a:lnTo>
                  <a:lnTo>
                    <a:pt x="263" y="251"/>
                  </a:lnTo>
                  <a:lnTo>
                    <a:pt x="263" y="339"/>
                  </a:lnTo>
                  <a:lnTo>
                    <a:pt x="263" y="339"/>
                  </a:lnTo>
                  <a:lnTo>
                    <a:pt x="257" y="336"/>
                  </a:lnTo>
                  <a:lnTo>
                    <a:pt x="251" y="332"/>
                  </a:lnTo>
                  <a:lnTo>
                    <a:pt x="246" y="327"/>
                  </a:lnTo>
                  <a:lnTo>
                    <a:pt x="241" y="322"/>
                  </a:lnTo>
                  <a:lnTo>
                    <a:pt x="237" y="318"/>
                  </a:lnTo>
                  <a:lnTo>
                    <a:pt x="235" y="312"/>
                  </a:lnTo>
                  <a:lnTo>
                    <a:pt x="233" y="304"/>
                  </a:lnTo>
                  <a:lnTo>
                    <a:pt x="233" y="298"/>
                  </a:lnTo>
                  <a:lnTo>
                    <a:pt x="173" y="298"/>
                  </a:lnTo>
                  <a:lnTo>
                    <a:pt x="173" y="298"/>
                  </a:lnTo>
                  <a:lnTo>
                    <a:pt x="174" y="307"/>
                  </a:lnTo>
                  <a:lnTo>
                    <a:pt x="176" y="315"/>
                  </a:lnTo>
                  <a:lnTo>
                    <a:pt x="178" y="324"/>
                  </a:lnTo>
                  <a:lnTo>
                    <a:pt x="180" y="332"/>
                  </a:lnTo>
                  <a:lnTo>
                    <a:pt x="184" y="339"/>
                  </a:lnTo>
                  <a:lnTo>
                    <a:pt x="189" y="347"/>
                  </a:lnTo>
                  <a:lnTo>
                    <a:pt x="194" y="354"/>
                  </a:lnTo>
                  <a:lnTo>
                    <a:pt x="200" y="360"/>
                  </a:lnTo>
                  <a:lnTo>
                    <a:pt x="206" y="366"/>
                  </a:lnTo>
                  <a:lnTo>
                    <a:pt x="212" y="372"/>
                  </a:lnTo>
                  <a:lnTo>
                    <a:pt x="219" y="377"/>
                  </a:lnTo>
                  <a:lnTo>
                    <a:pt x="228" y="382"/>
                  </a:lnTo>
                  <a:lnTo>
                    <a:pt x="236" y="386"/>
                  </a:lnTo>
                  <a:lnTo>
                    <a:pt x="245" y="388"/>
                  </a:lnTo>
                  <a:lnTo>
                    <a:pt x="253" y="392"/>
                  </a:lnTo>
                  <a:lnTo>
                    <a:pt x="263" y="393"/>
                  </a:lnTo>
                  <a:lnTo>
                    <a:pt x="263" y="416"/>
                  </a:lnTo>
                  <a:lnTo>
                    <a:pt x="303" y="416"/>
                  </a:lnTo>
                  <a:lnTo>
                    <a:pt x="303" y="393"/>
                  </a:lnTo>
                  <a:lnTo>
                    <a:pt x="303" y="393"/>
                  </a:lnTo>
                  <a:lnTo>
                    <a:pt x="313" y="392"/>
                  </a:lnTo>
                  <a:lnTo>
                    <a:pt x="321" y="388"/>
                  </a:lnTo>
                  <a:lnTo>
                    <a:pt x="330" y="386"/>
                  </a:lnTo>
                  <a:lnTo>
                    <a:pt x="338" y="382"/>
                  </a:lnTo>
                  <a:lnTo>
                    <a:pt x="347" y="377"/>
                  </a:lnTo>
                  <a:lnTo>
                    <a:pt x="354" y="372"/>
                  </a:lnTo>
                  <a:lnTo>
                    <a:pt x="360" y="366"/>
                  </a:lnTo>
                  <a:lnTo>
                    <a:pt x="367" y="360"/>
                  </a:lnTo>
                  <a:lnTo>
                    <a:pt x="372" y="354"/>
                  </a:lnTo>
                  <a:lnTo>
                    <a:pt x="377" y="347"/>
                  </a:lnTo>
                  <a:lnTo>
                    <a:pt x="382" y="339"/>
                  </a:lnTo>
                  <a:lnTo>
                    <a:pt x="385" y="332"/>
                  </a:lnTo>
                  <a:lnTo>
                    <a:pt x="388" y="324"/>
                  </a:lnTo>
                  <a:lnTo>
                    <a:pt x="390" y="315"/>
                  </a:lnTo>
                  <a:lnTo>
                    <a:pt x="391" y="307"/>
                  </a:lnTo>
                  <a:lnTo>
                    <a:pt x="393" y="298"/>
                  </a:lnTo>
                  <a:lnTo>
                    <a:pt x="393" y="298"/>
                  </a:lnTo>
                  <a:lnTo>
                    <a:pt x="391" y="290"/>
                  </a:lnTo>
                  <a:lnTo>
                    <a:pt x="390" y="281"/>
                  </a:lnTo>
                  <a:lnTo>
                    <a:pt x="388" y="273"/>
                  </a:lnTo>
                  <a:lnTo>
                    <a:pt x="385" y="264"/>
                  </a:lnTo>
                  <a:lnTo>
                    <a:pt x="382" y="257"/>
                  </a:lnTo>
                  <a:lnTo>
                    <a:pt x="377" y="250"/>
                  </a:lnTo>
                  <a:lnTo>
                    <a:pt x="372" y="242"/>
                  </a:lnTo>
                  <a:lnTo>
                    <a:pt x="367" y="236"/>
                  </a:lnTo>
                  <a:lnTo>
                    <a:pt x="360" y="230"/>
                  </a:lnTo>
                  <a:lnTo>
                    <a:pt x="354" y="224"/>
                  </a:lnTo>
                  <a:lnTo>
                    <a:pt x="347" y="219"/>
                  </a:lnTo>
                  <a:lnTo>
                    <a:pt x="338" y="215"/>
                  </a:lnTo>
                  <a:lnTo>
                    <a:pt x="330" y="211"/>
                  </a:lnTo>
                  <a:lnTo>
                    <a:pt x="321" y="207"/>
                  </a:lnTo>
                  <a:lnTo>
                    <a:pt x="313" y="205"/>
                  </a:lnTo>
                  <a:lnTo>
                    <a:pt x="303" y="202"/>
                  </a:lnTo>
                  <a:lnTo>
                    <a:pt x="303" y="115"/>
                  </a:lnTo>
                  <a:lnTo>
                    <a:pt x="303" y="115"/>
                  </a:lnTo>
                  <a:lnTo>
                    <a:pt x="309" y="117"/>
                  </a:lnTo>
                  <a:lnTo>
                    <a:pt x="315" y="121"/>
                  </a:lnTo>
                  <a:lnTo>
                    <a:pt x="321" y="126"/>
                  </a:lnTo>
                  <a:lnTo>
                    <a:pt x="325" y="131"/>
                  </a:lnTo>
                  <a:lnTo>
                    <a:pt x="328" y="137"/>
                  </a:lnTo>
                  <a:lnTo>
                    <a:pt x="331" y="143"/>
                  </a:lnTo>
                  <a:lnTo>
                    <a:pt x="333" y="149"/>
                  </a:lnTo>
                  <a:lnTo>
                    <a:pt x="333" y="155"/>
                  </a:lnTo>
                  <a:lnTo>
                    <a:pt x="333"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655"/>
            <p:cNvSpPr>
              <a:spLocks/>
            </p:cNvSpPr>
            <p:nvPr/>
          </p:nvSpPr>
          <p:spPr bwMode="auto">
            <a:xfrm>
              <a:off x="10217150" y="895350"/>
              <a:ext cx="176213" cy="101600"/>
            </a:xfrm>
            <a:custGeom>
              <a:avLst/>
              <a:gdLst>
                <a:gd name="T0" fmla="*/ 334 w 334"/>
                <a:gd name="T1" fmla="*/ 69 h 193"/>
                <a:gd name="T2" fmla="*/ 329 w 334"/>
                <a:gd name="T3" fmla="*/ 105 h 193"/>
                <a:gd name="T4" fmla="*/ 318 w 334"/>
                <a:gd name="T5" fmla="*/ 137 h 193"/>
                <a:gd name="T6" fmla="*/ 301 w 334"/>
                <a:gd name="T7" fmla="*/ 168 h 193"/>
                <a:gd name="T8" fmla="*/ 278 w 334"/>
                <a:gd name="T9" fmla="*/ 193 h 193"/>
                <a:gd name="T10" fmla="*/ 265 w 334"/>
                <a:gd name="T11" fmla="*/ 187 h 193"/>
                <a:gd name="T12" fmla="*/ 238 w 334"/>
                <a:gd name="T13" fmla="*/ 177 h 193"/>
                <a:gd name="T14" fmla="*/ 210 w 334"/>
                <a:gd name="T15" fmla="*/ 171 h 193"/>
                <a:gd name="T16" fmla="*/ 182 w 334"/>
                <a:gd name="T17" fmla="*/ 168 h 193"/>
                <a:gd name="T18" fmla="*/ 167 w 334"/>
                <a:gd name="T19" fmla="*/ 168 h 193"/>
                <a:gd name="T20" fmla="*/ 138 w 334"/>
                <a:gd name="T21" fmla="*/ 169 h 193"/>
                <a:gd name="T22" fmla="*/ 109 w 334"/>
                <a:gd name="T23" fmla="*/ 174 h 193"/>
                <a:gd name="T24" fmla="*/ 83 w 334"/>
                <a:gd name="T25" fmla="*/ 182 h 193"/>
                <a:gd name="T26" fmla="*/ 56 w 334"/>
                <a:gd name="T27" fmla="*/ 193 h 193"/>
                <a:gd name="T28" fmla="*/ 44 w 334"/>
                <a:gd name="T29" fmla="*/ 181 h 193"/>
                <a:gd name="T30" fmla="*/ 23 w 334"/>
                <a:gd name="T31" fmla="*/ 153 h 193"/>
                <a:gd name="T32" fmla="*/ 10 w 334"/>
                <a:gd name="T33" fmla="*/ 122 h 193"/>
                <a:gd name="T34" fmla="*/ 1 w 334"/>
                <a:gd name="T35" fmla="*/ 88 h 193"/>
                <a:gd name="T36" fmla="*/ 0 w 334"/>
                <a:gd name="T37" fmla="*/ 69 h 193"/>
                <a:gd name="T38" fmla="*/ 5 w 334"/>
                <a:gd name="T39" fmla="*/ 52 h 193"/>
                <a:gd name="T40" fmla="*/ 15 w 334"/>
                <a:gd name="T41" fmla="*/ 39 h 193"/>
                <a:gd name="T42" fmla="*/ 32 w 334"/>
                <a:gd name="T43" fmla="*/ 27 h 193"/>
                <a:gd name="T44" fmla="*/ 52 w 334"/>
                <a:gd name="T45" fmla="*/ 17 h 193"/>
                <a:gd name="T46" fmla="*/ 78 w 334"/>
                <a:gd name="T47" fmla="*/ 10 h 193"/>
                <a:gd name="T48" fmla="*/ 136 w 334"/>
                <a:gd name="T49" fmla="*/ 2 h 193"/>
                <a:gd name="T50" fmla="*/ 198 w 334"/>
                <a:gd name="T51" fmla="*/ 2 h 193"/>
                <a:gd name="T52" fmla="*/ 256 w 334"/>
                <a:gd name="T53" fmla="*/ 10 h 193"/>
                <a:gd name="T54" fmla="*/ 282 w 334"/>
                <a:gd name="T55" fmla="*/ 17 h 193"/>
                <a:gd name="T56" fmla="*/ 302 w 334"/>
                <a:gd name="T57" fmla="*/ 27 h 193"/>
                <a:gd name="T58" fmla="*/ 319 w 334"/>
                <a:gd name="T59" fmla="*/ 39 h 193"/>
                <a:gd name="T60" fmla="*/ 329 w 334"/>
                <a:gd name="T61" fmla="*/ 52 h 193"/>
                <a:gd name="T62" fmla="*/ 334 w 334"/>
                <a:gd name="T63" fmla="*/ 6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4" h="193">
                  <a:moveTo>
                    <a:pt x="334" y="69"/>
                  </a:moveTo>
                  <a:lnTo>
                    <a:pt x="334" y="69"/>
                  </a:lnTo>
                  <a:lnTo>
                    <a:pt x="332" y="88"/>
                  </a:lnTo>
                  <a:lnTo>
                    <a:pt x="329" y="105"/>
                  </a:lnTo>
                  <a:lnTo>
                    <a:pt x="324" y="122"/>
                  </a:lnTo>
                  <a:lnTo>
                    <a:pt x="318" y="137"/>
                  </a:lnTo>
                  <a:lnTo>
                    <a:pt x="311" y="153"/>
                  </a:lnTo>
                  <a:lnTo>
                    <a:pt x="301" y="168"/>
                  </a:lnTo>
                  <a:lnTo>
                    <a:pt x="290" y="181"/>
                  </a:lnTo>
                  <a:lnTo>
                    <a:pt x="278" y="193"/>
                  </a:lnTo>
                  <a:lnTo>
                    <a:pt x="278" y="193"/>
                  </a:lnTo>
                  <a:lnTo>
                    <a:pt x="265" y="187"/>
                  </a:lnTo>
                  <a:lnTo>
                    <a:pt x="251" y="182"/>
                  </a:lnTo>
                  <a:lnTo>
                    <a:pt x="238" y="177"/>
                  </a:lnTo>
                  <a:lnTo>
                    <a:pt x="225" y="174"/>
                  </a:lnTo>
                  <a:lnTo>
                    <a:pt x="210" y="171"/>
                  </a:lnTo>
                  <a:lnTo>
                    <a:pt x="195" y="169"/>
                  </a:lnTo>
                  <a:lnTo>
                    <a:pt x="182" y="168"/>
                  </a:lnTo>
                  <a:lnTo>
                    <a:pt x="167" y="168"/>
                  </a:lnTo>
                  <a:lnTo>
                    <a:pt x="167" y="168"/>
                  </a:lnTo>
                  <a:lnTo>
                    <a:pt x="152" y="168"/>
                  </a:lnTo>
                  <a:lnTo>
                    <a:pt x="138" y="169"/>
                  </a:lnTo>
                  <a:lnTo>
                    <a:pt x="124" y="171"/>
                  </a:lnTo>
                  <a:lnTo>
                    <a:pt x="109" y="174"/>
                  </a:lnTo>
                  <a:lnTo>
                    <a:pt x="96" y="177"/>
                  </a:lnTo>
                  <a:lnTo>
                    <a:pt x="83" y="182"/>
                  </a:lnTo>
                  <a:lnTo>
                    <a:pt x="69" y="187"/>
                  </a:lnTo>
                  <a:lnTo>
                    <a:pt x="56" y="193"/>
                  </a:lnTo>
                  <a:lnTo>
                    <a:pt x="56" y="193"/>
                  </a:lnTo>
                  <a:lnTo>
                    <a:pt x="44" y="181"/>
                  </a:lnTo>
                  <a:lnTo>
                    <a:pt x="33" y="168"/>
                  </a:lnTo>
                  <a:lnTo>
                    <a:pt x="23" y="153"/>
                  </a:lnTo>
                  <a:lnTo>
                    <a:pt x="16" y="137"/>
                  </a:lnTo>
                  <a:lnTo>
                    <a:pt x="10" y="122"/>
                  </a:lnTo>
                  <a:lnTo>
                    <a:pt x="5" y="105"/>
                  </a:lnTo>
                  <a:lnTo>
                    <a:pt x="1" y="88"/>
                  </a:lnTo>
                  <a:lnTo>
                    <a:pt x="0" y="69"/>
                  </a:lnTo>
                  <a:lnTo>
                    <a:pt x="0" y="69"/>
                  </a:lnTo>
                  <a:lnTo>
                    <a:pt x="1" y="61"/>
                  </a:lnTo>
                  <a:lnTo>
                    <a:pt x="5" y="52"/>
                  </a:lnTo>
                  <a:lnTo>
                    <a:pt x="9" y="45"/>
                  </a:lnTo>
                  <a:lnTo>
                    <a:pt x="15" y="39"/>
                  </a:lnTo>
                  <a:lnTo>
                    <a:pt x="22" y="33"/>
                  </a:lnTo>
                  <a:lnTo>
                    <a:pt x="32" y="27"/>
                  </a:lnTo>
                  <a:lnTo>
                    <a:pt x="41" y="22"/>
                  </a:lnTo>
                  <a:lnTo>
                    <a:pt x="52" y="17"/>
                  </a:lnTo>
                  <a:lnTo>
                    <a:pt x="64" y="14"/>
                  </a:lnTo>
                  <a:lnTo>
                    <a:pt x="78" y="10"/>
                  </a:lnTo>
                  <a:lnTo>
                    <a:pt x="106" y="4"/>
                  </a:lnTo>
                  <a:lnTo>
                    <a:pt x="136" y="2"/>
                  </a:lnTo>
                  <a:lnTo>
                    <a:pt x="167" y="0"/>
                  </a:lnTo>
                  <a:lnTo>
                    <a:pt x="198" y="2"/>
                  </a:lnTo>
                  <a:lnTo>
                    <a:pt x="228" y="4"/>
                  </a:lnTo>
                  <a:lnTo>
                    <a:pt x="256" y="10"/>
                  </a:lnTo>
                  <a:lnTo>
                    <a:pt x="269" y="14"/>
                  </a:lnTo>
                  <a:lnTo>
                    <a:pt x="282" y="17"/>
                  </a:lnTo>
                  <a:lnTo>
                    <a:pt x="292" y="22"/>
                  </a:lnTo>
                  <a:lnTo>
                    <a:pt x="302" y="27"/>
                  </a:lnTo>
                  <a:lnTo>
                    <a:pt x="312" y="33"/>
                  </a:lnTo>
                  <a:lnTo>
                    <a:pt x="319" y="39"/>
                  </a:lnTo>
                  <a:lnTo>
                    <a:pt x="325" y="45"/>
                  </a:lnTo>
                  <a:lnTo>
                    <a:pt x="329" y="52"/>
                  </a:lnTo>
                  <a:lnTo>
                    <a:pt x="332" y="61"/>
                  </a:lnTo>
                  <a:lnTo>
                    <a:pt x="334" y="69"/>
                  </a:lnTo>
                  <a:lnTo>
                    <a:pt x="334"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56"/>
            <p:cNvSpPr>
              <a:spLocks/>
            </p:cNvSpPr>
            <p:nvPr/>
          </p:nvSpPr>
          <p:spPr bwMode="auto">
            <a:xfrm>
              <a:off x="10225087" y="560388"/>
              <a:ext cx="158750" cy="157162"/>
            </a:xfrm>
            <a:custGeom>
              <a:avLst/>
              <a:gdLst>
                <a:gd name="T0" fmla="*/ 150 w 300"/>
                <a:gd name="T1" fmla="*/ 0 h 298"/>
                <a:gd name="T2" fmla="*/ 180 w 300"/>
                <a:gd name="T3" fmla="*/ 2 h 298"/>
                <a:gd name="T4" fmla="*/ 208 w 300"/>
                <a:gd name="T5" fmla="*/ 11 h 298"/>
                <a:gd name="T6" fmla="*/ 233 w 300"/>
                <a:gd name="T7" fmla="*/ 25 h 298"/>
                <a:gd name="T8" fmla="*/ 256 w 300"/>
                <a:gd name="T9" fmla="*/ 44 h 298"/>
                <a:gd name="T10" fmla="*/ 274 w 300"/>
                <a:gd name="T11" fmla="*/ 65 h 298"/>
                <a:gd name="T12" fmla="*/ 288 w 300"/>
                <a:gd name="T13" fmla="*/ 91 h 298"/>
                <a:gd name="T14" fmla="*/ 296 w 300"/>
                <a:gd name="T15" fmla="*/ 119 h 298"/>
                <a:gd name="T16" fmla="*/ 300 w 300"/>
                <a:gd name="T17" fmla="*/ 149 h 298"/>
                <a:gd name="T18" fmla="*/ 299 w 300"/>
                <a:gd name="T19" fmla="*/ 164 h 298"/>
                <a:gd name="T20" fmla="*/ 292 w 300"/>
                <a:gd name="T21" fmla="*/ 193 h 298"/>
                <a:gd name="T22" fmla="*/ 282 w 300"/>
                <a:gd name="T23" fmla="*/ 220 h 298"/>
                <a:gd name="T24" fmla="*/ 265 w 300"/>
                <a:gd name="T25" fmla="*/ 244 h 298"/>
                <a:gd name="T26" fmla="*/ 245 w 300"/>
                <a:gd name="T27" fmla="*/ 264 h 298"/>
                <a:gd name="T28" fmla="*/ 221 w 300"/>
                <a:gd name="T29" fmla="*/ 280 h 298"/>
                <a:gd name="T30" fmla="*/ 194 w 300"/>
                <a:gd name="T31" fmla="*/ 291 h 298"/>
                <a:gd name="T32" fmla="*/ 165 w 300"/>
                <a:gd name="T33" fmla="*/ 297 h 298"/>
                <a:gd name="T34" fmla="*/ 150 w 300"/>
                <a:gd name="T35" fmla="*/ 298 h 298"/>
                <a:gd name="T36" fmla="*/ 120 w 300"/>
                <a:gd name="T37" fmla="*/ 295 h 298"/>
                <a:gd name="T38" fmla="*/ 92 w 300"/>
                <a:gd name="T39" fmla="*/ 286 h 298"/>
                <a:gd name="T40" fmla="*/ 67 w 300"/>
                <a:gd name="T41" fmla="*/ 273 h 298"/>
                <a:gd name="T42" fmla="*/ 45 w 300"/>
                <a:gd name="T43" fmla="*/ 255 h 298"/>
                <a:gd name="T44" fmla="*/ 26 w 300"/>
                <a:gd name="T45" fmla="*/ 232 h 298"/>
                <a:gd name="T46" fmla="*/ 12 w 300"/>
                <a:gd name="T47" fmla="*/ 206 h 298"/>
                <a:gd name="T48" fmla="*/ 4 w 300"/>
                <a:gd name="T49" fmla="*/ 178 h 298"/>
                <a:gd name="T50" fmla="*/ 0 w 300"/>
                <a:gd name="T51" fmla="*/ 149 h 298"/>
                <a:gd name="T52" fmla="*/ 1 w 300"/>
                <a:gd name="T53" fmla="*/ 133 h 298"/>
                <a:gd name="T54" fmla="*/ 7 w 300"/>
                <a:gd name="T55" fmla="*/ 104 h 298"/>
                <a:gd name="T56" fmla="*/ 18 w 300"/>
                <a:gd name="T57" fmla="*/ 78 h 298"/>
                <a:gd name="T58" fmla="*/ 35 w 300"/>
                <a:gd name="T59" fmla="*/ 53 h 298"/>
                <a:gd name="T60" fmla="*/ 55 w 300"/>
                <a:gd name="T61" fmla="*/ 34 h 298"/>
                <a:gd name="T62" fmla="*/ 79 w 300"/>
                <a:gd name="T63" fmla="*/ 17 h 298"/>
                <a:gd name="T64" fmla="*/ 106 w 300"/>
                <a:gd name="T65" fmla="*/ 6 h 298"/>
                <a:gd name="T66" fmla="*/ 135 w 300"/>
                <a:gd name="T67" fmla="*/ 0 h 298"/>
                <a:gd name="T68" fmla="*/ 150 w 300"/>
                <a:gd name="T69"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298">
                  <a:moveTo>
                    <a:pt x="150" y="0"/>
                  </a:moveTo>
                  <a:lnTo>
                    <a:pt x="150" y="0"/>
                  </a:lnTo>
                  <a:lnTo>
                    <a:pt x="165" y="0"/>
                  </a:lnTo>
                  <a:lnTo>
                    <a:pt x="180" y="2"/>
                  </a:lnTo>
                  <a:lnTo>
                    <a:pt x="194" y="6"/>
                  </a:lnTo>
                  <a:lnTo>
                    <a:pt x="208" y="11"/>
                  </a:lnTo>
                  <a:lnTo>
                    <a:pt x="221" y="17"/>
                  </a:lnTo>
                  <a:lnTo>
                    <a:pt x="233" y="25"/>
                  </a:lnTo>
                  <a:lnTo>
                    <a:pt x="245" y="34"/>
                  </a:lnTo>
                  <a:lnTo>
                    <a:pt x="256" y="44"/>
                  </a:lnTo>
                  <a:lnTo>
                    <a:pt x="265" y="53"/>
                  </a:lnTo>
                  <a:lnTo>
                    <a:pt x="274" y="65"/>
                  </a:lnTo>
                  <a:lnTo>
                    <a:pt x="282" y="78"/>
                  </a:lnTo>
                  <a:lnTo>
                    <a:pt x="288" y="91"/>
                  </a:lnTo>
                  <a:lnTo>
                    <a:pt x="292" y="104"/>
                  </a:lnTo>
                  <a:lnTo>
                    <a:pt x="296" y="119"/>
                  </a:lnTo>
                  <a:lnTo>
                    <a:pt x="299" y="133"/>
                  </a:lnTo>
                  <a:lnTo>
                    <a:pt x="300" y="149"/>
                  </a:lnTo>
                  <a:lnTo>
                    <a:pt x="300" y="149"/>
                  </a:lnTo>
                  <a:lnTo>
                    <a:pt x="299" y="164"/>
                  </a:lnTo>
                  <a:lnTo>
                    <a:pt x="296" y="178"/>
                  </a:lnTo>
                  <a:lnTo>
                    <a:pt x="292" y="193"/>
                  </a:lnTo>
                  <a:lnTo>
                    <a:pt x="288" y="206"/>
                  </a:lnTo>
                  <a:lnTo>
                    <a:pt x="282" y="220"/>
                  </a:lnTo>
                  <a:lnTo>
                    <a:pt x="274" y="232"/>
                  </a:lnTo>
                  <a:lnTo>
                    <a:pt x="265" y="244"/>
                  </a:lnTo>
                  <a:lnTo>
                    <a:pt x="256" y="255"/>
                  </a:lnTo>
                  <a:lnTo>
                    <a:pt x="245" y="264"/>
                  </a:lnTo>
                  <a:lnTo>
                    <a:pt x="233" y="273"/>
                  </a:lnTo>
                  <a:lnTo>
                    <a:pt x="221" y="280"/>
                  </a:lnTo>
                  <a:lnTo>
                    <a:pt x="208" y="286"/>
                  </a:lnTo>
                  <a:lnTo>
                    <a:pt x="194" y="291"/>
                  </a:lnTo>
                  <a:lnTo>
                    <a:pt x="180" y="295"/>
                  </a:lnTo>
                  <a:lnTo>
                    <a:pt x="165" y="297"/>
                  </a:lnTo>
                  <a:lnTo>
                    <a:pt x="150" y="298"/>
                  </a:lnTo>
                  <a:lnTo>
                    <a:pt x="150" y="298"/>
                  </a:lnTo>
                  <a:lnTo>
                    <a:pt x="135" y="297"/>
                  </a:lnTo>
                  <a:lnTo>
                    <a:pt x="120" y="295"/>
                  </a:lnTo>
                  <a:lnTo>
                    <a:pt x="106" y="291"/>
                  </a:lnTo>
                  <a:lnTo>
                    <a:pt x="92" y="286"/>
                  </a:lnTo>
                  <a:lnTo>
                    <a:pt x="79" y="280"/>
                  </a:lnTo>
                  <a:lnTo>
                    <a:pt x="67" y="273"/>
                  </a:lnTo>
                  <a:lnTo>
                    <a:pt x="55" y="264"/>
                  </a:lnTo>
                  <a:lnTo>
                    <a:pt x="45" y="255"/>
                  </a:lnTo>
                  <a:lnTo>
                    <a:pt x="35" y="244"/>
                  </a:lnTo>
                  <a:lnTo>
                    <a:pt x="26" y="232"/>
                  </a:lnTo>
                  <a:lnTo>
                    <a:pt x="18" y="220"/>
                  </a:lnTo>
                  <a:lnTo>
                    <a:pt x="12" y="206"/>
                  </a:lnTo>
                  <a:lnTo>
                    <a:pt x="7" y="193"/>
                  </a:lnTo>
                  <a:lnTo>
                    <a:pt x="4" y="178"/>
                  </a:lnTo>
                  <a:lnTo>
                    <a:pt x="1" y="164"/>
                  </a:lnTo>
                  <a:lnTo>
                    <a:pt x="0" y="149"/>
                  </a:lnTo>
                  <a:lnTo>
                    <a:pt x="0" y="149"/>
                  </a:lnTo>
                  <a:lnTo>
                    <a:pt x="1" y="133"/>
                  </a:lnTo>
                  <a:lnTo>
                    <a:pt x="4" y="119"/>
                  </a:lnTo>
                  <a:lnTo>
                    <a:pt x="7" y="104"/>
                  </a:lnTo>
                  <a:lnTo>
                    <a:pt x="12" y="91"/>
                  </a:lnTo>
                  <a:lnTo>
                    <a:pt x="18" y="78"/>
                  </a:lnTo>
                  <a:lnTo>
                    <a:pt x="26" y="65"/>
                  </a:lnTo>
                  <a:lnTo>
                    <a:pt x="35" y="53"/>
                  </a:lnTo>
                  <a:lnTo>
                    <a:pt x="45" y="44"/>
                  </a:lnTo>
                  <a:lnTo>
                    <a:pt x="55" y="34"/>
                  </a:lnTo>
                  <a:lnTo>
                    <a:pt x="67" y="25"/>
                  </a:lnTo>
                  <a:lnTo>
                    <a:pt x="79" y="17"/>
                  </a:lnTo>
                  <a:lnTo>
                    <a:pt x="92" y="11"/>
                  </a:lnTo>
                  <a:lnTo>
                    <a:pt x="106" y="6"/>
                  </a:lnTo>
                  <a:lnTo>
                    <a:pt x="120" y="2"/>
                  </a:lnTo>
                  <a:lnTo>
                    <a:pt x="135" y="0"/>
                  </a:lnTo>
                  <a:lnTo>
                    <a:pt x="150" y="0"/>
                  </a:lnTo>
                  <a:lnTo>
                    <a:pt x="1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57"/>
            <p:cNvSpPr>
              <a:spLocks/>
            </p:cNvSpPr>
            <p:nvPr/>
          </p:nvSpPr>
          <p:spPr bwMode="auto">
            <a:xfrm>
              <a:off x="10315575" y="1128713"/>
              <a:ext cx="15875" cy="42862"/>
            </a:xfrm>
            <a:custGeom>
              <a:avLst/>
              <a:gdLst>
                <a:gd name="T0" fmla="*/ 0 w 30"/>
                <a:gd name="T1" fmla="*/ 0 h 82"/>
                <a:gd name="T2" fmla="*/ 0 w 30"/>
                <a:gd name="T3" fmla="*/ 0 h 82"/>
                <a:gd name="T4" fmla="*/ 6 w 30"/>
                <a:gd name="T5" fmla="*/ 4 h 82"/>
                <a:gd name="T6" fmla="*/ 12 w 30"/>
                <a:gd name="T7" fmla="*/ 7 h 82"/>
                <a:gd name="T8" fmla="*/ 18 w 30"/>
                <a:gd name="T9" fmla="*/ 11 h 82"/>
                <a:gd name="T10" fmla="*/ 22 w 30"/>
                <a:gd name="T11" fmla="*/ 16 h 82"/>
                <a:gd name="T12" fmla="*/ 25 w 30"/>
                <a:gd name="T13" fmla="*/ 22 h 82"/>
                <a:gd name="T14" fmla="*/ 28 w 30"/>
                <a:gd name="T15" fmla="*/ 28 h 82"/>
                <a:gd name="T16" fmla="*/ 30 w 30"/>
                <a:gd name="T17" fmla="*/ 34 h 82"/>
                <a:gd name="T18" fmla="*/ 30 w 30"/>
                <a:gd name="T19" fmla="*/ 41 h 82"/>
                <a:gd name="T20" fmla="*/ 30 w 30"/>
                <a:gd name="T21" fmla="*/ 41 h 82"/>
                <a:gd name="T22" fmla="*/ 30 w 30"/>
                <a:gd name="T23" fmla="*/ 47 h 82"/>
                <a:gd name="T24" fmla="*/ 28 w 30"/>
                <a:gd name="T25" fmla="*/ 55 h 82"/>
                <a:gd name="T26" fmla="*/ 25 w 30"/>
                <a:gd name="T27" fmla="*/ 61 h 82"/>
                <a:gd name="T28" fmla="*/ 22 w 30"/>
                <a:gd name="T29" fmla="*/ 65 h 82"/>
                <a:gd name="T30" fmla="*/ 18 w 30"/>
                <a:gd name="T31" fmla="*/ 70 h 82"/>
                <a:gd name="T32" fmla="*/ 12 w 30"/>
                <a:gd name="T33" fmla="*/ 75 h 82"/>
                <a:gd name="T34" fmla="*/ 6 w 30"/>
                <a:gd name="T35" fmla="*/ 79 h 82"/>
                <a:gd name="T36" fmla="*/ 0 w 30"/>
                <a:gd name="T37" fmla="*/ 82 h 82"/>
                <a:gd name="T38" fmla="*/ 0 w 30"/>
                <a:gd name="T39"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 h="82">
                  <a:moveTo>
                    <a:pt x="0" y="0"/>
                  </a:moveTo>
                  <a:lnTo>
                    <a:pt x="0" y="0"/>
                  </a:lnTo>
                  <a:lnTo>
                    <a:pt x="6" y="4"/>
                  </a:lnTo>
                  <a:lnTo>
                    <a:pt x="12" y="7"/>
                  </a:lnTo>
                  <a:lnTo>
                    <a:pt x="18" y="11"/>
                  </a:lnTo>
                  <a:lnTo>
                    <a:pt x="22" y="16"/>
                  </a:lnTo>
                  <a:lnTo>
                    <a:pt x="25" y="22"/>
                  </a:lnTo>
                  <a:lnTo>
                    <a:pt x="28" y="28"/>
                  </a:lnTo>
                  <a:lnTo>
                    <a:pt x="30" y="34"/>
                  </a:lnTo>
                  <a:lnTo>
                    <a:pt x="30" y="41"/>
                  </a:lnTo>
                  <a:lnTo>
                    <a:pt x="30" y="41"/>
                  </a:lnTo>
                  <a:lnTo>
                    <a:pt x="30" y="47"/>
                  </a:lnTo>
                  <a:lnTo>
                    <a:pt x="28" y="55"/>
                  </a:lnTo>
                  <a:lnTo>
                    <a:pt x="25" y="61"/>
                  </a:lnTo>
                  <a:lnTo>
                    <a:pt x="22" y="65"/>
                  </a:lnTo>
                  <a:lnTo>
                    <a:pt x="18" y="70"/>
                  </a:lnTo>
                  <a:lnTo>
                    <a:pt x="12" y="75"/>
                  </a:lnTo>
                  <a:lnTo>
                    <a:pt x="6" y="79"/>
                  </a:lnTo>
                  <a:lnTo>
                    <a:pt x="0" y="8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58"/>
            <p:cNvSpPr>
              <a:spLocks/>
            </p:cNvSpPr>
            <p:nvPr/>
          </p:nvSpPr>
          <p:spPr bwMode="auto">
            <a:xfrm>
              <a:off x="10279062" y="1054100"/>
              <a:ext cx="15875" cy="42862"/>
            </a:xfrm>
            <a:custGeom>
              <a:avLst/>
              <a:gdLst>
                <a:gd name="T0" fmla="*/ 30 w 30"/>
                <a:gd name="T1" fmla="*/ 0 h 81"/>
                <a:gd name="T2" fmla="*/ 30 w 30"/>
                <a:gd name="T3" fmla="*/ 81 h 81"/>
                <a:gd name="T4" fmla="*/ 30 w 30"/>
                <a:gd name="T5" fmla="*/ 81 h 81"/>
                <a:gd name="T6" fmla="*/ 24 w 30"/>
                <a:gd name="T7" fmla="*/ 79 h 81"/>
                <a:gd name="T8" fmla="*/ 18 w 30"/>
                <a:gd name="T9" fmla="*/ 75 h 81"/>
                <a:gd name="T10" fmla="*/ 13 w 30"/>
                <a:gd name="T11" fmla="*/ 70 h 81"/>
                <a:gd name="T12" fmla="*/ 8 w 30"/>
                <a:gd name="T13" fmla="*/ 66 h 81"/>
                <a:gd name="T14" fmla="*/ 4 w 30"/>
                <a:gd name="T15" fmla="*/ 59 h 81"/>
                <a:gd name="T16" fmla="*/ 2 w 30"/>
                <a:gd name="T17" fmla="*/ 53 h 81"/>
                <a:gd name="T18" fmla="*/ 0 w 30"/>
                <a:gd name="T19" fmla="*/ 47 h 81"/>
                <a:gd name="T20" fmla="*/ 0 w 30"/>
                <a:gd name="T21" fmla="*/ 40 h 81"/>
                <a:gd name="T22" fmla="*/ 0 w 30"/>
                <a:gd name="T23" fmla="*/ 40 h 81"/>
                <a:gd name="T24" fmla="*/ 0 w 30"/>
                <a:gd name="T25" fmla="*/ 34 h 81"/>
                <a:gd name="T26" fmla="*/ 2 w 30"/>
                <a:gd name="T27" fmla="*/ 28 h 81"/>
                <a:gd name="T28" fmla="*/ 4 w 30"/>
                <a:gd name="T29" fmla="*/ 22 h 81"/>
                <a:gd name="T30" fmla="*/ 8 w 30"/>
                <a:gd name="T31" fmla="*/ 16 h 81"/>
                <a:gd name="T32" fmla="*/ 13 w 30"/>
                <a:gd name="T33" fmla="*/ 11 h 81"/>
                <a:gd name="T34" fmla="*/ 18 w 30"/>
                <a:gd name="T35" fmla="*/ 6 h 81"/>
                <a:gd name="T36" fmla="*/ 24 w 30"/>
                <a:gd name="T37" fmla="*/ 2 h 81"/>
                <a:gd name="T38" fmla="*/ 30 w 30"/>
                <a:gd name="T39" fmla="*/ 0 h 81"/>
                <a:gd name="T40" fmla="*/ 30 w 30"/>
                <a:gd name="T4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81">
                  <a:moveTo>
                    <a:pt x="30" y="0"/>
                  </a:moveTo>
                  <a:lnTo>
                    <a:pt x="30" y="81"/>
                  </a:lnTo>
                  <a:lnTo>
                    <a:pt x="30" y="81"/>
                  </a:lnTo>
                  <a:lnTo>
                    <a:pt x="24" y="79"/>
                  </a:lnTo>
                  <a:lnTo>
                    <a:pt x="18" y="75"/>
                  </a:lnTo>
                  <a:lnTo>
                    <a:pt x="13" y="70"/>
                  </a:lnTo>
                  <a:lnTo>
                    <a:pt x="8" y="66"/>
                  </a:lnTo>
                  <a:lnTo>
                    <a:pt x="4" y="59"/>
                  </a:lnTo>
                  <a:lnTo>
                    <a:pt x="2" y="53"/>
                  </a:lnTo>
                  <a:lnTo>
                    <a:pt x="0" y="47"/>
                  </a:lnTo>
                  <a:lnTo>
                    <a:pt x="0" y="40"/>
                  </a:lnTo>
                  <a:lnTo>
                    <a:pt x="0" y="40"/>
                  </a:lnTo>
                  <a:lnTo>
                    <a:pt x="0" y="34"/>
                  </a:lnTo>
                  <a:lnTo>
                    <a:pt x="2" y="28"/>
                  </a:lnTo>
                  <a:lnTo>
                    <a:pt x="4" y="22"/>
                  </a:lnTo>
                  <a:lnTo>
                    <a:pt x="8" y="16"/>
                  </a:lnTo>
                  <a:lnTo>
                    <a:pt x="13" y="11"/>
                  </a:lnTo>
                  <a:lnTo>
                    <a:pt x="18" y="6"/>
                  </a:lnTo>
                  <a:lnTo>
                    <a:pt x="24" y="2"/>
                  </a:lnTo>
                  <a:lnTo>
                    <a:pt x="30" y="0"/>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59"/>
            <p:cNvSpPr>
              <a:spLocks/>
            </p:cNvSpPr>
            <p:nvPr/>
          </p:nvSpPr>
          <p:spPr bwMode="auto">
            <a:xfrm>
              <a:off x="10059987" y="985838"/>
              <a:ext cx="101600" cy="58737"/>
            </a:xfrm>
            <a:custGeom>
              <a:avLst/>
              <a:gdLst>
                <a:gd name="T0" fmla="*/ 192 w 192"/>
                <a:gd name="T1" fmla="*/ 40 h 111"/>
                <a:gd name="T2" fmla="*/ 192 w 192"/>
                <a:gd name="T3" fmla="*/ 40 h 111"/>
                <a:gd name="T4" fmla="*/ 192 w 192"/>
                <a:gd name="T5" fmla="*/ 51 h 111"/>
                <a:gd name="T6" fmla="*/ 191 w 192"/>
                <a:gd name="T7" fmla="*/ 60 h 111"/>
                <a:gd name="T8" fmla="*/ 187 w 192"/>
                <a:gd name="T9" fmla="*/ 70 h 111"/>
                <a:gd name="T10" fmla="*/ 183 w 192"/>
                <a:gd name="T11" fmla="*/ 80 h 111"/>
                <a:gd name="T12" fmla="*/ 180 w 192"/>
                <a:gd name="T13" fmla="*/ 88 h 111"/>
                <a:gd name="T14" fmla="*/ 174 w 192"/>
                <a:gd name="T15" fmla="*/ 97 h 111"/>
                <a:gd name="T16" fmla="*/ 167 w 192"/>
                <a:gd name="T17" fmla="*/ 104 h 111"/>
                <a:gd name="T18" fmla="*/ 160 w 192"/>
                <a:gd name="T19" fmla="*/ 111 h 111"/>
                <a:gd name="T20" fmla="*/ 160 w 192"/>
                <a:gd name="T21" fmla="*/ 111 h 111"/>
                <a:gd name="T22" fmla="*/ 146 w 192"/>
                <a:gd name="T23" fmla="*/ 105 h 111"/>
                <a:gd name="T24" fmla="*/ 129 w 192"/>
                <a:gd name="T25" fmla="*/ 100 h 111"/>
                <a:gd name="T26" fmla="*/ 113 w 192"/>
                <a:gd name="T27" fmla="*/ 98 h 111"/>
                <a:gd name="T28" fmla="*/ 96 w 192"/>
                <a:gd name="T29" fmla="*/ 97 h 111"/>
                <a:gd name="T30" fmla="*/ 96 w 192"/>
                <a:gd name="T31" fmla="*/ 97 h 111"/>
                <a:gd name="T32" fmla="*/ 79 w 192"/>
                <a:gd name="T33" fmla="*/ 98 h 111"/>
                <a:gd name="T34" fmla="*/ 63 w 192"/>
                <a:gd name="T35" fmla="*/ 100 h 111"/>
                <a:gd name="T36" fmla="*/ 47 w 192"/>
                <a:gd name="T37" fmla="*/ 105 h 111"/>
                <a:gd name="T38" fmla="*/ 32 w 192"/>
                <a:gd name="T39" fmla="*/ 111 h 111"/>
                <a:gd name="T40" fmla="*/ 32 w 192"/>
                <a:gd name="T41" fmla="*/ 111 h 111"/>
                <a:gd name="T42" fmla="*/ 26 w 192"/>
                <a:gd name="T43" fmla="*/ 104 h 111"/>
                <a:gd name="T44" fmla="*/ 18 w 192"/>
                <a:gd name="T45" fmla="*/ 97 h 111"/>
                <a:gd name="T46" fmla="*/ 13 w 192"/>
                <a:gd name="T47" fmla="*/ 88 h 111"/>
                <a:gd name="T48" fmla="*/ 9 w 192"/>
                <a:gd name="T49" fmla="*/ 80 h 111"/>
                <a:gd name="T50" fmla="*/ 5 w 192"/>
                <a:gd name="T51" fmla="*/ 70 h 111"/>
                <a:gd name="T52" fmla="*/ 2 w 192"/>
                <a:gd name="T53" fmla="*/ 60 h 111"/>
                <a:gd name="T54" fmla="*/ 0 w 192"/>
                <a:gd name="T55" fmla="*/ 51 h 111"/>
                <a:gd name="T56" fmla="*/ 0 w 192"/>
                <a:gd name="T57" fmla="*/ 40 h 111"/>
                <a:gd name="T58" fmla="*/ 0 w 192"/>
                <a:gd name="T59" fmla="*/ 40 h 111"/>
                <a:gd name="T60" fmla="*/ 0 w 192"/>
                <a:gd name="T61" fmla="*/ 35 h 111"/>
                <a:gd name="T62" fmla="*/ 2 w 192"/>
                <a:gd name="T63" fmla="*/ 31 h 111"/>
                <a:gd name="T64" fmla="*/ 5 w 192"/>
                <a:gd name="T65" fmla="*/ 26 h 111"/>
                <a:gd name="T66" fmla="*/ 9 w 192"/>
                <a:gd name="T67" fmla="*/ 23 h 111"/>
                <a:gd name="T68" fmla="*/ 18 w 192"/>
                <a:gd name="T69" fmla="*/ 15 h 111"/>
                <a:gd name="T70" fmla="*/ 30 w 192"/>
                <a:gd name="T71" fmla="*/ 11 h 111"/>
                <a:gd name="T72" fmla="*/ 45 w 192"/>
                <a:gd name="T73" fmla="*/ 6 h 111"/>
                <a:gd name="T74" fmla="*/ 61 w 192"/>
                <a:gd name="T75" fmla="*/ 2 h 111"/>
                <a:gd name="T76" fmla="*/ 78 w 192"/>
                <a:gd name="T77" fmla="*/ 1 h 111"/>
                <a:gd name="T78" fmla="*/ 96 w 192"/>
                <a:gd name="T79" fmla="*/ 0 h 111"/>
                <a:gd name="T80" fmla="*/ 114 w 192"/>
                <a:gd name="T81" fmla="*/ 1 h 111"/>
                <a:gd name="T82" fmla="*/ 131 w 192"/>
                <a:gd name="T83" fmla="*/ 2 h 111"/>
                <a:gd name="T84" fmla="*/ 148 w 192"/>
                <a:gd name="T85" fmla="*/ 6 h 111"/>
                <a:gd name="T86" fmla="*/ 163 w 192"/>
                <a:gd name="T87" fmla="*/ 11 h 111"/>
                <a:gd name="T88" fmla="*/ 175 w 192"/>
                <a:gd name="T89" fmla="*/ 15 h 111"/>
                <a:gd name="T90" fmla="*/ 184 w 192"/>
                <a:gd name="T91" fmla="*/ 23 h 111"/>
                <a:gd name="T92" fmla="*/ 188 w 192"/>
                <a:gd name="T93" fmla="*/ 26 h 111"/>
                <a:gd name="T94" fmla="*/ 191 w 192"/>
                <a:gd name="T95" fmla="*/ 31 h 111"/>
                <a:gd name="T96" fmla="*/ 192 w 192"/>
                <a:gd name="T97" fmla="*/ 35 h 111"/>
                <a:gd name="T98" fmla="*/ 192 w 192"/>
                <a:gd name="T99" fmla="*/ 40 h 111"/>
                <a:gd name="T100" fmla="*/ 192 w 192"/>
                <a:gd name="T101" fmla="*/ 4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2" h="111">
                  <a:moveTo>
                    <a:pt x="192" y="40"/>
                  </a:moveTo>
                  <a:lnTo>
                    <a:pt x="192" y="40"/>
                  </a:lnTo>
                  <a:lnTo>
                    <a:pt x="192" y="51"/>
                  </a:lnTo>
                  <a:lnTo>
                    <a:pt x="191" y="60"/>
                  </a:lnTo>
                  <a:lnTo>
                    <a:pt x="187" y="70"/>
                  </a:lnTo>
                  <a:lnTo>
                    <a:pt x="183" y="80"/>
                  </a:lnTo>
                  <a:lnTo>
                    <a:pt x="180" y="88"/>
                  </a:lnTo>
                  <a:lnTo>
                    <a:pt x="174" y="97"/>
                  </a:lnTo>
                  <a:lnTo>
                    <a:pt x="167" y="104"/>
                  </a:lnTo>
                  <a:lnTo>
                    <a:pt x="160" y="111"/>
                  </a:lnTo>
                  <a:lnTo>
                    <a:pt x="160" y="111"/>
                  </a:lnTo>
                  <a:lnTo>
                    <a:pt x="146" y="105"/>
                  </a:lnTo>
                  <a:lnTo>
                    <a:pt x="129" y="100"/>
                  </a:lnTo>
                  <a:lnTo>
                    <a:pt x="113" y="98"/>
                  </a:lnTo>
                  <a:lnTo>
                    <a:pt x="96" y="97"/>
                  </a:lnTo>
                  <a:lnTo>
                    <a:pt x="96" y="97"/>
                  </a:lnTo>
                  <a:lnTo>
                    <a:pt x="79" y="98"/>
                  </a:lnTo>
                  <a:lnTo>
                    <a:pt x="63" y="100"/>
                  </a:lnTo>
                  <a:lnTo>
                    <a:pt x="47" y="105"/>
                  </a:lnTo>
                  <a:lnTo>
                    <a:pt x="32" y="111"/>
                  </a:lnTo>
                  <a:lnTo>
                    <a:pt x="32" y="111"/>
                  </a:lnTo>
                  <a:lnTo>
                    <a:pt x="26" y="104"/>
                  </a:lnTo>
                  <a:lnTo>
                    <a:pt x="18" y="97"/>
                  </a:lnTo>
                  <a:lnTo>
                    <a:pt x="13" y="88"/>
                  </a:lnTo>
                  <a:lnTo>
                    <a:pt x="9" y="80"/>
                  </a:lnTo>
                  <a:lnTo>
                    <a:pt x="5" y="70"/>
                  </a:lnTo>
                  <a:lnTo>
                    <a:pt x="2" y="60"/>
                  </a:lnTo>
                  <a:lnTo>
                    <a:pt x="0" y="51"/>
                  </a:lnTo>
                  <a:lnTo>
                    <a:pt x="0" y="40"/>
                  </a:lnTo>
                  <a:lnTo>
                    <a:pt x="0" y="40"/>
                  </a:lnTo>
                  <a:lnTo>
                    <a:pt x="0" y="35"/>
                  </a:lnTo>
                  <a:lnTo>
                    <a:pt x="2" y="31"/>
                  </a:lnTo>
                  <a:lnTo>
                    <a:pt x="5" y="26"/>
                  </a:lnTo>
                  <a:lnTo>
                    <a:pt x="9" y="23"/>
                  </a:lnTo>
                  <a:lnTo>
                    <a:pt x="18" y="15"/>
                  </a:lnTo>
                  <a:lnTo>
                    <a:pt x="30" y="11"/>
                  </a:lnTo>
                  <a:lnTo>
                    <a:pt x="45" y="6"/>
                  </a:lnTo>
                  <a:lnTo>
                    <a:pt x="61" y="2"/>
                  </a:lnTo>
                  <a:lnTo>
                    <a:pt x="78" y="1"/>
                  </a:lnTo>
                  <a:lnTo>
                    <a:pt x="96" y="0"/>
                  </a:lnTo>
                  <a:lnTo>
                    <a:pt x="114" y="1"/>
                  </a:lnTo>
                  <a:lnTo>
                    <a:pt x="131" y="2"/>
                  </a:lnTo>
                  <a:lnTo>
                    <a:pt x="148" y="6"/>
                  </a:lnTo>
                  <a:lnTo>
                    <a:pt x="163" y="11"/>
                  </a:lnTo>
                  <a:lnTo>
                    <a:pt x="175" y="15"/>
                  </a:lnTo>
                  <a:lnTo>
                    <a:pt x="184" y="23"/>
                  </a:lnTo>
                  <a:lnTo>
                    <a:pt x="188" y="26"/>
                  </a:lnTo>
                  <a:lnTo>
                    <a:pt x="191" y="31"/>
                  </a:lnTo>
                  <a:lnTo>
                    <a:pt x="192" y="35"/>
                  </a:lnTo>
                  <a:lnTo>
                    <a:pt x="192" y="40"/>
                  </a:lnTo>
                  <a:lnTo>
                    <a:pt x="192"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60"/>
            <p:cNvSpPr>
              <a:spLocks noEditPoints="1"/>
            </p:cNvSpPr>
            <p:nvPr/>
          </p:nvSpPr>
          <p:spPr bwMode="auto">
            <a:xfrm>
              <a:off x="10023475" y="1042988"/>
              <a:ext cx="147638" cy="149225"/>
            </a:xfrm>
            <a:custGeom>
              <a:avLst/>
              <a:gdLst>
                <a:gd name="T0" fmla="*/ 267 w 278"/>
                <a:gd name="T1" fmla="*/ 79 h 282"/>
                <a:gd name="T2" fmla="*/ 243 w 278"/>
                <a:gd name="T3" fmla="*/ 151 h 282"/>
                <a:gd name="T4" fmla="*/ 231 w 278"/>
                <a:gd name="T5" fmla="*/ 228 h 282"/>
                <a:gd name="T6" fmla="*/ 229 w 278"/>
                <a:gd name="T7" fmla="*/ 266 h 282"/>
                <a:gd name="T8" fmla="*/ 212 w 278"/>
                <a:gd name="T9" fmla="*/ 278 h 282"/>
                <a:gd name="T10" fmla="*/ 154 w 278"/>
                <a:gd name="T11" fmla="*/ 282 h 282"/>
                <a:gd name="T12" fmla="*/ 97 w 278"/>
                <a:gd name="T13" fmla="*/ 276 h 282"/>
                <a:gd name="T14" fmla="*/ 49 w 278"/>
                <a:gd name="T15" fmla="*/ 260 h 282"/>
                <a:gd name="T16" fmla="*/ 13 w 278"/>
                <a:gd name="T17" fmla="*/ 235 h 282"/>
                <a:gd name="T18" fmla="*/ 3 w 278"/>
                <a:gd name="T19" fmla="*/ 213 h 282"/>
                <a:gd name="T20" fmla="*/ 0 w 278"/>
                <a:gd name="T21" fmla="*/ 199 h 282"/>
                <a:gd name="T22" fmla="*/ 7 w 278"/>
                <a:gd name="T23" fmla="*/ 140 h 282"/>
                <a:gd name="T24" fmla="*/ 28 w 278"/>
                <a:gd name="T25" fmla="*/ 89 h 282"/>
                <a:gd name="T26" fmla="*/ 60 w 278"/>
                <a:gd name="T27" fmla="*/ 46 h 282"/>
                <a:gd name="T28" fmla="*/ 101 w 278"/>
                <a:gd name="T29" fmla="*/ 16 h 282"/>
                <a:gd name="T30" fmla="*/ 147 w 278"/>
                <a:gd name="T31" fmla="*/ 2 h 282"/>
                <a:gd name="T32" fmla="*/ 181 w 278"/>
                <a:gd name="T33" fmla="*/ 2 h 282"/>
                <a:gd name="T34" fmla="*/ 227 w 278"/>
                <a:gd name="T35" fmla="*/ 16 h 282"/>
                <a:gd name="T36" fmla="*/ 266 w 278"/>
                <a:gd name="T37" fmla="*/ 44 h 282"/>
                <a:gd name="T38" fmla="*/ 193 w 278"/>
                <a:gd name="T39" fmla="*/ 94 h 282"/>
                <a:gd name="T40" fmla="*/ 226 w 278"/>
                <a:gd name="T41" fmla="*/ 84 h 282"/>
                <a:gd name="T42" fmla="*/ 212 w 278"/>
                <a:gd name="T43" fmla="*/ 59 h 282"/>
                <a:gd name="T44" fmla="*/ 187 w 278"/>
                <a:gd name="T45" fmla="*/ 42 h 282"/>
                <a:gd name="T46" fmla="*/ 153 w 278"/>
                <a:gd name="T47" fmla="*/ 26 h 282"/>
                <a:gd name="T48" fmla="*/ 142 w 278"/>
                <a:gd name="T49" fmla="*/ 42 h 282"/>
                <a:gd name="T50" fmla="*/ 115 w 278"/>
                <a:gd name="T51" fmla="*/ 59 h 282"/>
                <a:gd name="T52" fmla="*/ 102 w 278"/>
                <a:gd name="T53" fmla="*/ 84 h 282"/>
                <a:gd name="T54" fmla="*/ 102 w 278"/>
                <a:gd name="T55" fmla="*/ 105 h 282"/>
                <a:gd name="T56" fmla="*/ 115 w 278"/>
                <a:gd name="T57" fmla="*/ 130 h 282"/>
                <a:gd name="T58" fmla="*/ 142 w 278"/>
                <a:gd name="T59" fmla="*/ 146 h 282"/>
                <a:gd name="T60" fmla="*/ 153 w 278"/>
                <a:gd name="T61" fmla="*/ 201 h 282"/>
                <a:gd name="T62" fmla="*/ 136 w 278"/>
                <a:gd name="T63" fmla="*/ 184 h 282"/>
                <a:gd name="T64" fmla="*/ 101 w 278"/>
                <a:gd name="T65" fmla="*/ 176 h 282"/>
                <a:gd name="T66" fmla="*/ 109 w 278"/>
                <a:gd name="T67" fmla="*/ 204 h 282"/>
                <a:gd name="T68" fmla="*/ 132 w 278"/>
                <a:gd name="T69" fmla="*/ 225 h 282"/>
                <a:gd name="T70" fmla="*/ 153 w 278"/>
                <a:gd name="T71" fmla="*/ 244 h 282"/>
                <a:gd name="T72" fmla="*/ 176 w 278"/>
                <a:gd name="T73" fmla="*/ 232 h 282"/>
                <a:gd name="T74" fmla="*/ 205 w 278"/>
                <a:gd name="T75" fmla="*/ 219 h 282"/>
                <a:gd name="T76" fmla="*/ 223 w 278"/>
                <a:gd name="T77" fmla="*/ 196 h 282"/>
                <a:gd name="T78" fmla="*/ 227 w 278"/>
                <a:gd name="T79" fmla="*/ 176 h 282"/>
                <a:gd name="T80" fmla="*/ 218 w 278"/>
                <a:gd name="T81" fmla="*/ 148 h 282"/>
                <a:gd name="T82" fmla="*/ 197 w 278"/>
                <a:gd name="T83" fmla="*/ 128 h 282"/>
                <a:gd name="T84" fmla="*/ 176 w 278"/>
                <a:gd name="T85" fmla="*/ 71 h 282"/>
                <a:gd name="T86" fmla="*/ 188 w 278"/>
                <a:gd name="T87" fmla="*/ 80 h 282"/>
                <a:gd name="T88" fmla="*/ 193 w 278"/>
                <a:gd name="T89" fmla="*/ 9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8" h="282">
                  <a:moveTo>
                    <a:pt x="278" y="57"/>
                  </a:moveTo>
                  <a:lnTo>
                    <a:pt x="278" y="57"/>
                  </a:lnTo>
                  <a:lnTo>
                    <a:pt x="267" y="79"/>
                  </a:lnTo>
                  <a:lnTo>
                    <a:pt x="257" y="102"/>
                  </a:lnTo>
                  <a:lnTo>
                    <a:pt x="249" y="125"/>
                  </a:lnTo>
                  <a:lnTo>
                    <a:pt x="243" y="151"/>
                  </a:lnTo>
                  <a:lnTo>
                    <a:pt x="237" y="176"/>
                  </a:lnTo>
                  <a:lnTo>
                    <a:pt x="233" y="202"/>
                  </a:lnTo>
                  <a:lnTo>
                    <a:pt x="231" y="228"/>
                  </a:lnTo>
                  <a:lnTo>
                    <a:pt x="229" y="256"/>
                  </a:lnTo>
                  <a:lnTo>
                    <a:pt x="229" y="256"/>
                  </a:lnTo>
                  <a:lnTo>
                    <a:pt x="229" y="266"/>
                  </a:lnTo>
                  <a:lnTo>
                    <a:pt x="232" y="276"/>
                  </a:lnTo>
                  <a:lnTo>
                    <a:pt x="232" y="276"/>
                  </a:lnTo>
                  <a:lnTo>
                    <a:pt x="212" y="278"/>
                  </a:lnTo>
                  <a:lnTo>
                    <a:pt x="194" y="281"/>
                  </a:lnTo>
                  <a:lnTo>
                    <a:pt x="174" y="282"/>
                  </a:lnTo>
                  <a:lnTo>
                    <a:pt x="154" y="282"/>
                  </a:lnTo>
                  <a:lnTo>
                    <a:pt x="135" y="281"/>
                  </a:lnTo>
                  <a:lnTo>
                    <a:pt x="115" y="278"/>
                  </a:lnTo>
                  <a:lnTo>
                    <a:pt x="97" y="276"/>
                  </a:lnTo>
                  <a:lnTo>
                    <a:pt x="80" y="271"/>
                  </a:lnTo>
                  <a:lnTo>
                    <a:pt x="63" y="266"/>
                  </a:lnTo>
                  <a:lnTo>
                    <a:pt x="49" y="260"/>
                  </a:lnTo>
                  <a:lnTo>
                    <a:pt x="34" y="253"/>
                  </a:lnTo>
                  <a:lnTo>
                    <a:pt x="23" y="244"/>
                  </a:lnTo>
                  <a:lnTo>
                    <a:pt x="13" y="235"/>
                  </a:lnTo>
                  <a:lnTo>
                    <a:pt x="6" y="224"/>
                  </a:lnTo>
                  <a:lnTo>
                    <a:pt x="4" y="218"/>
                  </a:lnTo>
                  <a:lnTo>
                    <a:pt x="3" y="213"/>
                  </a:lnTo>
                  <a:lnTo>
                    <a:pt x="1" y="205"/>
                  </a:lnTo>
                  <a:lnTo>
                    <a:pt x="0" y="199"/>
                  </a:lnTo>
                  <a:lnTo>
                    <a:pt x="0" y="199"/>
                  </a:lnTo>
                  <a:lnTo>
                    <a:pt x="1" y="179"/>
                  </a:lnTo>
                  <a:lnTo>
                    <a:pt x="4" y="159"/>
                  </a:lnTo>
                  <a:lnTo>
                    <a:pt x="7" y="140"/>
                  </a:lnTo>
                  <a:lnTo>
                    <a:pt x="13" y="122"/>
                  </a:lnTo>
                  <a:lnTo>
                    <a:pt x="21" y="105"/>
                  </a:lnTo>
                  <a:lnTo>
                    <a:pt x="28" y="89"/>
                  </a:lnTo>
                  <a:lnTo>
                    <a:pt x="38" y="73"/>
                  </a:lnTo>
                  <a:lnTo>
                    <a:pt x="49" y="59"/>
                  </a:lnTo>
                  <a:lnTo>
                    <a:pt x="60" y="46"/>
                  </a:lnTo>
                  <a:lnTo>
                    <a:pt x="73" y="34"/>
                  </a:lnTo>
                  <a:lnTo>
                    <a:pt x="86" y="25"/>
                  </a:lnTo>
                  <a:lnTo>
                    <a:pt x="101" y="16"/>
                  </a:lnTo>
                  <a:lnTo>
                    <a:pt x="115" y="10"/>
                  </a:lnTo>
                  <a:lnTo>
                    <a:pt x="131" y="5"/>
                  </a:lnTo>
                  <a:lnTo>
                    <a:pt x="147" y="2"/>
                  </a:lnTo>
                  <a:lnTo>
                    <a:pt x="164" y="0"/>
                  </a:lnTo>
                  <a:lnTo>
                    <a:pt x="164" y="0"/>
                  </a:lnTo>
                  <a:lnTo>
                    <a:pt x="181" y="2"/>
                  </a:lnTo>
                  <a:lnTo>
                    <a:pt x="197" y="5"/>
                  </a:lnTo>
                  <a:lnTo>
                    <a:pt x="211" y="10"/>
                  </a:lnTo>
                  <a:lnTo>
                    <a:pt x="227" y="16"/>
                  </a:lnTo>
                  <a:lnTo>
                    <a:pt x="240" y="23"/>
                  </a:lnTo>
                  <a:lnTo>
                    <a:pt x="254" y="33"/>
                  </a:lnTo>
                  <a:lnTo>
                    <a:pt x="266" y="44"/>
                  </a:lnTo>
                  <a:lnTo>
                    <a:pt x="278" y="57"/>
                  </a:lnTo>
                  <a:lnTo>
                    <a:pt x="278" y="57"/>
                  </a:lnTo>
                  <a:close/>
                  <a:moveTo>
                    <a:pt x="193" y="94"/>
                  </a:moveTo>
                  <a:lnTo>
                    <a:pt x="227" y="94"/>
                  </a:lnTo>
                  <a:lnTo>
                    <a:pt x="227" y="94"/>
                  </a:lnTo>
                  <a:lnTo>
                    <a:pt x="226" y="84"/>
                  </a:lnTo>
                  <a:lnTo>
                    <a:pt x="223" y="74"/>
                  </a:lnTo>
                  <a:lnTo>
                    <a:pt x="218" y="66"/>
                  </a:lnTo>
                  <a:lnTo>
                    <a:pt x="212" y="59"/>
                  </a:lnTo>
                  <a:lnTo>
                    <a:pt x="205" y="51"/>
                  </a:lnTo>
                  <a:lnTo>
                    <a:pt x="197" y="46"/>
                  </a:lnTo>
                  <a:lnTo>
                    <a:pt x="187" y="42"/>
                  </a:lnTo>
                  <a:lnTo>
                    <a:pt x="176" y="39"/>
                  </a:lnTo>
                  <a:lnTo>
                    <a:pt x="176" y="26"/>
                  </a:lnTo>
                  <a:lnTo>
                    <a:pt x="153" y="26"/>
                  </a:lnTo>
                  <a:lnTo>
                    <a:pt x="153" y="39"/>
                  </a:lnTo>
                  <a:lnTo>
                    <a:pt x="153" y="39"/>
                  </a:lnTo>
                  <a:lnTo>
                    <a:pt x="142" y="42"/>
                  </a:lnTo>
                  <a:lnTo>
                    <a:pt x="132" y="46"/>
                  </a:lnTo>
                  <a:lnTo>
                    <a:pt x="124" y="51"/>
                  </a:lnTo>
                  <a:lnTo>
                    <a:pt x="115" y="59"/>
                  </a:lnTo>
                  <a:lnTo>
                    <a:pt x="109" y="66"/>
                  </a:lnTo>
                  <a:lnTo>
                    <a:pt x="104" y="74"/>
                  </a:lnTo>
                  <a:lnTo>
                    <a:pt x="102" y="84"/>
                  </a:lnTo>
                  <a:lnTo>
                    <a:pt x="101" y="94"/>
                  </a:lnTo>
                  <a:lnTo>
                    <a:pt x="101" y="94"/>
                  </a:lnTo>
                  <a:lnTo>
                    <a:pt x="102" y="105"/>
                  </a:lnTo>
                  <a:lnTo>
                    <a:pt x="104" y="113"/>
                  </a:lnTo>
                  <a:lnTo>
                    <a:pt x="109" y="123"/>
                  </a:lnTo>
                  <a:lnTo>
                    <a:pt x="115" y="130"/>
                  </a:lnTo>
                  <a:lnTo>
                    <a:pt x="124" y="136"/>
                  </a:lnTo>
                  <a:lnTo>
                    <a:pt x="132" y="142"/>
                  </a:lnTo>
                  <a:lnTo>
                    <a:pt x="142" y="146"/>
                  </a:lnTo>
                  <a:lnTo>
                    <a:pt x="153" y="150"/>
                  </a:lnTo>
                  <a:lnTo>
                    <a:pt x="153" y="201"/>
                  </a:lnTo>
                  <a:lnTo>
                    <a:pt x="153" y="201"/>
                  </a:lnTo>
                  <a:lnTo>
                    <a:pt x="146" y="197"/>
                  </a:lnTo>
                  <a:lnTo>
                    <a:pt x="140" y="191"/>
                  </a:lnTo>
                  <a:lnTo>
                    <a:pt x="136" y="184"/>
                  </a:lnTo>
                  <a:lnTo>
                    <a:pt x="135" y="176"/>
                  </a:lnTo>
                  <a:lnTo>
                    <a:pt x="101" y="176"/>
                  </a:lnTo>
                  <a:lnTo>
                    <a:pt x="101" y="176"/>
                  </a:lnTo>
                  <a:lnTo>
                    <a:pt x="102" y="186"/>
                  </a:lnTo>
                  <a:lnTo>
                    <a:pt x="104" y="196"/>
                  </a:lnTo>
                  <a:lnTo>
                    <a:pt x="109" y="204"/>
                  </a:lnTo>
                  <a:lnTo>
                    <a:pt x="115" y="213"/>
                  </a:lnTo>
                  <a:lnTo>
                    <a:pt x="124" y="219"/>
                  </a:lnTo>
                  <a:lnTo>
                    <a:pt x="132" y="225"/>
                  </a:lnTo>
                  <a:lnTo>
                    <a:pt x="142" y="228"/>
                  </a:lnTo>
                  <a:lnTo>
                    <a:pt x="153" y="232"/>
                  </a:lnTo>
                  <a:lnTo>
                    <a:pt x="153" y="244"/>
                  </a:lnTo>
                  <a:lnTo>
                    <a:pt x="176" y="244"/>
                  </a:lnTo>
                  <a:lnTo>
                    <a:pt x="176" y="232"/>
                  </a:lnTo>
                  <a:lnTo>
                    <a:pt x="176" y="232"/>
                  </a:lnTo>
                  <a:lnTo>
                    <a:pt x="187" y="228"/>
                  </a:lnTo>
                  <a:lnTo>
                    <a:pt x="197" y="225"/>
                  </a:lnTo>
                  <a:lnTo>
                    <a:pt x="205" y="219"/>
                  </a:lnTo>
                  <a:lnTo>
                    <a:pt x="212" y="213"/>
                  </a:lnTo>
                  <a:lnTo>
                    <a:pt x="218" y="204"/>
                  </a:lnTo>
                  <a:lnTo>
                    <a:pt x="223" y="196"/>
                  </a:lnTo>
                  <a:lnTo>
                    <a:pt x="226" y="186"/>
                  </a:lnTo>
                  <a:lnTo>
                    <a:pt x="227" y="176"/>
                  </a:lnTo>
                  <a:lnTo>
                    <a:pt x="227" y="176"/>
                  </a:lnTo>
                  <a:lnTo>
                    <a:pt x="226" y="167"/>
                  </a:lnTo>
                  <a:lnTo>
                    <a:pt x="223" y="157"/>
                  </a:lnTo>
                  <a:lnTo>
                    <a:pt x="218" y="148"/>
                  </a:lnTo>
                  <a:lnTo>
                    <a:pt x="212" y="141"/>
                  </a:lnTo>
                  <a:lnTo>
                    <a:pt x="205" y="134"/>
                  </a:lnTo>
                  <a:lnTo>
                    <a:pt x="197" y="128"/>
                  </a:lnTo>
                  <a:lnTo>
                    <a:pt x="187" y="124"/>
                  </a:lnTo>
                  <a:lnTo>
                    <a:pt x="176" y="122"/>
                  </a:lnTo>
                  <a:lnTo>
                    <a:pt x="176" y="71"/>
                  </a:lnTo>
                  <a:lnTo>
                    <a:pt x="176" y="71"/>
                  </a:lnTo>
                  <a:lnTo>
                    <a:pt x="183" y="74"/>
                  </a:lnTo>
                  <a:lnTo>
                    <a:pt x="188" y="80"/>
                  </a:lnTo>
                  <a:lnTo>
                    <a:pt x="192" y="87"/>
                  </a:lnTo>
                  <a:lnTo>
                    <a:pt x="193" y="94"/>
                  </a:lnTo>
                  <a:lnTo>
                    <a:pt x="193"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61"/>
            <p:cNvSpPr>
              <a:spLocks/>
            </p:cNvSpPr>
            <p:nvPr/>
          </p:nvSpPr>
          <p:spPr bwMode="auto">
            <a:xfrm>
              <a:off x="10117137" y="1123950"/>
              <a:ext cx="9525" cy="25400"/>
            </a:xfrm>
            <a:custGeom>
              <a:avLst/>
              <a:gdLst>
                <a:gd name="T0" fmla="*/ 0 w 17"/>
                <a:gd name="T1" fmla="*/ 0 h 48"/>
                <a:gd name="T2" fmla="*/ 0 w 17"/>
                <a:gd name="T3" fmla="*/ 0 h 48"/>
                <a:gd name="T4" fmla="*/ 7 w 17"/>
                <a:gd name="T5" fmla="*/ 4 h 48"/>
                <a:gd name="T6" fmla="*/ 12 w 17"/>
                <a:gd name="T7" fmla="*/ 9 h 48"/>
                <a:gd name="T8" fmla="*/ 16 w 17"/>
                <a:gd name="T9" fmla="*/ 16 h 48"/>
                <a:gd name="T10" fmla="*/ 17 w 17"/>
                <a:gd name="T11" fmla="*/ 23 h 48"/>
                <a:gd name="T12" fmla="*/ 17 w 17"/>
                <a:gd name="T13" fmla="*/ 23 h 48"/>
                <a:gd name="T14" fmla="*/ 16 w 17"/>
                <a:gd name="T15" fmla="*/ 31 h 48"/>
                <a:gd name="T16" fmla="*/ 12 w 17"/>
                <a:gd name="T17" fmla="*/ 38 h 48"/>
                <a:gd name="T18" fmla="*/ 7 w 17"/>
                <a:gd name="T19" fmla="*/ 44 h 48"/>
                <a:gd name="T20" fmla="*/ 0 w 17"/>
                <a:gd name="T21" fmla="*/ 48 h 48"/>
                <a:gd name="T22" fmla="*/ 0 w 17"/>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48">
                  <a:moveTo>
                    <a:pt x="0" y="0"/>
                  </a:moveTo>
                  <a:lnTo>
                    <a:pt x="0" y="0"/>
                  </a:lnTo>
                  <a:lnTo>
                    <a:pt x="7" y="4"/>
                  </a:lnTo>
                  <a:lnTo>
                    <a:pt x="12" y="9"/>
                  </a:lnTo>
                  <a:lnTo>
                    <a:pt x="16" y="16"/>
                  </a:lnTo>
                  <a:lnTo>
                    <a:pt x="17" y="23"/>
                  </a:lnTo>
                  <a:lnTo>
                    <a:pt x="17" y="23"/>
                  </a:lnTo>
                  <a:lnTo>
                    <a:pt x="16" y="31"/>
                  </a:lnTo>
                  <a:lnTo>
                    <a:pt x="12" y="38"/>
                  </a:lnTo>
                  <a:lnTo>
                    <a:pt x="7" y="44"/>
                  </a:lnTo>
                  <a:lnTo>
                    <a:pt x="0" y="4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2"/>
            <p:cNvSpPr>
              <a:spLocks/>
            </p:cNvSpPr>
            <p:nvPr/>
          </p:nvSpPr>
          <p:spPr bwMode="auto">
            <a:xfrm>
              <a:off x="10094912" y="1079500"/>
              <a:ext cx="9525" cy="25400"/>
            </a:xfrm>
            <a:custGeom>
              <a:avLst/>
              <a:gdLst>
                <a:gd name="T0" fmla="*/ 18 w 18"/>
                <a:gd name="T1" fmla="*/ 0 h 47"/>
                <a:gd name="T2" fmla="*/ 18 w 18"/>
                <a:gd name="T3" fmla="*/ 47 h 47"/>
                <a:gd name="T4" fmla="*/ 18 w 18"/>
                <a:gd name="T5" fmla="*/ 47 h 47"/>
                <a:gd name="T6" fmla="*/ 11 w 18"/>
                <a:gd name="T7" fmla="*/ 43 h 47"/>
                <a:gd name="T8" fmla="*/ 5 w 18"/>
                <a:gd name="T9" fmla="*/ 37 h 47"/>
                <a:gd name="T10" fmla="*/ 1 w 18"/>
                <a:gd name="T11" fmla="*/ 31 h 47"/>
                <a:gd name="T12" fmla="*/ 0 w 18"/>
                <a:gd name="T13" fmla="*/ 23 h 47"/>
                <a:gd name="T14" fmla="*/ 0 w 18"/>
                <a:gd name="T15" fmla="*/ 23 h 47"/>
                <a:gd name="T16" fmla="*/ 1 w 18"/>
                <a:gd name="T17" fmla="*/ 16 h 47"/>
                <a:gd name="T18" fmla="*/ 5 w 18"/>
                <a:gd name="T19" fmla="*/ 9 h 47"/>
                <a:gd name="T20" fmla="*/ 11 w 18"/>
                <a:gd name="T21" fmla="*/ 3 h 47"/>
                <a:gd name="T22" fmla="*/ 18 w 18"/>
                <a:gd name="T23" fmla="*/ 0 h 47"/>
                <a:gd name="T24" fmla="*/ 18 w 18"/>
                <a:gd name="T2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47">
                  <a:moveTo>
                    <a:pt x="18" y="0"/>
                  </a:moveTo>
                  <a:lnTo>
                    <a:pt x="18" y="47"/>
                  </a:lnTo>
                  <a:lnTo>
                    <a:pt x="18" y="47"/>
                  </a:lnTo>
                  <a:lnTo>
                    <a:pt x="11" y="43"/>
                  </a:lnTo>
                  <a:lnTo>
                    <a:pt x="5" y="37"/>
                  </a:lnTo>
                  <a:lnTo>
                    <a:pt x="1" y="31"/>
                  </a:lnTo>
                  <a:lnTo>
                    <a:pt x="0" y="23"/>
                  </a:lnTo>
                  <a:lnTo>
                    <a:pt x="0" y="23"/>
                  </a:lnTo>
                  <a:lnTo>
                    <a:pt x="1" y="16"/>
                  </a:lnTo>
                  <a:lnTo>
                    <a:pt x="5" y="9"/>
                  </a:lnTo>
                  <a:lnTo>
                    <a:pt x="11" y="3"/>
                  </a:lnTo>
                  <a:lnTo>
                    <a:pt x="18" y="0"/>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4" name="Title 1"/>
          <p:cNvSpPr txBox="1">
            <a:spLocks/>
          </p:cNvSpPr>
          <p:nvPr/>
        </p:nvSpPr>
        <p:spPr>
          <a:xfrm>
            <a:off x="579980" y="3721440"/>
            <a:ext cx="3190510" cy="1089529"/>
          </a:xfrm>
          <a:prstGeom prst="rect">
            <a:avLst/>
          </a:prstGeom>
        </p:spPr>
        <p:txBody>
          <a:bodyPr vert="horz" wrap="square" lIns="91416" tIns="45708" rIns="91416" bIns="45708" rtlCol="0" anchor="ctr">
            <a:noAutofit/>
          </a:bodyPr>
          <a:lstStyle>
            <a:defPPr>
              <a:defRPr lang="en-US"/>
            </a:defPPr>
            <a:lvl1pPr>
              <a:lnSpc>
                <a:spcPct val="90000"/>
              </a:lnSpc>
              <a:spcBef>
                <a:spcPct val="0"/>
              </a:spcBef>
              <a:buNone/>
              <a:defRPr sz="3600" b="1" spc="-150">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defRPr>
            </a:lvl1pPr>
          </a:lstStyle>
          <a:p>
            <a:r>
              <a:rPr lang="en-US" dirty="0">
                <a:solidFill>
                  <a:srgbClr val="01678C"/>
                </a:solidFill>
              </a:rPr>
              <a:t>Social Media </a:t>
            </a:r>
            <a:r>
              <a:rPr lang="en-US" dirty="0"/>
              <a:t>Is Works</a:t>
            </a:r>
          </a:p>
        </p:txBody>
      </p:sp>
      <p:sp>
        <p:nvSpPr>
          <p:cNvPr id="75" name="Rectangle 74"/>
          <p:cNvSpPr/>
          <p:nvPr/>
        </p:nvSpPr>
        <p:spPr>
          <a:xfrm>
            <a:off x="603816" y="5108897"/>
            <a:ext cx="3314060" cy="769441"/>
          </a:xfrm>
          <a:prstGeom prst="rect">
            <a:avLst/>
          </a:prstGeom>
        </p:spPr>
        <p:txBody>
          <a:bodyPr wrap="square">
            <a:spAutoFit/>
          </a:bodyPr>
          <a:lstStyle/>
          <a:p>
            <a:pPr>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ermentuLorem ipsum dolor sit amet, consectetur adipiscing elit. Nulla imperdiet volutpat dui</a:t>
            </a:r>
          </a:p>
        </p:txBody>
      </p:sp>
    </p:spTree>
    <p:extLst>
      <p:ext uri="{BB962C8B-B14F-4D97-AF65-F5344CB8AC3E}">
        <p14:creationId xmlns:p14="http://schemas.microsoft.com/office/powerpoint/2010/main" val="1519910940"/>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23" y="6664283"/>
            <a:ext cx="12189983" cy="206419"/>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
          <p:cNvSpPr/>
          <p:nvPr/>
        </p:nvSpPr>
        <p:spPr>
          <a:xfrm>
            <a:off x="5056966" y="6530678"/>
            <a:ext cx="2078068" cy="222924"/>
          </a:xfrm>
          <a:prstGeom prst="roundRect">
            <a:avLst>
              <a:gd name="adj" fmla="val 50000"/>
            </a:avLst>
          </a:prstGeom>
          <a:solidFill>
            <a:srgbClr val="018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effectLst>
                <a:outerShdw blurRad="63500" sx="102000" sy="102000" algn="ctr" rotWithShape="0">
                  <a:prstClr val="black">
                    <a:alpha val="40000"/>
                  </a:prstClr>
                </a:outerShdw>
              </a:effectLst>
              <a:latin typeface="+mj-lt"/>
            </a:endParaRPr>
          </a:p>
        </p:txBody>
      </p:sp>
      <p:cxnSp>
        <p:nvCxnSpPr>
          <p:cNvPr id="4" name="Straight Connector 3"/>
          <p:cNvCxnSpPr/>
          <p:nvPr/>
        </p:nvCxnSpPr>
        <p:spPr>
          <a:xfrm>
            <a:off x="6512721" y="6567488"/>
            <a:ext cx="0" cy="154781"/>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6665393" y="6505535"/>
            <a:ext cx="335348" cy="261610"/>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14</a:t>
            </a:r>
          </a:p>
        </p:txBody>
      </p:sp>
      <p:sp>
        <p:nvSpPr>
          <p:cNvPr id="6" name="Date Placeholder 1"/>
          <p:cNvSpPr txBox="1">
            <a:spLocks/>
          </p:cNvSpPr>
          <p:nvPr>
            <p:custDataLst>
              <p:tags r:id="rId1"/>
            </p:custDataLst>
          </p:nvPr>
        </p:nvSpPr>
        <p:spPr>
          <a:xfrm>
            <a:off x="5006809" y="6498189"/>
            <a:ext cx="1530941"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Segoe UI" panose="020B0502040204020203" pitchFamily="34" charset="0"/>
                <a:ea typeface="Open Sans Light" panose="020B0306030504020204" pitchFamily="34" charset="0"/>
                <a:cs typeface="Segoe UI" panose="020B0502040204020203" pitchFamily="34" charset="0"/>
              </a:rPr>
              <a:t>www.yourcompanyname.com</a:t>
            </a:r>
          </a:p>
        </p:txBody>
      </p:sp>
      <p:sp>
        <p:nvSpPr>
          <p:cNvPr id="7" name="Title 11"/>
          <p:cNvSpPr txBox="1">
            <a:spLocks/>
          </p:cNvSpPr>
          <p:nvPr/>
        </p:nvSpPr>
        <p:spPr>
          <a:xfrm>
            <a:off x="987778" y="513848"/>
            <a:ext cx="10216444"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1" spc="-150" dirty="0">
                <a:solidFill>
                  <a:srgbClr val="01678C"/>
                </a:solidFill>
                <a:latin typeface="Montserrat" panose="00000500000000000000" pitchFamily="2" charset="0"/>
                <a:ea typeface="Roboto" panose="02000000000000000000" pitchFamily="2" charset="0"/>
                <a:cs typeface="Times New Roman" panose="02020603050405020304" pitchFamily="18" charset="0"/>
              </a:rPr>
              <a:t>Marketing</a:t>
            </a:r>
            <a:r>
              <a:rPr lang="en-US" sz="3600" b="1" spc="-150" dirty="0">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rPr>
              <a:t> </a:t>
            </a:r>
            <a:r>
              <a:rPr lang="en-US" sz="3600" spc="-150" dirty="0">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rPr>
              <a:t>Infographic </a:t>
            </a:r>
          </a:p>
        </p:txBody>
      </p:sp>
      <p:sp>
        <p:nvSpPr>
          <p:cNvPr id="8" name="Title 11"/>
          <p:cNvSpPr txBox="1">
            <a:spLocks/>
          </p:cNvSpPr>
          <p:nvPr/>
        </p:nvSpPr>
        <p:spPr>
          <a:xfrm>
            <a:off x="4378420" y="1145552"/>
            <a:ext cx="3435161" cy="192764"/>
          </a:xfrm>
          <a:prstGeom prst="rect">
            <a:avLst/>
          </a:prstGeom>
        </p:spPr>
        <p:txBody>
          <a:bodyPr vert="horz"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dirty="0">
                <a:solidFill>
                  <a:schemeClr val="tx1">
                    <a:lumMod val="85000"/>
                    <a:lumOff val="15000"/>
                  </a:schemeClr>
                </a:solidFill>
                <a:ea typeface="Roboto" panose="02000000000000000000" pitchFamily="2" charset="0"/>
                <a:cs typeface="Open Sans Light" panose="020B0306030504020204" pitchFamily="34" charset="0"/>
              </a:rPr>
              <a:t>Insert Your Creative Idea </a:t>
            </a:r>
          </a:p>
        </p:txBody>
      </p:sp>
      <p:grpSp>
        <p:nvGrpSpPr>
          <p:cNvPr id="9" name="Group 8"/>
          <p:cNvGrpSpPr/>
          <p:nvPr/>
        </p:nvGrpSpPr>
        <p:grpSpPr>
          <a:xfrm>
            <a:off x="1035931" y="2565185"/>
            <a:ext cx="4229294" cy="4405790"/>
            <a:chOff x="4503031" y="1920668"/>
            <a:chExt cx="3732725" cy="3888498"/>
          </a:xfrm>
        </p:grpSpPr>
        <p:grpSp>
          <p:nvGrpSpPr>
            <p:cNvPr id="10" name="Group 9"/>
            <p:cNvGrpSpPr/>
            <p:nvPr/>
          </p:nvGrpSpPr>
          <p:grpSpPr>
            <a:xfrm>
              <a:off x="6135515" y="2941115"/>
              <a:ext cx="1648515" cy="2010367"/>
              <a:chOff x="1434372" y="1869837"/>
              <a:chExt cx="4090328" cy="4988163"/>
            </a:xfrm>
          </p:grpSpPr>
          <p:sp>
            <p:nvSpPr>
              <p:cNvPr id="27" name="Freeform 119"/>
              <p:cNvSpPr>
                <a:spLocks/>
              </p:cNvSpPr>
              <p:nvPr/>
            </p:nvSpPr>
            <p:spPr bwMode="auto">
              <a:xfrm>
                <a:off x="2189287" y="5457883"/>
                <a:ext cx="3335413" cy="1400117"/>
              </a:xfrm>
              <a:custGeom>
                <a:avLst/>
                <a:gdLst>
                  <a:gd name="T0" fmla="*/ 0 w 2250"/>
                  <a:gd name="T1" fmla="*/ 312 h 970"/>
                  <a:gd name="T2" fmla="*/ 1651 w 2250"/>
                  <a:gd name="T3" fmla="*/ 970 h 970"/>
                  <a:gd name="T4" fmla="*/ 2250 w 2250"/>
                  <a:gd name="T5" fmla="*/ 654 h 970"/>
                  <a:gd name="T6" fmla="*/ 601 w 2250"/>
                  <a:gd name="T7" fmla="*/ 0 h 970"/>
                  <a:gd name="T8" fmla="*/ 0 w 2250"/>
                  <a:gd name="T9" fmla="*/ 312 h 970"/>
                  <a:gd name="connsiteX0" fmla="*/ 0 w 10000"/>
                  <a:gd name="connsiteY0" fmla="*/ 2953 h 9737"/>
                  <a:gd name="connsiteX1" fmla="*/ 7338 w 10000"/>
                  <a:gd name="connsiteY1" fmla="*/ 9737 h 9737"/>
                  <a:gd name="connsiteX2" fmla="*/ 10000 w 10000"/>
                  <a:gd name="connsiteY2" fmla="*/ 6479 h 9737"/>
                  <a:gd name="connsiteX3" fmla="*/ 2539 w 10000"/>
                  <a:gd name="connsiteY3" fmla="*/ 0 h 9737"/>
                  <a:gd name="connsiteX4" fmla="*/ 0 w 10000"/>
                  <a:gd name="connsiteY4" fmla="*/ 2953 h 9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737">
                    <a:moveTo>
                      <a:pt x="0" y="2953"/>
                    </a:moveTo>
                    <a:lnTo>
                      <a:pt x="7338" y="9737"/>
                    </a:lnTo>
                    <a:lnTo>
                      <a:pt x="10000" y="6479"/>
                    </a:lnTo>
                    <a:lnTo>
                      <a:pt x="2539" y="0"/>
                    </a:lnTo>
                    <a:lnTo>
                      <a:pt x="0" y="2953"/>
                    </a:lnTo>
                    <a:close/>
                  </a:path>
                </a:pathLst>
              </a:custGeom>
              <a:gradFill>
                <a:gsLst>
                  <a:gs pos="7000">
                    <a:srgbClr val="080808">
                      <a:alpha val="30000"/>
                    </a:srgbClr>
                  </a:gs>
                  <a:gs pos="100000">
                    <a:schemeClr val="bg1">
                      <a:alpha val="0"/>
                    </a:schemeClr>
                  </a:gs>
                </a:gsLst>
                <a:lin ang="3000000" scaled="0"/>
              </a:gradFill>
              <a:ln>
                <a:noFill/>
              </a:ln>
            </p:spPr>
            <p:txBody>
              <a:bodyPr vert="horz" wrap="square" lIns="91440" tIns="45720" rIns="91440" bIns="45720" numCol="1" anchor="t" anchorCtr="0" compatLnSpc="1">
                <a:prstTxWarp prst="textNoShape">
                  <a:avLst/>
                </a:prstTxWarp>
              </a:bodyPr>
              <a:lstStyle/>
              <a:p>
                <a:r>
                  <a:rPr lang="en-US"/>
                  <a:t> </a:t>
                </a:r>
              </a:p>
            </p:txBody>
          </p:sp>
          <p:sp>
            <p:nvSpPr>
              <p:cNvPr id="28" name="Freeform 27"/>
              <p:cNvSpPr>
                <a:spLocks/>
              </p:cNvSpPr>
              <p:nvPr/>
            </p:nvSpPr>
            <p:spPr bwMode="auto">
              <a:xfrm>
                <a:off x="1434372" y="1983980"/>
                <a:ext cx="796374" cy="3736530"/>
              </a:xfrm>
              <a:custGeom>
                <a:avLst/>
                <a:gdLst>
                  <a:gd name="T0" fmla="*/ 0 w 607"/>
                  <a:gd name="T1" fmla="*/ 0 h 2848"/>
                  <a:gd name="T2" fmla="*/ 607 w 607"/>
                  <a:gd name="T3" fmla="*/ 98 h 2848"/>
                  <a:gd name="T4" fmla="*/ 596 w 607"/>
                  <a:gd name="T5" fmla="*/ 2848 h 2848"/>
                  <a:gd name="T6" fmla="*/ 0 w 607"/>
                  <a:gd name="T7" fmla="*/ 2576 h 2848"/>
                  <a:gd name="T8" fmla="*/ 0 w 607"/>
                  <a:gd name="T9" fmla="*/ 0 h 2848"/>
                </a:gdLst>
                <a:ahLst/>
                <a:cxnLst>
                  <a:cxn ang="0">
                    <a:pos x="T0" y="T1"/>
                  </a:cxn>
                  <a:cxn ang="0">
                    <a:pos x="T2" y="T3"/>
                  </a:cxn>
                  <a:cxn ang="0">
                    <a:pos x="T4" y="T5"/>
                  </a:cxn>
                  <a:cxn ang="0">
                    <a:pos x="T6" y="T7"/>
                  </a:cxn>
                  <a:cxn ang="0">
                    <a:pos x="T8" y="T9"/>
                  </a:cxn>
                </a:cxnLst>
                <a:rect l="0" t="0" r="r" b="b"/>
                <a:pathLst>
                  <a:path w="607" h="2848">
                    <a:moveTo>
                      <a:pt x="0" y="0"/>
                    </a:moveTo>
                    <a:lnTo>
                      <a:pt x="607" y="98"/>
                    </a:lnTo>
                    <a:lnTo>
                      <a:pt x="596" y="2848"/>
                    </a:lnTo>
                    <a:lnTo>
                      <a:pt x="0" y="2576"/>
                    </a:lnTo>
                    <a:lnTo>
                      <a:pt x="0" y="0"/>
                    </a:ln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28"/>
              <p:cNvSpPr>
                <a:spLocks/>
              </p:cNvSpPr>
              <p:nvPr/>
            </p:nvSpPr>
            <p:spPr bwMode="auto">
              <a:xfrm>
                <a:off x="2216313" y="1983980"/>
                <a:ext cx="852788" cy="3736530"/>
              </a:xfrm>
              <a:custGeom>
                <a:avLst/>
                <a:gdLst>
                  <a:gd name="T0" fmla="*/ 650 w 650"/>
                  <a:gd name="T1" fmla="*/ 2544 h 2848"/>
                  <a:gd name="T2" fmla="*/ 0 w 650"/>
                  <a:gd name="T3" fmla="*/ 2848 h 2848"/>
                  <a:gd name="T4" fmla="*/ 0 w 650"/>
                  <a:gd name="T5" fmla="*/ 98 h 2848"/>
                  <a:gd name="T6" fmla="*/ 650 w 650"/>
                  <a:gd name="T7" fmla="*/ 0 h 2848"/>
                  <a:gd name="T8" fmla="*/ 650 w 650"/>
                  <a:gd name="T9" fmla="*/ 2544 h 2848"/>
                </a:gdLst>
                <a:ahLst/>
                <a:cxnLst>
                  <a:cxn ang="0">
                    <a:pos x="T0" y="T1"/>
                  </a:cxn>
                  <a:cxn ang="0">
                    <a:pos x="T2" y="T3"/>
                  </a:cxn>
                  <a:cxn ang="0">
                    <a:pos x="T4" y="T5"/>
                  </a:cxn>
                  <a:cxn ang="0">
                    <a:pos x="T6" y="T7"/>
                  </a:cxn>
                  <a:cxn ang="0">
                    <a:pos x="T8" y="T9"/>
                  </a:cxn>
                </a:cxnLst>
                <a:rect l="0" t="0" r="r" b="b"/>
                <a:pathLst>
                  <a:path w="650" h="2848">
                    <a:moveTo>
                      <a:pt x="650" y="2544"/>
                    </a:moveTo>
                    <a:lnTo>
                      <a:pt x="0" y="2848"/>
                    </a:lnTo>
                    <a:lnTo>
                      <a:pt x="0" y="98"/>
                    </a:lnTo>
                    <a:lnTo>
                      <a:pt x="650" y="0"/>
                    </a:lnTo>
                    <a:lnTo>
                      <a:pt x="650" y="2544"/>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p:cNvSpPr>
              <p:nvPr/>
            </p:nvSpPr>
            <p:spPr bwMode="auto">
              <a:xfrm>
                <a:off x="1434372" y="1869837"/>
                <a:ext cx="1650475" cy="242717"/>
              </a:xfrm>
              <a:custGeom>
                <a:avLst/>
                <a:gdLst>
                  <a:gd name="T0" fmla="*/ 1258 w 1258"/>
                  <a:gd name="T1" fmla="*/ 87 h 185"/>
                  <a:gd name="T2" fmla="*/ 651 w 1258"/>
                  <a:gd name="T3" fmla="*/ 0 h 185"/>
                  <a:gd name="T4" fmla="*/ 0 w 1258"/>
                  <a:gd name="T5" fmla="*/ 87 h 185"/>
                  <a:gd name="T6" fmla="*/ 596 w 1258"/>
                  <a:gd name="T7" fmla="*/ 185 h 185"/>
                  <a:gd name="T8" fmla="*/ 1258 w 1258"/>
                  <a:gd name="T9" fmla="*/ 87 h 185"/>
                </a:gdLst>
                <a:ahLst/>
                <a:cxnLst>
                  <a:cxn ang="0">
                    <a:pos x="T0" y="T1"/>
                  </a:cxn>
                  <a:cxn ang="0">
                    <a:pos x="T2" y="T3"/>
                  </a:cxn>
                  <a:cxn ang="0">
                    <a:pos x="T4" y="T5"/>
                  </a:cxn>
                  <a:cxn ang="0">
                    <a:pos x="T6" y="T7"/>
                  </a:cxn>
                  <a:cxn ang="0">
                    <a:pos x="T8" y="T9"/>
                  </a:cxn>
                </a:cxnLst>
                <a:rect l="0" t="0" r="r" b="b"/>
                <a:pathLst>
                  <a:path w="1258" h="185">
                    <a:moveTo>
                      <a:pt x="1258" y="87"/>
                    </a:moveTo>
                    <a:lnTo>
                      <a:pt x="651" y="0"/>
                    </a:lnTo>
                    <a:lnTo>
                      <a:pt x="0" y="87"/>
                    </a:lnTo>
                    <a:lnTo>
                      <a:pt x="596" y="185"/>
                    </a:lnTo>
                    <a:lnTo>
                      <a:pt x="1258" y="8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Freeform 30"/>
              <p:cNvSpPr>
                <a:spLocks/>
              </p:cNvSpPr>
              <p:nvPr/>
            </p:nvSpPr>
            <p:spPr bwMode="auto">
              <a:xfrm>
                <a:off x="1474784" y="1940685"/>
                <a:ext cx="1539474" cy="3750962"/>
              </a:xfrm>
              <a:custGeom>
                <a:avLst/>
                <a:gdLst>
                  <a:gd name="connsiteX0" fmla="*/ 814654 w 1539474"/>
                  <a:gd name="connsiteY0" fmla="*/ 157438 h 3750962"/>
                  <a:gd name="connsiteX1" fmla="*/ 841584 w 1539474"/>
                  <a:gd name="connsiteY1" fmla="*/ 157438 h 3750962"/>
                  <a:gd name="connsiteX2" fmla="*/ 841584 w 1539474"/>
                  <a:gd name="connsiteY2" fmla="*/ 3722098 h 3750962"/>
                  <a:gd name="connsiteX3" fmla="*/ 814654 w 1539474"/>
                  <a:gd name="connsiteY3" fmla="*/ 3750962 h 3750962"/>
                  <a:gd name="connsiteX4" fmla="*/ 666487 w 1539474"/>
                  <a:gd name="connsiteY4" fmla="*/ 157438 h 3750962"/>
                  <a:gd name="connsiteX5" fmla="*/ 686685 w 1539474"/>
                  <a:gd name="connsiteY5" fmla="*/ 157438 h 3750962"/>
                  <a:gd name="connsiteX6" fmla="*/ 686685 w 1539474"/>
                  <a:gd name="connsiteY6" fmla="*/ 3750962 h 3750962"/>
                  <a:gd name="connsiteX7" fmla="*/ 666487 w 1539474"/>
                  <a:gd name="connsiteY7" fmla="*/ 3736530 h 3750962"/>
                  <a:gd name="connsiteX8" fmla="*/ 915677 w 1539474"/>
                  <a:gd name="connsiteY8" fmla="*/ 143006 h 3750962"/>
                  <a:gd name="connsiteX9" fmla="*/ 942607 w 1539474"/>
                  <a:gd name="connsiteY9" fmla="*/ 143006 h 3750962"/>
                  <a:gd name="connsiteX10" fmla="*/ 942607 w 1539474"/>
                  <a:gd name="connsiteY10" fmla="*/ 3680114 h 3750962"/>
                  <a:gd name="connsiteX11" fmla="*/ 915677 w 1539474"/>
                  <a:gd name="connsiteY11" fmla="*/ 3708978 h 3750962"/>
                  <a:gd name="connsiteX12" fmla="*/ 568002 w 1539474"/>
                  <a:gd name="connsiteY12" fmla="*/ 143006 h 3750962"/>
                  <a:gd name="connsiteX13" fmla="*/ 594932 w 1539474"/>
                  <a:gd name="connsiteY13" fmla="*/ 143006 h 3750962"/>
                  <a:gd name="connsiteX14" fmla="*/ 594932 w 1539474"/>
                  <a:gd name="connsiteY14" fmla="*/ 3722098 h 3750962"/>
                  <a:gd name="connsiteX15" fmla="*/ 568002 w 1539474"/>
                  <a:gd name="connsiteY15" fmla="*/ 3694546 h 3750962"/>
                  <a:gd name="connsiteX16" fmla="*/ 1016700 w 1539474"/>
                  <a:gd name="connsiteY16" fmla="*/ 128574 h 3750962"/>
                  <a:gd name="connsiteX17" fmla="*/ 1043630 w 1539474"/>
                  <a:gd name="connsiteY17" fmla="*/ 128574 h 3750962"/>
                  <a:gd name="connsiteX18" fmla="*/ 1043630 w 1539474"/>
                  <a:gd name="connsiteY18" fmla="*/ 3636819 h 3750962"/>
                  <a:gd name="connsiteX19" fmla="*/ 1016700 w 1539474"/>
                  <a:gd name="connsiteY19" fmla="*/ 3651251 h 3750962"/>
                  <a:gd name="connsiteX20" fmla="*/ 481411 w 1539474"/>
                  <a:gd name="connsiteY20" fmla="*/ 128574 h 3750962"/>
                  <a:gd name="connsiteX21" fmla="*/ 508341 w 1539474"/>
                  <a:gd name="connsiteY21" fmla="*/ 128574 h 3750962"/>
                  <a:gd name="connsiteX22" fmla="*/ 508341 w 1539474"/>
                  <a:gd name="connsiteY22" fmla="*/ 3680114 h 3750962"/>
                  <a:gd name="connsiteX23" fmla="*/ 481411 w 1539474"/>
                  <a:gd name="connsiteY23" fmla="*/ 3651250 h 3750962"/>
                  <a:gd name="connsiteX24" fmla="*/ 405402 w 1539474"/>
                  <a:gd name="connsiteY24" fmla="*/ 114142 h 3750962"/>
                  <a:gd name="connsiteX25" fmla="*/ 425600 w 1539474"/>
                  <a:gd name="connsiteY25" fmla="*/ 128574 h 3750962"/>
                  <a:gd name="connsiteX26" fmla="*/ 425600 w 1539474"/>
                  <a:gd name="connsiteY26" fmla="*/ 3636819 h 3750962"/>
                  <a:gd name="connsiteX27" fmla="*/ 405402 w 1539474"/>
                  <a:gd name="connsiteY27" fmla="*/ 3609267 h 3750962"/>
                  <a:gd name="connsiteX28" fmla="*/ 1128655 w 1539474"/>
                  <a:gd name="connsiteY28" fmla="*/ 114142 h 3750962"/>
                  <a:gd name="connsiteX29" fmla="*/ 1149464 w 1539474"/>
                  <a:gd name="connsiteY29" fmla="*/ 114142 h 3750962"/>
                  <a:gd name="connsiteX30" fmla="*/ 1149464 w 1539474"/>
                  <a:gd name="connsiteY30" fmla="*/ 3580403 h 3750962"/>
                  <a:gd name="connsiteX31" fmla="*/ 1128655 w 1539474"/>
                  <a:gd name="connsiteY31" fmla="*/ 3609267 h 3750962"/>
                  <a:gd name="connsiteX32" fmla="*/ 318811 w 1539474"/>
                  <a:gd name="connsiteY32" fmla="*/ 99712 h 3750962"/>
                  <a:gd name="connsiteX33" fmla="*/ 339009 w 1539474"/>
                  <a:gd name="connsiteY33" fmla="*/ 114143 h 3750962"/>
                  <a:gd name="connsiteX34" fmla="*/ 339009 w 1539474"/>
                  <a:gd name="connsiteY34" fmla="*/ 3594836 h 3750962"/>
                  <a:gd name="connsiteX35" fmla="*/ 318811 w 1539474"/>
                  <a:gd name="connsiteY35" fmla="*/ 3580404 h 3750962"/>
                  <a:gd name="connsiteX36" fmla="*/ 1230640 w 1539474"/>
                  <a:gd name="connsiteY36" fmla="*/ 99711 h 3750962"/>
                  <a:gd name="connsiteX37" fmla="*/ 1250838 w 1539474"/>
                  <a:gd name="connsiteY37" fmla="*/ 99711 h 3750962"/>
                  <a:gd name="connsiteX38" fmla="*/ 1250838 w 1539474"/>
                  <a:gd name="connsiteY38" fmla="*/ 3537108 h 3750962"/>
                  <a:gd name="connsiteX39" fmla="*/ 1230640 w 1539474"/>
                  <a:gd name="connsiteY39" fmla="*/ 3565972 h 3750962"/>
                  <a:gd name="connsiteX40" fmla="*/ 232220 w 1539474"/>
                  <a:gd name="connsiteY40" fmla="*/ 85279 h 3750962"/>
                  <a:gd name="connsiteX41" fmla="*/ 252418 w 1539474"/>
                  <a:gd name="connsiteY41" fmla="*/ 99710 h 3750962"/>
                  <a:gd name="connsiteX42" fmla="*/ 252418 w 1539474"/>
                  <a:gd name="connsiteY42" fmla="*/ 3551539 h 3750962"/>
                  <a:gd name="connsiteX43" fmla="*/ 232220 w 1539474"/>
                  <a:gd name="connsiteY43" fmla="*/ 3537107 h 3750962"/>
                  <a:gd name="connsiteX44" fmla="*/ 148518 w 1539474"/>
                  <a:gd name="connsiteY44" fmla="*/ 72160 h 3750962"/>
                  <a:gd name="connsiteX45" fmla="*/ 176060 w 1539474"/>
                  <a:gd name="connsiteY45" fmla="*/ 85279 h 3750962"/>
                  <a:gd name="connsiteX46" fmla="*/ 176060 w 1539474"/>
                  <a:gd name="connsiteY46" fmla="*/ 3522676 h 3750962"/>
                  <a:gd name="connsiteX47" fmla="*/ 148518 w 1539474"/>
                  <a:gd name="connsiteY47" fmla="*/ 3495124 h 3750962"/>
                  <a:gd name="connsiteX48" fmla="*/ 1348010 w 1539474"/>
                  <a:gd name="connsiteY48" fmla="*/ 72159 h 3750962"/>
                  <a:gd name="connsiteX49" fmla="*/ 1348010 w 1539474"/>
                  <a:gd name="connsiteY49" fmla="*/ 3495124 h 3750962"/>
                  <a:gd name="connsiteX50" fmla="*/ 1321080 w 1539474"/>
                  <a:gd name="connsiteY50" fmla="*/ 3522676 h 3750962"/>
                  <a:gd name="connsiteX51" fmla="*/ 1321080 w 1539474"/>
                  <a:gd name="connsiteY51" fmla="*/ 85279 h 3750962"/>
                  <a:gd name="connsiteX52" fmla="*/ 72158 w 1539474"/>
                  <a:gd name="connsiteY52" fmla="*/ 57727 h 3750962"/>
                  <a:gd name="connsiteX53" fmla="*/ 92356 w 1539474"/>
                  <a:gd name="connsiteY53" fmla="*/ 72159 h 3750962"/>
                  <a:gd name="connsiteX54" fmla="*/ 92356 w 1539474"/>
                  <a:gd name="connsiteY54" fmla="*/ 3480693 h 3750962"/>
                  <a:gd name="connsiteX55" fmla="*/ 72158 w 1539474"/>
                  <a:gd name="connsiteY55" fmla="*/ 3466261 h 3750962"/>
                  <a:gd name="connsiteX56" fmla="*/ 0 w 1539474"/>
                  <a:gd name="connsiteY56" fmla="*/ 57727 h 3750962"/>
                  <a:gd name="connsiteX57" fmla="*/ 20198 w 1539474"/>
                  <a:gd name="connsiteY57" fmla="*/ 57727 h 3750962"/>
                  <a:gd name="connsiteX58" fmla="*/ 20198 w 1539474"/>
                  <a:gd name="connsiteY58" fmla="*/ 3451829 h 3750962"/>
                  <a:gd name="connsiteX59" fmla="*/ 0 w 1539474"/>
                  <a:gd name="connsiteY59" fmla="*/ 3422965 h 3750962"/>
                  <a:gd name="connsiteX60" fmla="*/ 1438451 w 1539474"/>
                  <a:gd name="connsiteY60" fmla="*/ 57727 h 3750962"/>
                  <a:gd name="connsiteX61" fmla="*/ 1438451 w 1539474"/>
                  <a:gd name="connsiteY61" fmla="*/ 3451829 h 3750962"/>
                  <a:gd name="connsiteX62" fmla="*/ 1418253 w 1539474"/>
                  <a:gd name="connsiteY62" fmla="*/ 3466261 h 3750962"/>
                  <a:gd name="connsiteX63" fmla="*/ 1418253 w 1539474"/>
                  <a:gd name="connsiteY63" fmla="*/ 72159 h 3750962"/>
                  <a:gd name="connsiteX64" fmla="*/ 1539474 w 1539474"/>
                  <a:gd name="connsiteY64" fmla="*/ 43295 h 3750962"/>
                  <a:gd name="connsiteX65" fmla="*/ 1539474 w 1539474"/>
                  <a:gd name="connsiteY65" fmla="*/ 3408533 h 3750962"/>
                  <a:gd name="connsiteX66" fmla="*/ 1519276 w 1539474"/>
                  <a:gd name="connsiteY66" fmla="*/ 3422965 h 3750962"/>
                  <a:gd name="connsiteX67" fmla="*/ 1519276 w 1539474"/>
                  <a:gd name="connsiteY67" fmla="*/ 57727 h 3750962"/>
                  <a:gd name="connsiteX68" fmla="*/ 791557 w 1539474"/>
                  <a:gd name="connsiteY68" fmla="*/ 0 h 3750962"/>
                  <a:gd name="connsiteX69" fmla="*/ 967215 w 1539474"/>
                  <a:gd name="connsiteY69" fmla="*/ 43296 h 3750962"/>
                  <a:gd name="connsiteX70" fmla="*/ 784824 w 1539474"/>
                  <a:gd name="connsiteY70" fmla="*/ 99711 h 3750962"/>
                  <a:gd name="connsiteX71" fmla="*/ 602433 w 1539474"/>
                  <a:gd name="connsiteY71" fmla="*/ 43296 h 375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539474" h="3750962">
                    <a:moveTo>
                      <a:pt x="814654" y="157438"/>
                    </a:moveTo>
                    <a:lnTo>
                      <a:pt x="841584" y="157438"/>
                    </a:lnTo>
                    <a:lnTo>
                      <a:pt x="841584" y="3722098"/>
                    </a:lnTo>
                    <a:lnTo>
                      <a:pt x="814654" y="3750962"/>
                    </a:lnTo>
                    <a:close/>
                    <a:moveTo>
                      <a:pt x="666487" y="157438"/>
                    </a:moveTo>
                    <a:lnTo>
                      <a:pt x="686685" y="157438"/>
                    </a:lnTo>
                    <a:lnTo>
                      <a:pt x="686685" y="3750962"/>
                    </a:lnTo>
                    <a:lnTo>
                      <a:pt x="666487" y="3736530"/>
                    </a:lnTo>
                    <a:close/>
                    <a:moveTo>
                      <a:pt x="915677" y="143006"/>
                    </a:moveTo>
                    <a:lnTo>
                      <a:pt x="942607" y="143006"/>
                    </a:lnTo>
                    <a:lnTo>
                      <a:pt x="942607" y="3680114"/>
                    </a:lnTo>
                    <a:lnTo>
                      <a:pt x="915677" y="3708978"/>
                    </a:lnTo>
                    <a:close/>
                    <a:moveTo>
                      <a:pt x="568002" y="143006"/>
                    </a:moveTo>
                    <a:lnTo>
                      <a:pt x="594932" y="143006"/>
                    </a:lnTo>
                    <a:lnTo>
                      <a:pt x="594932" y="3722098"/>
                    </a:lnTo>
                    <a:lnTo>
                      <a:pt x="568002" y="3694546"/>
                    </a:lnTo>
                    <a:close/>
                    <a:moveTo>
                      <a:pt x="1016700" y="128574"/>
                    </a:moveTo>
                    <a:lnTo>
                      <a:pt x="1043630" y="128574"/>
                    </a:lnTo>
                    <a:lnTo>
                      <a:pt x="1043630" y="3636819"/>
                    </a:lnTo>
                    <a:lnTo>
                      <a:pt x="1016700" y="3651251"/>
                    </a:lnTo>
                    <a:close/>
                    <a:moveTo>
                      <a:pt x="481411" y="128574"/>
                    </a:moveTo>
                    <a:lnTo>
                      <a:pt x="508341" y="128574"/>
                    </a:lnTo>
                    <a:lnTo>
                      <a:pt x="508341" y="3680114"/>
                    </a:lnTo>
                    <a:lnTo>
                      <a:pt x="481411" y="3651250"/>
                    </a:lnTo>
                    <a:close/>
                    <a:moveTo>
                      <a:pt x="405402" y="114142"/>
                    </a:moveTo>
                    <a:lnTo>
                      <a:pt x="425600" y="128574"/>
                    </a:lnTo>
                    <a:lnTo>
                      <a:pt x="425600" y="3636819"/>
                    </a:lnTo>
                    <a:lnTo>
                      <a:pt x="405402" y="3609267"/>
                    </a:lnTo>
                    <a:close/>
                    <a:moveTo>
                      <a:pt x="1128655" y="114142"/>
                    </a:moveTo>
                    <a:lnTo>
                      <a:pt x="1149464" y="114142"/>
                    </a:lnTo>
                    <a:lnTo>
                      <a:pt x="1149464" y="3580403"/>
                    </a:lnTo>
                    <a:lnTo>
                      <a:pt x="1128655" y="3609267"/>
                    </a:lnTo>
                    <a:close/>
                    <a:moveTo>
                      <a:pt x="318811" y="99712"/>
                    </a:moveTo>
                    <a:lnTo>
                      <a:pt x="339009" y="114143"/>
                    </a:lnTo>
                    <a:lnTo>
                      <a:pt x="339009" y="3594836"/>
                    </a:lnTo>
                    <a:lnTo>
                      <a:pt x="318811" y="3580404"/>
                    </a:lnTo>
                    <a:close/>
                    <a:moveTo>
                      <a:pt x="1230640" y="99711"/>
                    </a:moveTo>
                    <a:lnTo>
                      <a:pt x="1250838" y="99711"/>
                    </a:lnTo>
                    <a:lnTo>
                      <a:pt x="1250838" y="3537108"/>
                    </a:lnTo>
                    <a:lnTo>
                      <a:pt x="1230640" y="3565972"/>
                    </a:lnTo>
                    <a:close/>
                    <a:moveTo>
                      <a:pt x="232220" y="85279"/>
                    </a:moveTo>
                    <a:lnTo>
                      <a:pt x="252418" y="99710"/>
                    </a:lnTo>
                    <a:lnTo>
                      <a:pt x="252418" y="3551539"/>
                    </a:lnTo>
                    <a:lnTo>
                      <a:pt x="232220" y="3537107"/>
                    </a:lnTo>
                    <a:close/>
                    <a:moveTo>
                      <a:pt x="148518" y="72160"/>
                    </a:moveTo>
                    <a:lnTo>
                      <a:pt x="176060" y="85279"/>
                    </a:lnTo>
                    <a:lnTo>
                      <a:pt x="176060" y="3522676"/>
                    </a:lnTo>
                    <a:lnTo>
                      <a:pt x="148518" y="3495124"/>
                    </a:lnTo>
                    <a:close/>
                    <a:moveTo>
                      <a:pt x="1348010" y="72159"/>
                    </a:moveTo>
                    <a:lnTo>
                      <a:pt x="1348010" y="3495124"/>
                    </a:lnTo>
                    <a:lnTo>
                      <a:pt x="1321080" y="3522676"/>
                    </a:lnTo>
                    <a:lnTo>
                      <a:pt x="1321080" y="85279"/>
                    </a:lnTo>
                    <a:close/>
                    <a:moveTo>
                      <a:pt x="72158" y="57727"/>
                    </a:moveTo>
                    <a:lnTo>
                      <a:pt x="92356" y="72159"/>
                    </a:lnTo>
                    <a:lnTo>
                      <a:pt x="92356" y="3480693"/>
                    </a:lnTo>
                    <a:lnTo>
                      <a:pt x="72158" y="3466261"/>
                    </a:lnTo>
                    <a:close/>
                    <a:moveTo>
                      <a:pt x="0" y="57727"/>
                    </a:moveTo>
                    <a:lnTo>
                      <a:pt x="20198" y="57727"/>
                    </a:lnTo>
                    <a:lnTo>
                      <a:pt x="20198" y="3451829"/>
                    </a:lnTo>
                    <a:lnTo>
                      <a:pt x="0" y="3422965"/>
                    </a:lnTo>
                    <a:close/>
                    <a:moveTo>
                      <a:pt x="1438451" y="57727"/>
                    </a:moveTo>
                    <a:lnTo>
                      <a:pt x="1438451" y="3451829"/>
                    </a:lnTo>
                    <a:lnTo>
                      <a:pt x="1418253" y="3466261"/>
                    </a:lnTo>
                    <a:lnTo>
                      <a:pt x="1418253" y="72159"/>
                    </a:lnTo>
                    <a:close/>
                    <a:moveTo>
                      <a:pt x="1539474" y="43295"/>
                    </a:moveTo>
                    <a:lnTo>
                      <a:pt x="1539474" y="3408533"/>
                    </a:lnTo>
                    <a:lnTo>
                      <a:pt x="1519276" y="3422965"/>
                    </a:lnTo>
                    <a:lnTo>
                      <a:pt x="1519276" y="57727"/>
                    </a:lnTo>
                    <a:close/>
                    <a:moveTo>
                      <a:pt x="791557" y="0"/>
                    </a:moveTo>
                    <a:lnTo>
                      <a:pt x="967215" y="43296"/>
                    </a:lnTo>
                    <a:lnTo>
                      <a:pt x="784824" y="99711"/>
                    </a:lnTo>
                    <a:lnTo>
                      <a:pt x="602433" y="4329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2" name="Freeform 31"/>
              <p:cNvSpPr>
                <a:spLocks/>
              </p:cNvSpPr>
              <p:nvPr/>
            </p:nvSpPr>
            <p:spPr bwMode="auto">
              <a:xfrm>
                <a:off x="1434372" y="5363650"/>
                <a:ext cx="781942" cy="527417"/>
              </a:xfrm>
              <a:custGeom>
                <a:avLst/>
                <a:gdLst>
                  <a:gd name="T0" fmla="*/ 596 w 596"/>
                  <a:gd name="T1" fmla="*/ 402 h 402"/>
                  <a:gd name="T2" fmla="*/ 0 w 596"/>
                  <a:gd name="T3" fmla="*/ 120 h 402"/>
                  <a:gd name="T4" fmla="*/ 0 w 596"/>
                  <a:gd name="T5" fmla="*/ 0 h 402"/>
                  <a:gd name="T6" fmla="*/ 596 w 596"/>
                  <a:gd name="T7" fmla="*/ 272 h 402"/>
                  <a:gd name="T8" fmla="*/ 596 w 596"/>
                  <a:gd name="T9" fmla="*/ 402 h 402"/>
                </a:gdLst>
                <a:ahLst/>
                <a:cxnLst>
                  <a:cxn ang="0">
                    <a:pos x="T0" y="T1"/>
                  </a:cxn>
                  <a:cxn ang="0">
                    <a:pos x="T2" y="T3"/>
                  </a:cxn>
                  <a:cxn ang="0">
                    <a:pos x="T4" y="T5"/>
                  </a:cxn>
                  <a:cxn ang="0">
                    <a:pos x="T6" y="T7"/>
                  </a:cxn>
                  <a:cxn ang="0">
                    <a:pos x="T8" y="T9"/>
                  </a:cxn>
                </a:cxnLst>
                <a:rect l="0" t="0" r="r" b="b"/>
                <a:pathLst>
                  <a:path w="596" h="402">
                    <a:moveTo>
                      <a:pt x="596" y="402"/>
                    </a:moveTo>
                    <a:lnTo>
                      <a:pt x="0" y="120"/>
                    </a:lnTo>
                    <a:lnTo>
                      <a:pt x="0" y="0"/>
                    </a:lnTo>
                    <a:lnTo>
                      <a:pt x="596" y="272"/>
                    </a:lnTo>
                    <a:lnTo>
                      <a:pt x="596" y="402"/>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2"/>
              <p:cNvSpPr>
                <a:spLocks/>
              </p:cNvSpPr>
              <p:nvPr/>
            </p:nvSpPr>
            <p:spPr bwMode="auto">
              <a:xfrm>
                <a:off x="2201882" y="5321667"/>
                <a:ext cx="852789" cy="556281"/>
              </a:xfrm>
              <a:custGeom>
                <a:avLst/>
                <a:gdLst>
                  <a:gd name="T0" fmla="*/ 650 w 650"/>
                  <a:gd name="T1" fmla="*/ 0 h 424"/>
                  <a:gd name="T2" fmla="*/ 0 w 650"/>
                  <a:gd name="T3" fmla="*/ 304 h 424"/>
                  <a:gd name="T4" fmla="*/ 0 w 650"/>
                  <a:gd name="T5" fmla="*/ 424 h 424"/>
                  <a:gd name="T6" fmla="*/ 650 w 650"/>
                  <a:gd name="T7" fmla="*/ 119 h 424"/>
                  <a:gd name="T8" fmla="*/ 650 w 650"/>
                  <a:gd name="T9" fmla="*/ 0 h 424"/>
                </a:gdLst>
                <a:ahLst/>
                <a:cxnLst>
                  <a:cxn ang="0">
                    <a:pos x="T0" y="T1"/>
                  </a:cxn>
                  <a:cxn ang="0">
                    <a:pos x="T2" y="T3"/>
                  </a:cxn>
                  <a:cxn ang="0">
                    <a:pos x="T4" y="T5"/>
                  </a:cxn>
                  <a:cxn ang="0">
                    <a:pos x="T6" y="T7"/>
                  </a:cxn>
                  <a:cxn ang="0">
                    <a:pos x="T8" y="T9"/>
                  </a:cxn>
                </a:cxnLst>
                <a:rect l="0" t="0" r="r" b="b"/>
                <a:pathLst>
                  <a:path w="650" h="424">
                    <a:moveTo>
                      <a:pt x="650" y="0"/>
                    </a:moveTo>
                    <a:lnTo>
                      <a:pt x="0" y="304"/>
                    </a:lnTo>
                    <a:lnTo>
                      <a:pt x="0" y="424"/>
                    </a:lnTo>
                    <a:lnTo>
                      <a:pt x="650" y="119"/>
                    </a:lnTo>
                    <a:lnTo>
                      <a:pt x="650" y="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0"/>
            <p:cNvGrpSpPr/>
            <p:nvPr/>
          </p:nvGrpSpPr>
          <p:grpSpPr>
            <a:xfrm>
              <a:off x="5142772" y="1920668"/>
              <a:ext cx="3092984" cy="3771900"/>
              <a:chOff x="1434372" y="1869837"/>
              <a:chExt cx="4090328" cy="4988163"/>
            </a:xfrm>
          </p:grpSpPr>
          <p:sp>
            <p:nvSpPr>
              <p:cNvPr id="20" name="Freeform 119"/>
              <p:cNvSpPr>
                <a:spLocks/>
              </p:cNvSpPr>
              <p:nvPr/>
            </p:nvSpPr>
            <p:spPr bwMode="auto">
              <a:xfrm>
                <a:off x="2189287" y="5457883"/>
                <a:ext cx="3335413" cy="1400117"/>
              </a:xfrm>
              <a:custGeom>
                <a:avLst/>
                <a:gdLst>
                  <a:gd name="T0" fmla="*/ 0 w 2250"/>
                  <a:gd name="T1" fmla="*/ 312 h 970"/>
                  <a:gd name="T2" fmla="*/ 1651 w 2250"/>
                  <a:gd name="T3" fmla="*/ 970 h 970"/>
                  <a:gd name="T4" fmla="*/ 2250 w 2250"/>
                  <a:gd name="T5" fmla="*/ 654 h 970"/>
                  <a:gd name="T6" fmla="*/ 601 w 2250"/>
                  <a:gd name="T7" fmla="*/ 0 h 970"/>
                  <a:gd name="T8" fmla="*/ 0 w 2250"/>
                  <a:gd name="T9" fmla="*/ 312 h 970"/>
                  <a:gd name="connsiteX0" fmla="*/ 0 w 10000"/>
                  <a:gd name="connsiteY0" fmla="*/ 2953 h 9737"/>
                  <a:gd name="connsiteX1" fmla="*/ 7338 w 10000"/>
                  <a:gd name="connsiteY1" fmla="*/ 9737 h 9737"/>
                  <a:gd name="connsiteX2" fmla="*/ 10000 w 10000"/>
                  <a:gd name="connsiteY2" fmla="*/ 6479 h 9737"/>
                  <a:gd name="connsiteX3" fmla="*/ 2539 w 10000"/>
                  <a:gd name="connsiteY3" fmla="*/ 0 h 9737"/>
                  <a:gd name="connsiteX4" fmla="*/ 0 w 10000"/>
                  <a:gd name="connsiteY4" fmla="*/ 2953 h 9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737">
                    <a:moveTo>
                      <a:pt x="0" y="2953"/>
                    </a:moveTo>
                    <a:lnTo>
                      <a:pt x="7338" y="9737"/>
                    </a:lnTo>
                    <a:lnTo>
                      <a:pt x="10000" y="6479"/>
                    </a:lnTo>
                    <a:lnTo>
                      <a:pt x="2539" y="0"/>
                    </a:lnTo>
                    <a:lnTo>
                      <a:pt x="0" y="2953"/>
                    </a:lnTo>
                    <a:close/>
                  </a:path>
                </a:pathLst>
              </a:custGeom>
              <a:gradFill>
                <a:gsLst>
                  <a:gs pos="7000">
                    <a:srgbClr val="080808">
                      <a:alpha val="30000"/>
                    </a:srgbClr>
                  </a:gs>
                  <a:gs pos="100000">
                    <a:schemeClr val="bg1">
                      <a:alpha val="0"/>
                    </a:schemeClr>
                  </a:gs>
                </a:gsLst>
                <a:lin ang="3000000" scaled="0"/>
              </a:gradFill>
              <a:ln>
                <a:noFill/>
              </a:ln>
            </p:spPr>
            <p:txBody>
              <a:bodyPr vert="horz" wrap="square" lIns="91440" tIns="45720" rIns="91440" bIns="45720" numCol="1" anchor="t" anchorCtr="0" compatLnSpc="1">
                <a:prstTxWarp prst="textNoShape">
                  <a:avLst/>
                </a:prstTxWarp>
              </a:bodyPr>
              <a:lstStyle/>
              <a:p>
                <a:r>
                  <a:rPr lang="en-US"/>
                  <a:t> </a:t>
                </a:r>
              </a:p>
            </p:txBody>
          </p:sp>
          <p:sp>
            <p:nvSpPr>
              <p:cNvPr id="21" name="Freeform 20"/>
              <p:cNvSpPr>
                <a:spLocks/>
              </p:cNvSpPr>
              <p:nvPr/>
            </p:nvSpPr>
            <p:spPr bwMode="auto">
              <a:xfrm>
                <a:off x="1434372" y="1983980"/>
                <a:ext cx="796374" cy="3736530"/>
              </a:xfrm>
              <a:custGeom>
                <a:avLst/>
                <a:gdLst>
                  <a:gd name="T0" fmla="*/ 0 w 607"/>
                  <a:gd name="T1" fmla="*/ 0 h 2848"/>
                  <a:gd name="T2" fmla="*/ 607 w 607"/>
                  <a:gd name="T3" fmla="*/ 98 h 2848"/>
                  <a:gd name="T4" fmla="*/ 596 w 607"/>
                  <a:gd name="T5" fmla="*/ 2848 h 2848"/>
                  <a:gd name="T6" fmla="*/ 0 w 607"/>
                  <a:gd name="T7" fmla="*/ 2576 h 2848"/>
                  <a:gd name="T8" fmla="*/ 0 w 607"/>
                  <a:gd name="T9" fmla="*/ 0 h 2848"/>
                </a:gdLst>
                <a:ahLst/>
                <a:cxnLst>
                  <a:cxn ang="0">
                    <a:pos x="T0" y="T1"/>
                  </a:cxn>
                  <a:cxn ang="0">
                    <a:pos x="T2" y="T3"/>
                  </a:cxn>
                  <a:cxn ang="0">
                    <a:pos x="T4" y="T5"/>
                  </a:cxn>
                  <a:cxn ang="0">
                    <a:pos x="T6" y="T7"/>
                  </a:cxn>
                  <a:cxn ang="0">
                    <a:pos x="T8" y="T9"/>
                  </a:cxn>
                </a:cxnLst>
                <a:rect l="0" t="0" r="r" b="b"/>
                <a:pathLst>
                  <a:path w="607" h="2848">
                    <a:moveTo>
                      <a:pt x="0" y="0"/>
                    </a:moveTo>
                    <a:lnTo>
                      <a:pt x="607" y="98"/>
                    </a:lnTo>
                    <a:lnTo>
                      <a:pt x="596" y="2848"/>
                    </a:lnTo>
                    <a:lnTo>
                      <a:pt x="0" y="2576"/>
                    </a:lnTo>
                    <a:lnTo>
                      <a:pt x="0" y="0"/>
                    </a:ln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p:cNvSpPr>
              <p:nvPr/>
            </p:nvSpPr>
            <p:spPr bwMode="auto">
              <a:xfrm>
                <a:off x="2216314" y="1983980"/>
                <a:ext cx="852789" cy="3736530"/>
              </a:xfrm>
              <a:custGeom>
                <a:avLst/>
                <a:gdLst>
                  <a:gd name="T0" fmla="*/ 650 w 650"/>
                  <a:gd name="T1" fmla="*/ 2544 h 2848"/>
                  <a:gd name="T2" fmla="*/ 0 w 650"/>
                  <a:gd name="T3" fmla="*/ 2848 h 2848"/>
                  <a:gd name="T4" fmla="*/ 0 w 650"/>
                  <a:gd name="T5" fmla="*/ 98 h 2848"/>
                  <a:gd name="T6" fmla="*/ 650 w 650"/>
                  <a:gd name="T7" fmla="*/ 0 h 2848"/>
                  <a:gd name="T8" fmla="*/ 650 w 650"/>
                  <a:gd name="T9" fmla="*/ 2544 h 2848"/>
                </a:gdLst>
                <a:ahLst/>
                <a:cxnLst>
                  <a:cxn ang="0">
                    <a:pos x="T0" y="T1"/>
                  </a:cxn>
                  <a:cxn ang="0">
                    <a:pos x="T2" y="T3"/>
                  </a:cxn>
                  <a:cxn ang="0">
                    <a:pos x="T4" y="T5"/>
                  </a:cxn>
                  <a:cxn ang="0">
                    <a:pos x="T6" y="T7"/>
                  </a:cxn>
                  <a:cxn ang="0">
                    <a:pos x="T8" y="T9"/>
                  </a:cxn>
                </a:cxnLst>
                <a:rect l="0" t="0" r="r" b="b"/>
                <a:pathLst>
                  <a:path w="650" h="2848">
                    <a:moveTo>
                      <a:pt x="650" y="2544"/>
                    </a:moveTo>
                    <a:lnTo>
                      <a:pt x="0" y="2848"/>
                    </a:lnTo>
                    <a:lnTo>
                      <a:pt x="0" y="98"/>
                    </a:lnTo>
                    <a:lnTo>
                      <a:pt x="650" y="0"/>
                    </a:lnTo>
                    <a:lnTo>
                      <a:pt x="650" y="2544"/>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p:cNvSpPr>
              <p:nvPr/>
            </p:nvSpPr>
            <p:spPr bwMode="auto">
              <a:xfrm>
                <a:off x="1434372" y="1869837"/>
                <a:ext cx="1650475" cy="242717"/>
              </a:xfrm>
              <a:custGeom>
                <a:avLst/>
                <a:gdLst>
                  <a:gd name="T0" fmla="*/ 1258 w 1258"/>
                  <a:gd name="T1" fmla="*/ 87 h 185"/>
                  <a:gd name="T2" fmla="*/ 651 w 1258"/>
                  <a:gd name="T3" fmla="*/ 0 h 185"/>
                  <a:gd name="T4" fmla="*/ 0 w 1258"/>
                  <a:gd name="T5" fmla="*/ 87 h 185"/>
                  <a:gd name="T6" fmla="*/ 596 w 1258"/>
                  <a:gd name="T7" fmla="*/ 185 h 185"/>
                  <a:gd name="T8" fmla="*/ 1258 w 1258"/>
                  <a:gd name="T9" fmla="*/ 87 h 185"/>
                </a:gdLst>
                <a:ahLst/>
                <a:cxnLst>
                  <a:cxn ang="0">
                    <a:pos x="T0" y="T1"/>
                  </a:cxn>
                  <a:cxn ang="0">
                    <a:pos x="T2" y="T3"/>
                  </a:cxn>
                  <a:cxn ang="0">
                    <a:pos x="T4" y="T5"/>
                  </a:cxn>
                  <a:cxn ang="0">
                    <a:pos x="T6" y="T7"/>
                  </a:cxn>
                  <a:cxn ang="0">
                    <a:pos x="T8" y="T9"/>
                  </a:cxn>
                </a:cxnLst>
                <a:rect l="0" t="0" r="r" b="b"/>
                <a:pathLst>
                  <a:path w="1258" h="185">
                    <a:moveTo>
                      <a:pt x="1258" y="87"/>
                    </a:moveTo>
                    <a:lnTo>
                      <a:pt x="651" y="0"/>
                    </a:lnTo>
                    <a:lnTo>
                      <a:pt x="0" y="87"/>
                    </a:lnTo>
                    <a:lnTo>
                      <a:pt x="596" y="185"/>
                    </a:lnTo>
                    <a:lnTo>
                      <a:pt x="1258" y="8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p:nvSpPr>
            <p:spPr bwMode="auto">
              <a:xfrm>
                <a:off x="1474785" y="1940685"/>
                <a:ext cx="1539474" cy="3750962"/>
              </a:xfrm>
              <a:custGeom>
                <a:avLst/>
                <a:gdLst>
                  <a:gd name="connsiteX0" fmla="*/ 814654 w 1539474"/>
                  <a:gd name="connsiteY0" fmla="*/ 157438 h 3750962"/>
                  <a:gd name="connsiteX1" fmla="*/ 841584 w 1539474"/>
                  <a:gd name="connsiteY1" fmla="*/ 157438 h 3750962"/>
                  <a:gd name="connsiteX2" fmla="*/ 841584 w 1539474"/>
                  <a:gd name="connsiteY2" fmla="*/ 3722098 h 3750962"/>
                  <a:gd name="connsiteX3" fmla="*/ 814654 w 1539474"/>
                  <a:gd name="connsiteY3" fmla="*/ 3750962 h 3750962"/>
                  <a:gd name="connsiteX4" fmla="*/ 666487 w 1539474"/>
                  <a:gd name="connsiteY4" fmla="*/ 157438 h 3750962"/>
                  <a:gd name="connsiteX5" fmla="*/ 686685 w 1539474"/>
                  <a:gd name="connsiteY5" fmla="*/ 157438 h 3750962"/>
                  <a:gd name="connsiteX6" fmla="*/ 686685 w 1539474"/>
                  <a:gd name="connsiteY6" fmla="*/ 3750962 h 3750962"/>
                  <a:gd name="connsiteX7" fmla="*/ 666487 w 1539474"/>
                  <a:gd name="connsiteY7" fmla="*/ 3736530 h 3750962"/>
                  <a:gd name="connsiteX8" fmla="*/ 915677 w 1539474"/>
                  <a:gd name="connsiteY8" fmla="*/ 143006 h 3750962"/>
                  <a:gd name="connsiteX9" fmla="*/ 942607 w 1539474"/>
                  <a:gd name="connsiteY9" fmla="*/ 143006 h 3750962"/>
                  <a:gd name="connsiteX10" fmla="*/ 942607 w 1539474"/>
                  <a:gd name="connsiteY10" fmla="*/ 3680114 h 3750962"/>
                  <a:gd name="connsiteX11" fmla="*/ 915677 w 1539474"/>
                  <a:gd name="connsiteY11" fmla="*/ 3708978 h 3750962"/>
                  <a:gd name="connsiteX12" fmla="*/ 568002 w 1539474"/>
                  <a:gd name="connsiteY12" fmla="*/ 143006 h 3750962"/>
                  <a:gd name="connsiteX13" fmla="*/ 594932 w 1539474"/>
                  <a:gd name="connsiteY13" fmla="*/ 143006 h 3750962"/>
                  <a:gd name="connsiteX14" fmla="*/ 594932 w 1539474"/>
                  <a:gd name="connsiteY14" fmla="*/ 3722098 h 3750962"/>
                  <a:gd name="connsiteX15" fmla="*/ 568002 w 1539474"/>
                  <a:gd name="connsiteY15" fmla="*/ 3694546 h 3750962"/>
                  <a:gd name="connsiteX16" fmla="*/ 1016700 w 1539474"/>
                  <a:gd name="connsiteY16" fmla="*/ 128574 h 3750962"/>
                  <a:gd name="connsiteX17" fmla="*/ 1043630 w 1539474"/>
                  <a:gd name="connsiteY17" fmla="*/ 128574 h 3750962"/>
                  <a:gd name="connsiteX18" fmla="*/ 1043630 w 1539474"/>
                  <a:gd name="connsiteY18" fmla="*/ 3636819 h 3750962"/>
                  <a:gd name="connsiteX19" fmla="*/ 1016700 w 1539474"/>
                  <a:gd name="connsiteY19" fmla="*/ 3651251 h 3750962"/>
                  <a:gd name="connsiteX20" fmla="*/ 481411 w 1539474"/>
                  <a:gd name="connsiteY20" fmla="*/ 128574 h 3750962"/>
                  <a:gd name="connsiteX21" fmla="*/ 508341 w 1539474"/>
                  <a:gd name="connsiteY21" fmla="*/ 128574 h 3750962"/>
                  <a:gd name="connsiteX22" fmla="*/ 508341 w 1539474"/>
                  <a:gd name="connsiteY22" fmla="*/ 3680114 h 3750962"/>
                  <a:gd name="connsiteX23" fmla="*/ 481411 w 1539474"/>
                  <a:gd name="connsiteY23" fmla="*/ 3651250 h 3750962"/>
                  <a:gd name="connsiteX24" fmla="*/ 405402 w 1539474"/>
                  <a:gd name="connsiteY24" fmla="*/ 114142 h 3750962"/>
                  <a:gd name="connsiteX25" fmla="*/ 425600 w 1539474"/>
                  <a:gd name="connsiteY25" fmla="*/ 128574 h 3750962"/>
                  <a:gd name="connsiteX26" fmla="*/ 425600 w 1539474"/>
                  <a:gd name="connsiteY26" fmla="*/ 3636819 h 3750962"/>
                  <a:gd name="connsiteX27" fmla="*/ 405402 w 1539474"/>
                  <a:gd name="connsiteY27" fmla="*/ 3609267 h 3750962"/>
                  <a:gd name="connsiteX28" fmla="*/ 1128655 w 1539474"/>
                  <a:gd name="connsiteY28" fmla="*/ 114142 h 3750962"/>
                  <a:gd name="connsiteX29" fmla="*/ 1149464 w 1539474"/>
                  <a:gd name="connsiteY29" fmla="*/ 114142 h 3750962"/>
                  <a:gd name="connsiteX30" fmla="*/ 1149464 w 1539474"/>
                  <a:gd name="connsiteY30" fmla="*/ 3580403 h 3750962"/>
                  <a:gd name="connsiteX31" fmla="*/ 1128655 w 1539474"/>
                  <a:gd name="connsiteY31" fmla="*/ 3609267 h 3750962"/>
                  <a:gd name="connsiteX32" fmla="*/ 318811 w 1539474"/>
                  <a:gd name="connsiteY32" fmla="*/ 99712 h 3750962"/>
                  <a:gd name="connsiteX33" fmla="*/ 339009 w 1539474"/>
                  <a:gd name="connsiteY33" fmla="*/ 114143 h 3750962"/>
                  <a:gd name="connsiteX34" fmla="*/ 339009 w 1539474"/>
                  <a:gd name="connsiteY34" fmla="*/ 3594836 h 3750962"/>
                  <a:gd name="connsiteX35" fmla="*/ 318811 w 1539474"/>
                  <a:gd name="connsiteY35" fmla="*/ 3580404 h 3750962"/>
                  <a:gd name="connsiteX36" fmla="*/ 1230640 w 1539474"/>
                  <a:gd name="connsiteY36" fmla="*/ 99711 h 3750962"/>
                  <a:gd name="connsiteX37" fmla="*/ 1250838 w 1539474"/>
                  <a:gd name="connsiteY37" fmla="*/ 99711 h 3750962"/>
                  <a:gd name="connsiteX38" fmla="*/ 1250838 w 1539474"/>
                  <a:gd name="connsiteY38" fmla="*/ 3537108 h 3750962"/>
                  <a:gd name="connsiteX39" fmla="*/ 1230640 w 1539474"/>
                  <a:gd name="connsiteY39" fmla="*/ 3565972 h 3750962"/>
                  <a:gd name="connsiteX40" fmla="*/ 232220 w 1539474"/>
                  <a:gd name="connsiteY40" fmla="*/ 85279 h 3750962"/>
                  <a:gd name="connsiteX41" fmla="*/ 252418 w 1539474"/>
                  <a:gd name="connsiteY41" fmla="*/ 99710 h 3750962"/>
                  <a:gd name="connsiteX42" fmla="*/ 252418 w 1539474"/>
                  <a:gd name="connsiteY42" fmla="*/ 3551539 h 3750962"/>
                  <a:gd name="connsiteX43" fmla="*/ 232220 w 1539474"/>
                  <a:gd name="connsiteY43" fmla="*/ 3537107 h 3750962"/>
                  <a:gd name="connsiteX44" fmla="*/ 148518 w 1539474"/>
                  <a:gd name="connsiteY44" fmla="*/ 72160 h 3750962"/>
                  <a:gd name="connsiteX45" fmla="*/ 176060 w 1539474"/>
                  <a:gd name="connsiteY45" fmla="*/ 85279 h 3750962"/>
                  <a:gd name="connsiteX46" fmla="*/ 176060 w 1539474"/>
                  <a:gd name="connsiteY46" fmla="*/ 3522676 h 3750962"/>
                  <a:gd name="connsiteX47" fmla="*/ 148518 w 1539474"/>
                  <a:gd name="connsiteY47" fmla="*/ 3495124 h 3750962"/>
                  <a:gd name="connsiteX48" fmla="*/ 1348010 w 1539474"/>
                  <a:gd name="connsiteY48" fmla="*/ 72159 h 3750962"/>
                  <a:gd name="connsiteX49" fmla="*/ 1348010 w 1539474"/>
                  <a:gd name="connsiteY49" fmla="*/ 3495124 h 3750962"/>
                  <a:gd name="connsiteX50" fmla="*/ 1321080 w 1539474"/>
                  <a:gd name="connsiteY50" fmla="*/ 3522676 h 3750962"/>
                  <a:gd name="connsiteX51" fmla="*/ 1321080 w 1539474"/>
                  <a:gd name="connsiteY51" fmla="*/ 85279 h 3750962"/>
                  <a:gd name="connsiteX52" fmla="*/ 72158 w 1539474"/>
                  <a:gd name="connsiteY52" fmla="*/ 57727 h 3750962"/>
                  <a:gd name="connsiteX53" fmla="*/ 92356 w 1539474"/>
                  <a:gd name="connsiteY53" fmla="*/ 72159 h 3750962"/>
                  <a:gd name="connsiteX54" fmla="*/ 92356 w 1539474"/>
                  <a:gd name="connsiteY54" fmla="*/ 3480693 h 3750962"/>
                  <a:gd name="connsiteX55" fmla="*/ 72158 w 1539474"/>
                  <a:gd name="connsiteY55" fmla="*/ 3466261 h 3750962"/>
                  <a:gd name="connsiteX56" fmla="*/ 0 w 1539474"/>
                  <a:gd name="connsiteY56" fmla="*/ 57727 h 3750962"/>
                  <a:gd name="connsiteX57" fmla="*/ 20198 w 1539474"/>
                  <a:gd name="connsiteY57" fmla="*/ 57727 h 3750962"/>
                  <a:gd name="connsiteX58" fmla="*/ 20198 w 1539474"/>
                  <a:gd name="connsiteY58" fmla="*/ 3451829 h 3750962"/>
                  <a:gd name="connsiteX59" fmla="*/ 0 w 1539474"/>
                  <a:gd name="connsiteY59" fmla="*/ 3422965 h 3750962"/>
                  <a:gd name="connsiteX60" fmla="*/ 1438451 w 1539474"/>
                  <a:gd name="connsiteY60" fmla="*/ 57727 h 3750962"/>
                  <a:gd name="connsiteX61" fmla="*/ 1438451 w 1539474"/>
                  <a:gd name="connsiteY61" fmla="*/ 3451829 h 3750962"/>
                  <a:gd name="connsiteX62" fmla="*/ 1418253 w 1539474"/>
                  <a:gd name="connsiteY62" fmla="*/ 3466261 h 3750962"/>
                  <a:gd name="connsiteX63" fmla="*/ 1418253 w 1539474"/>
                  <a:gd name="connsiteY63" fmla="*/ 72159 h 3750962"/>
                  <a:gd name="connsiteX64" fmla="*/ 1539474 w 1539474"/>
                  <a:gd name="connsiteY64" fmla="*/ 43295 h 3750962"/>
                  <a:gd name="connsiteX65" fmla="*/ 1539474 w 1539474"/>
                  <a:gd name="connsiteY65" fmla="*/ 3408533 h 3750962"/>
                  <a:gd name="connsiteX66" fmla="*/ 1519276 w 1539474"/>
                  <a:gd name="connsiteY66" fmla="*/ 3422965 h 3750962"/>
                  <a:gd name="connsiteX67" fmla="*/ 1519276 w 1539474"/>
                  <a:gd name="connsiteY67" fmla="*/ 57727 h 3750962"/>
                  <a:gd name="connsiteX68" fmla="*/ 791557 w 1539474"/>
                  <a:gd name="connsiteY68" fmla="*/ 0 h 3750962"/>
                  <a:gd name="connsiteX69" fmla="*/ 967215 w 1539474"/>
                  <a:gd name="connsiteY69" fmla="*/ 43296 h 3750962"/>
                  <a:gd name="connsiteX70" fmla="*/ 784824 w 1539474"/>
                  <a:gd name="connsiteY70" fmla="*/ 99711 h 3750962"/>
                  <a:gd name="connsiteX71" fmla="*/ 602433 w 1539474"/>
                  <a:gd name="connsiteY71" fmla="*/ 43296 h 375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539474" h="3750962">
                    <a:moveTo>
                      <a:pt x="814654" y="157438"/>
                    </a:moveTo>
                    <a:lnTo>
                      <a:pt x="841584" y="157438"/>
                    </a:lnTo>
                    <a:lnTo>
                      <a:pt x="841584" y="3722098"/>
                    </a:lnTo>
                    <a:lnTo>
                      <a:pt x="814654" y="3750962"/>
                    </a:lnTo>
                    <a:close/>
                    <a:moveTo>
                      <a:pt x="666487" y="157438"/>
                    </a:moveTo>
                    <a:lnTo>
                      <a:pt x="686685" y="157438"/>
                    </a:lnTo>
                    <a:lnTo>
                      <a:pt x="686685" y="3750962"/>
                    </a:lnTo>
                    <a:lnTo>
                      <a:pt x="666487" y="3736530"/>
                    </a:lnTo>
                    <a:close/>
                    <a:moveTo>
                      <a:pt x="915677" y="143006"/>
                    </a:moveTo>
                    <a:lnTo>
                      <a:pt x="942607" y="143006"/>
                    </a:lnTo>
                    <a:lnTo>
                      <a:pt x="942607" y="3680114"/>
                    </a:lnTo>
                    <a:lnTo>
                      <a:pt x="915677" y="3708978"/>
                    </a:lnTo>
                    <a:close/>
                    <a:moveTo>
                      <a:pt x="568002" y="143006"/>
                    </a:moveTo>
                    <a:lnTo>
                      <a:pt x="594932" y="143006"/>
                    </a:lnTo>
                    <a:lnTo>
                      <a:pt x="594932" y="3722098"/>
                    </a:lnTo>
                    <a:lnTo>
                      <a:pt x="568002" y="3694546"/>
                    </a:lnTo>
                    <a:close/>
                    <a:moveTo>
                      <a:pt x="1016700" y="128574"/>
                    </a:moveTo>
                    <a:lnTo>
                      <a:pt x="1043630" y="128574"/>
                    </a:lnTo>
                    <a:lnTo>
                      <a:pt x="1043630" y="3636819"/>
                    </a:lnTo>
                    <a:lnTo>
                      <a:pt x="1016700" y="3651251"/>
                    </a:lnTo>
                    <a:close/>
                    <a:moveTo>
                      <a:pt x="481411" y="128574"/>
                    </a:moveTo>
                    <a:lnTo>
                      <a:pt x="508341" y="128574"/>
                    </a:lnTo>
                    <a:lnTo>
                      <a:pt x="508341" y="3680114"/>
                    </a:lnTo>
                    <a:lnTo>
                      <a:pt x="481411" y="3651250"/>
                    </a:lnTo>
                    <a:close/>
                    <a:moveTo>
                      <a:pt x="405402" y="114142"/>
                    </a:moveTo>
                    <a:lnTo>
                      <a:pt x="425600" y="128574"/>
                    </a:lnTo>
                    <a:lnTo>
                      <a:pt x="425600" y="3636819"/>
                    </a:lnTo>
                    <a:lnTo>
                      <a:pt x="405402" y="3609267"/>
                    </a:lnTo>
                    <a:close/>
                    <a:moveTo>
                      <a:pt x="1128655" y="114142"/>
                    </a:moveTo>
                    <a:lnTo>
                      <a:pt x="1149464" y="114142"/>
                    </a:lnTo>
                    <a:lnTo>
                      <a:pt x="1149464" y="3580403"/>
                    </a:lnTo>
                    <a:lnTo>
                      <a:pt x="1128655" y="3609267"/>
                    </a:lnTo>
                    <a:close/>
                    <a:moveTo>
                      <a:pt x="318811" y="99712"/>
                    </a:moveTo>
                    <a:lnTo>
                      <a:pt x="339009" y="114143"/>
                    </a:lnTo>
                    <a:lnTo>
                      <a:pt x="339009" y="3594836"/>
                    </a:lnTo>
                    <a:lnTo>
                      <a:pt x="318811" y="3580404"/>
                    </a:lnTo>
                    <a:close/>
                    <a:moveTo>
                      <a:pt x="1230640" y="99711"/>
                    </a:moveTo>
                    <a:lnTo>
                      <a:pt x="1250838" y="99711"/>
                    </a:lnTo>
                    <a:lnTo>
                      <a:pt x="1250838" y="3537108"/>
                    </a:lnTo>
                    <a:lnTo>
                      <a:pt x="1230640" y="3565972"/>
                    </a:lnTo>
                    <a:close/>
                    <a:moveTo>
                      <a:pt x="232220" y="85279"/>
                    </a:moveTo>
                    <a:lnTo>
                      <a:pt x="252418" y="99710"/>
                    </a:lnTo>
                    <a:lnTo>
                      <a:pt x="252418" y="3551539"/>
                    </a:lnTo>
                    <a:lnTo>
                      <a:pt x="232220" y="3537107"/>
                    </a:lnTo>
                    <a:close/>
                    <a:moveTo>
                      <a:pt x="148518" y="72160"/>
                    </a:moveTo>
                    <a:lnTo>
                      <a:pt x="176060" y="85279"/>
                    </a:lnTo>
                    <a:lnTo>
                      <a:pt x="176060" y="3522676"/>
                    </a:lnTo>
                    <a:lnTo>
                      <a:pt x="148518" y="3495124"/>
                    </a:lnTo>
                    <a:close/>
                    <a:moveTo>
                      <a:pt x="1348010" y="72159"/>
                    </a:moveTo>
                    <a:lnTo>
                      <a:pt x="1348010" y="3495124"/>
                    </a:lnTo>
                    <a:lnTo>
                      <a:pt x="1321080" y="3522676"/>
                    </a:lnTo>
                    <a:lnTo>
                      <a:pt x="1321080" y="85279"/>
                    </a:lnTo>
                    <a:close/>
                    <a:moveTo>
                      <a:pt x="72158" y="57727"/>
                    </a:moveTo>
                    <a:lnTo>
                      <a:pt x="92356" y="72159"/>
                    </a:lnTo>
                    <a:lnTo>
                      <a:pt x="92356" y="3480693"/>
                    </a:lnTo>
                    <a:lnTo>
                      <a:pt x="72158" y="3466261"/>
                    </a:lnTo>
                    <a:close/>
                    <a:moveTo>
                      <a:pt x="0" y="57727"/>
                    </a:moveTo>
                    <a:lnTo>
                      <a:pt x="20198" y="57727"/>
                    </a:lnTo>
                    <a:lnTo>
                      <a:pt x="20198" y="3451829"/>
                    </a:lnTo>
                    <a:lnTo>
                      <a:pt x="0" y="3422965"/>
                    </a:lnTo>
                    <a:close/>
                    <a:moveTo>
                      <a:pt x="1438451" y="57727"/>
                    </a:moveTo>
                    <a:lnTo>
                      <a:pt x="1438451" y="3451829"/>
                    </a:lnTo>
                    <a:lnTo>
                      <a:pt x="1418253" y="3466261"/>
                    </a:lnTo>
                    <a:lnTo>
                      <a:pt x="1418253" y="72159"/>
                    </a:lnTo>
                    <a:close/>
                    <a:moveTo>
                      <a:pt x="1539474" y="43295"/>
                    </a:moveTo>
                    <a:lnTo>
                      <a:pt x="1539474" y="3408533"/>
                    </a:lnTo>
                    <a:lnTo>
                      <a:pt x="1519276" y="3422965"/>
                    </a:lnTo>
                    <a:lnTo>
                      <a:pt x="1519276" y="57727"/>
                    </a:lnTo>
                    <a:close/>
                    <a:moveTo>
                      <a:pt x="791557" y="0"/>
                    </a:moveTo>
                    <a:lnTo>
                      <a:pt x="967215" y="43296"/>
                    </a:lnTo>
                    <a:lnTo>
                      <a:pt x="784824" y="99711"/>
                    </a:lnTo>
                    <a:lnTo>
                      <a:pt x="602433" y="4329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5" name="Freeform 24"/>
              <p:cNvSpPr>
                <a:spLocks/>
              </p:cNvSpPr>
              <p:nvPr/>
            </p:nvSpPr>
            <p:spPr bwMode="auto">
              <a:xfrm>
                <a:off x="1434372" y="5363650"/>
                <a:ext cx="781942" cy="527417"/>
              </a:xfrm>
              <a:custGeom>
                <a:avLst/>
                <a:gdLst>
                  <a:gd name="T0" fmla="*/ 596 w 596"/>
                  <a:gd name="T1" fmla="*/ 402 h 402"/>
                  <a:gd name="T2" fmla="*/ 0 w 596"/>
                  <a:gd name="T3" fmla="*/ 120 h 402"/>
                  <a:gd name="T4" fmla="*/ 0 w 596"/>
                  <a:gd name="T5" fmla="*/ 0 h 402"/>
                  <a:gd name="T6" fmla="*/ 596 w 596"/>
                  <a:gd name="T7" fmla="*/ 272 h 402"/>
                  <a:gd name="T8" fmla="*/ 596 w 596"/>
                  <a:gd name="T9" fmla="*/ 402 h 402"/>
                </a:gdLst>
                <a:ahLst/>
                <a:cxnLst>
                  <a:cxn ang="0">
                    <a:pos x="T0" y="T1"/>
                  </a:cxn>
                  <a:cxn ang="0">
                    <a:pos x="T2" y="T3"/>
                  </a:cxn>
                  <a:cxn ang="0">
                    <a:pos x="T4" y="T5"/>
                  </a:cxn>
                  <a:cxn ang="0">
                    <a:pos x="T6" y="T7"/>
                  </a:cxn>
                  <a:cxn ang="0">
                    <a:pos x="T8" y="T9"/>
                  </a:cxn>
                </a:cxnLst>
                <a:rect l="0" t="0" r="r" b="b"/>
                <a:pathLst>
                  <a:path w="596" h="402">
                    <a:moveTo>
                      <a:pt x="596" y="402"/>
                    </a:moveTo>
                    <a:lnTo>
                      <a:pt x="0" y="120"/>
                    </a:lnTo>
                    <a:lnTo>
                      <a:pt x="0" y="0"/>
                    </a:lnTo>
                    <a:lnTo>
                      <a:pt x="596" y="272"/>
                    </a:lnTo>
                    <a:lnTo>
                      <a:pt x="596" y="402"/>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p:cNvSpPr>
              <p:nvPr/>
            </p:nvSpPr>
            <p:spPr bwMode="auto">
              <a:xfrm>
                <a:off x="2201882" y="5321667"/>
                <a:ext cx="852789" cy="556281"/>
              </a:xfrm>
              <a:custGeom>
                <a:avLst/>
                <a:gdLst>
                  <a:gd name="T0" fmla="*/ 650 w 650"/>
                  <a:gd name="T1" fmla="*/ 0 h 424"/>
                  <a:gd name="T2" fmla="*/ 0 w 650"/>
                  <a:gd name="T3" fmla="*/ 304 h 424"/>
                  <a:gd name="T4" fmla="*/ 0 w 650"/>
                  <a:gd name="T5" fmla="*/ 424 h 424"/>
                  <a:gd name="T6" fmla="*/ 650 w 650"/>
                  <a:gd name="T7" fmla="*/ 119 h 424"/>
                  <a:gd name="T8" fmla="*/ 650 w 650"/>
                  <a:gd name="T9" fmla="*/ 0 h 424"/>
                </a:gdLst>
                <a:ahLst/>
                <a:cxnLst>
                  <a:cxn ang="0">
                    <a:pos x="T0" y="T1"/>
                  </a:cxn>
                  <a:cxn ang="0">
                    <a:pos x="T2" y="T3"/>
                  </a:cxn>
                  <a:cxn ang="0">
                    <a:pos x="T4" y="T5"/>
                  </a:cxn>
                  <a:cxn ang="0">
                    <a:pos x="T6" y="T7"/>
                  </a:cxn>
                  <a:cxn ang="0">
                    <a:pos x="T8" y="T9"/>
                  </a:cxn>
                </a:cxnLst>
                <a:rect l="0" t="0" r="r" b="b"/>
                <a:pathLst>
                  <a:path w="650" h="424">
                    <a:moveTo>
                      <a:pt x="650" y="0"/>
                    </a:moveTo>
                    <a:lnTo>
                      <a:pt x="0" y="304"/>
                    </a:lnTo>
                    <a:lnTo>
                      <a:pt x="0" y="424"/>
                    </a:lnTo>
                    <a:lnTo>
                      <a:pt x="650" y="119"/>
                    </a:lnTo>
                    <a:lnTo>
                      <a:pt x="650" y="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 name="Group 11"/>
            <p:cNvGrpSpPr/>
            <p:nvPr/>
          </p:nvGrpSpPr>
          <p:grpSpPr>
            <a:xfrm>
              <a:off x="4503031" y="2806699"/>
              <a:ext cx="2462044" cy="3002467"/>
              <a:chOff x="1434372" y="1869837"/>
              <a:chExt cx="4090328" cy="4988163"/>
            </a:xfrm>
          </p:grpSpPr>
          <p:sp>
            <p:nvSpPr>
              <p:cNvPr id="13" name="Freeform 119"/>
              <p:cNvSpPr>
                <a:spLocks/>
              </p:cNvSpPr>
              <p:nvPr/>
            </p:nvSpPr>
            <p:spPr bwMode="auto">
              <a:xfrm>
                <a:off x="2189287" y="5457883"/>
                <a:ext cx="3335413" cy="1400117"/>
              </a:xfrm>
              <a:custGeom>
                <a:avLst/>
                <a:gdLst>
                  <a:gd name="T0" fmla="*/ 0 w 2250"/>
                  <a:gd name="T1" fmla="*/ 312 h 970"/>
                  <a:gd name="T2" fmla="*/ 1651 w 2250"/>
                  <a:gd name="T3" fmla="*/ 970 h 970"/>
                  <a:gd name="T4" fmla="*/ 2250 w 2250"/>
                  <a:gd name="T5" fmla="*/ 654 h 970"/>
                  <a:gd name="T6" fmla="*/ 601 w 2250"/>
                  <a:gd name="T7" fmla="*/ 0 h 970"/>
                  <a:gd name="T8" fmla="*/ 0 w 2250"/>
                  <a:gd name="T9" fmla="*/ 312 h 970"/>
                  <a:gd name="connsiteX0" fmla="*/ 0 w 10000"/>
                  <a:gd name="connsiteY0" fmla="*/ 2953 h 9737"/>
                  <a:gd name="connsiteX1" fmla="*/ 7338 w 10000"/>
                  <a:gd name="connsiteY1" fmla="*/ 9737 h 9737"/>
                  <a:gd name="connsiteX2" fmla="*/ 10000 w 10000"/>
                  <a:gd name="connsiteY2" fmla="*/ 6479 h 9737"/>
                  <a:gd name="connsiteX3" fmla="*/ 2539 w 10000"/>
                  <a:gd name="connsiteY3" fmla="*/ 0 h 9737"/>
                  <a:gd name="connsiteX4" fmla="*/ 0 w 10000"/>
                  <a:gd name="connsiteY4" fmla="*/ 2953 h 9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737">
                    <a:moveTo>
                      <a:pt x="0" y="2953"/>
                    </a:moveTo>
                    <a:lnTo>
                      <a:pt x="7338" y="9737"/>
                    </a:lnTo>
                    <a:lnTo>
                      <a:pt x="10000" y="6479"/>
                    </a:lnTo>
                    <a:lnTo>
                      <a:pt x="2539" y="0"/>
                    </a:lnTo>
                    <a:lnTo>
                      <a:pt x="0" y="2953"/>
                    </a:lnTo>
                    <a:close/>
                  </a:path>
                </a:pathLst>
              </a:custGeom>
              <a:gradFill>
                <a:gsLst>
                  <a:gs pos="7000">
                    <a:srgbClr val="080808">
                      <a:alpha val="30000"/>
                    </a:srgbClr>
                  </a:gs>
                  <a:gs pos="100000">
                    <a:schemeClr val="bg1">
                      <a:alpha val="0"/>
                    </a:schemeClr>
                  </a:gs>
                </a:gsLst>
                <a:lin ang="3000000" scaled="0"/>
              </a:gradFill>
              <a:ln>
                <a:noFill/>
              </a:ln>
            </p:spPr>
            <p:txBody>
              <a:bodyPr vert="horz" wrap="square" lIns="91440" tIns="45720" rIns="91440" bIns="45720" numCol="1" anchor="t" anchorCtr="0" compatLnSpc="1">
                <a:prstTxWarp prst="textNoShape">
                  <a:avLst/>
                </a:prstTxWarp>
              </a:bodyPr>
              <a:lstStyle/>
              <a:p>
                <a:r>
                  <a:rPr lang="en-US"/>
                  <a:t> </a:t>
                </a:r>
              </a:p>
            </p:txBody>
          </p:sp>
          <p:sp>
            <p:nvSpPr>
              <p:cNvPr id="14" name="Freeform 13"/>
              <p:cNvSpPr>
                <a:spLocks/>
              </p:cNvSpPr>
              <p:nvPr/>
            </p:nvSpPr>
            <p:spPr bwMode="auto">
              <a:xfrm>
                <a:off x="1434372" y="1983980"/>
                <a:ext cx="796374" cy="3736530"/>
              </a:xfrm>
              <a:custGeom>
                <a:avLst/>
                <a:gdLst>
                  <a:gd name="T0" fmla="*/ 0 w 607"/>
                  <a:gd name="T1" fmla="*/ 0 h 2848"/>
                  <a:gd name="T2" fmla="*/ 607 w 607"/>
                  <a:gd name="T3" fmla="*/ 98 h 2848"/>
                  <a:gd name="T4" fmla="*/ 596 w 607"/>
                  <a:gd name="T5" fmla="*/ 2848 h 2848"/>
                  <a:gd name="T6" fmla="*/ 0 w 607"/>
                  <a:gd name="T7" fmla="*/ 2576 h 2848"/>
                  <a:gd name="T8" fmla="*/ 0 w 607"/>
                  <a:gd name="T9" fmla="*/ 0 h 2848"/>
                </a:gdLst>
                <a:ahLst/>
                <a:cxnLst>
                  <a:cxn ang="0">
                    <a:pos x="T0" y="T1"/>
                  </a:cxn>
                  <a:cxn ang="0">
                    <a:pos x="T2" y="T3"/>
                  </a:cxn>
                  <a:cxn ang="0">
                    <a:pos x="T4" y="T5"/>
                  </a:cxn>
                  <a:cxn ang="0">
                    <a:pos x="T6" y="T7"/>
                  </a:cxn>
                  <a:cxn ang="0">
                    <a:pos x="T8" y="T9"/>
                  </a:cxn>
                </a:cxnLst>
                <a:rect l="0" t="0" r="r" b="b"/>
                <a:pathLst>
                  <a:path w="607" h="2848">
                    <a:moveTo>
                      <a:pt x="0" y="0"/>
                    </a:moveTo>
                    <a:lnTo>
                      <a:pt x="607" y="98"/>
                    </a:lnTo>
                    <a:lnTo>
                      <a:pt x="596" y="2848"/>
                    </a:lnTo>
                    <a:lnTo>
                      <a:pt x="0" y="2576"/>
                    </a:lnTo>
                    <a:lnTo>
                      <a:pt x="0" y="0"/>
                    </a:ln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14"/>
              <p:cNvSpPr>
                <a:spLocks/>
              </p:cNvSpPr>
              <p:nvPr/>
            </p:nvSpPr>
            <p:spPr bwMode="auto">
              <a:xfrm>
                <a:off x="2216313" y="1983980"/>
                <a:ext cx="852788" cy="3736530"/>
              </a:xfrm>
              <a:custGeom>
                <a:avLst/>
                <a:gdLst>
                  <a:gd name="T0" fmla="*/ 650 w 650"/>
                  <a:gd name="T1" fmla="*/ 2544 h 2848"/>
                  <a:gd name="T2" fmla="*/ 0 w 650"/>
                  <a:gd name="T3" fmla="*/ 2848 h 2848"/>
                  <a:gd name="T4" fmla="*/ 0 w 650"/>
                  <a:gd name="T5" fmla="*/ 98 h 2848"/>
                  <a:gd name="T6" fmla="*/ 650 w 650"/>
                  <a:gd name="T7" fmla="*/ 0 h 2848"/>
                  <a:gd name="T8" fmla="*/ 650 w 650"/>
                  <a:gd name="T9" fmla="*/ 2544 h 2848"/>
                </a:gdLst>
                <a:ahLst/>
                <a:cxnLst>
                  <a:cxn ang="0">
                    <a:pos x="T0" y="T1"/>
                  </a:cxn>
                  <a:cxn ang="0">
                    <a:pos x="T2" y="T3"/>
                  </a:cxn>
                  <a:cxn ang="0">
                    <a:pos x="T4" y="T5"/>
                  </a:cxn>
                  <a:cxn ang="0">
                    <a:pos x="T6" y="T7"/>
                  </a:cxn>
                  <a:cxn ang="0">
                    <a:pos x="T8" y="T9"/>
                  </a:cxn>
                </a:cxnLst>
                <a:rect l="0" t="0" r="r" b="b"/>
                <a:pathLst>
                  <a:path w="650" h="2848">
                    <a:moveTo>
                      <a:pt x="650" y="2544"/>
                    </a:moveTo>
                    <a:lnTo>
                      <a:pt x="0" y="2848"/>
                    </a:lnTo>
                    <a:lnTo>
                      <a:pt x="0" y="98"/>
                    </a:lnTo>
                    <a:lnTo>
                      <a:pt x="650" y="0"/>
                    </a:lnTo>
                    <a:lnTo>
                      <a:pt x="650" y="2544"/>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15"/>
              <p:cNvSpPr>
                <a:spLocks/>
              </p:cNvSpPr>
              <p:nvPr/>
            </p:nvSpPr>
            <p:spPr bwMode="auto">
              <a:xfrm>
                <a:off x="1434372" y="1869837"/>
                <a:ext cx="1650475" cy="242717"/>
              </a:xfrm>
              <a:custGeom>
                <a:avLst/>
                <a:gdLst>
                  <a:gd name="T0" fmla="*/ 1258 w 1258"/>
                  <a:gd name="T1" fmla="*/ 87 h 185"/>
                  <a:gd name="T2" fmla="*/ 651 w 1258"/>
                  <a:gd name="T3" fmla="*/ 0 h 185"/>
                  <a:gd name="T4" fmla="*/ 0 w 1258"/>
                  <a:gd name="T5" fmla="*/ 87 h 185"/>
                  <a:gd name="T6" fmla="*/ 596 w 1258"/>
                  <a:gd name="T7" fmla="*/ 185 h 185"/>
                  <a:gd name="T8" fmla="*/ 1258 w 1258"/>
                  <a:gd name="T9" fmla="*/ 87 h 185"/>
                </a:gdLst>
                <a:ahLst/>
                <a:cxnLst>
                  <a:cxn ang="0">
                    <a:pos x="T0" y="T1"/>
                  </a:cxn>
                  <a:cxn ang="0">
                    <a:pos x="T2" y="T3"/>
                  </a:cxn>
                  <a:cxn ang="0">
                    <a:pos x="T4" y="T5"/>
                  </a:cxn>
                  <a:cxn ang="0">
                    <a:pos x="T6" y="T7"/>
                  </a:cxn>
                  <a:cxn ang="0">
                    <a:pos x="T8" y="T9"/>
                  </a:cxn>
                </a:cxnLst>
                <a:rect l="0" t="0" r="r" b="b"/>
                <a:pathLst>
                  <a:path w="1258" h="185">
                    <a:moveTo>
                      <a:pt x="1258" y="87"/>
                    </a:moveTo>
                    <a:lnTo>
                      <a:pt x="651" y="0"/>
                    </a:lnTo>
                    <a:lnTo>
                      <a:pt x="0" y="87"/>
                    </a:lnTo>
                    <a:lnTo>
                      <a:pt x="596" y="185"/>
                    </a:lnTo>
                    <a:lnTo>
                      <a:pt x="1258" y="8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p:nvSpPr>
            <p:spPr bwMode="auto">
              <a:xfrm>
                <a:off x="1474784" y="1940685"/>
                <a:ext cx="1539474" cy="3750962"/>
              </a:xfrm>
              <a:custGeom>
                <a:avLst/>
                <a:gdLst>
                  <a:gd name="connsiteX0" fmla="*/ 814654 w 1539474"/>
                  <a:gd name="connsiteY0" fmla="*/ 157438 h 3750962"/>
                  <a:gd name="connsiteX1" fmla="*/ 841584 w 1539474"/>
                  <a:gd name="connsiteY1" fmla="*/ 157438 h 3750962"/>
                  <a:gd name="connsiteX2" fmla="*/ 841584 w 1539474"/>
                  <a:gd name="connsiteY2" fmla="*/ 3722098 h 3750962"/>
                  <a:gd name="connsiteX3" fmla="*/ 814654 w 1539474"/>
                  <a:gd name="connsiteY3" fmla="*/ 3750962 h 3750962"/>
                  <a:gd name="connsiteX4" fmla="*/ 666487 w 1539474"/>
                  <a:gd name="connsiteY4" fmla="*/ 157438 h 3750962"/>
                  <a:gd name="connsiteX5" fmla="*/ 686685 w 1539474"/>
                  <a:gd name="connsiteY5" fmla="*/ 157438 h 3750962"/>
                  <a:gd name="connsiteX6" fmla="*/ 686685 w 1539474"/>
                  <a:gd name="connsiteY6" fmla="*/ 3750962 h 3750962"/>
                  <a:gd name="connsiteX7" fmla="*/ 666487 w 1539474"/>
                  <a:gd name="connsiteY7" fmla="*/ 3736530 h 3750962"/>
                  <a:gd name="connsiteX8" fmla="*/ 915677 w 1539474"/>
                  <a:gd name="connsiteY8" fmla="*/ 143006 h 3750962"/>
                  <a:gd name="connsiteX9" fmla="*/ 942607 w 1539474"/>
                  <a:gd name="connsiteY9" fmla="*/ 143006 h 3750962"/>
                  <a:gd name="connsiteX10" fmla="*/ 942607 w 1539474"/>
                  <a:gd name="connsiteY10" fmla="*/ 3680114 h 3750962"/>
                  <a:gd name="connsiteX11" fmla="*/ 915677 w 1539474"/>
                  <a:gd name="connsiteY11" fmla="*/ 3708978 h 3750962"/>
                  <a:gd name="connsiteX12" fmla="*/ 568002 w 1539474"/>
                  <a:gd name="connsiteY12" fmla="*/ 143006 h 3750962"/>
                  <a:gd name="connsiteX13" fmla="*/ 594932 w 1539474"/>
                  <a:gd name="connsiteY13" fmla="*/ 143006 h 3750962"/>
                  <a:gd name="connsiteX14" fmla="*/ 594932 w 1539474"/>
                  <a:gd name="connsiteY14" fmla="*/ 3722098 h 3750962"/>
                  <a:gd name="connsiteX15" fmla="*/ 568002 w 1539474"/>
                  <a:gd name="connsiteY15" fmla="*/ 3694546 h 3750962"/>
                  <a:gd name="connsiteX16" fmla="*/ 1016700 w 1539474"/>
                  <a:gd name="connsiteY16" fmla="*/ 128574 h 3750962"/>
                  <a:gd name="connsiteX17" fmla="*/ 1043630 w 1539474"/>
                  <a:gd name="connsiteY17" fmla="*/ 128574 h 3750962"/>
                  <a:gd name="connsiteX18" fmla="*/ 1043630 w 1539474"/>
                  <a:gd name="connsiteY18" fmla="*/ 3636819 h 3750962"/>
                  <a:gd name="connsiteX19" fmla="*/ 1016700 w 1539474"/>
                  <a:gd name="connsiteY19" fmla="*/ 3651251 h 3750962"/>
                  <a:gd name="connsiteX20" fmla="*/ 481411 w 1539474"/>
                  <a:gd name="connsiteY20" fmla="*/ 128574 h 3750962"/>
                  <a:gd name="connsiteX21" fmla="*/ 508341 w 1539474"/>
                  <a:gd name="connsiteY21" fmla="*/ 128574 h 3750962"/>
                  <a:gd name="connsiteX22" fmla="*/ 508341 w 1539474"/>
                  <a:gd name="connsiteY22" fmla="*/ 3680114 h 3750962"/>
                  <a:gd name="connsiteX23" fmla="*/ 481411 w 1539474"/>
                  <a:gd name="connsiteY23" fmla="*/ 3651250 h 3750962"/>
                  <a:gd name="connsiteX24" fmla="*/ 405402 w 1539474"/>
                  <a:gd name="connsiteY24" fmla="*/ 114142 h 3750962"/>
                  <a:gd name="connsiteX25" fmla="*/ 425600 w 1539474"/>
                  <a:gd name="connsiteY25" fmla="*/ 128574 h 3750962"/>
                  <a:gd name="connsiteX26" fmla="*/ 425600 w 1539474"/>
                  <a:gd name="connsiteY26" fmla="*/ 3636819 h 3750962"/>
                  <a:gd name="connsiteX27" fmla="*/ 405402 w 1539474"/>
                  <a:gd name="connsiteY27" fmla="*/ 3609267 h 3750962"/>
                  <a:gd name="connsiteX28" fmla="*/ 1128655 w 1539474"/>
                  <a:gd name="connsiteY28" fmla="*/ 114142 h 3750962"/>
                  <a:gd name="connsiteX29" fmla="*/ 1149464 w 1539474"/>
                  <a:gd name="connsiteY29" fmla="*/ 114142 h 3750962"/>
                  <a:gd name="connsiteX30" fmla="*/ 1149464 w 1539474"/>
                  <a:gd name="connsiteY30" fmla="*/ 3580403 h 3750962"/>
                  <a:gd name="connsiteX31" fmla="*/ 1128655 w 1539474"/>
                  <a:gd name="connsiteY31" fmla="*/ 3609267 h 3750962"/>
                  <a:gd name="connsiteX32" fmla="*/ 318811 w 1539474"/>
                  <a:gd name="connsiteY32" fmla="*/ 99712 h 3750962"/>
                  <a:gd name="connsiteX33" fmla="*/ 339009 w 1539474"/>
                  <a:gd name="connsiteY33" fmla="*/ 114143 h 3750962"/>
                  <a:gd name="connsiteX34" fmla="*/ 339009 w 1539474"/>
                  <a:gd name="connsiteY34" fmla="*/ 3594836 h 3750962"/>
                  <a:gd name="connsiteX35" fmla="*/ 318811 w 1539474"/>
                  <a:gd name="connsiteY35" fmla="*/ 3580404 h 3750962"/>
                  <a:gd name="connsiteX36" fmla="*/ 1230640 w 1539474"/>
                  <a:gd name="connsiteY36" fmla="*/ 99711 h 3750962"/>
                  <a:gd name="connsiteX37" fmla="*/ 1250838 w 1539474"/>
                  <a:gd name="connsiteY37" fmla="*/ 99711 h 3750962"/>
                  <a:gd name="connsiteX38" fmla="*/ 1250838 w 1539474"/>
                  <a:gd name="connsiteY38" fmla="*/ 3537108 h 3750962"/>
                  <a:gd name="connsiteX39" fmla="*/ 1230640 w 1539474"/>
                  <a:gd name="connsiteY39" fmla="*/ 3565972 h 3750962"/>
                  <a:gd name="connsiteX40" fmla="*/ 232220 w 1539474"/>
                  <a:gd name="connsiteY40" fmla="*/ 85279 h 3750962"/>
                  <a:gd name="connsiteX41" fmla="*/ 252418 w 1539474"/>
                  <a:gd name="connsiteY41" fmla="*/ 99710 h 3750962"/>
                  <a:gd name="connsiteX42" fmla="*/ 252418 w 1539474"/>
                  <a:gd name="connsiteY42" fmla="*/ 3551539 h 3750962"/>
                  <a:gd name="connsiteX43" fmla="*/ 232220 w 1539474"/>
                  <a:gd name="connsiteY43" fmla="*/ 3537107 h 3750962"/>
                  <a:gd name="connsiteX44" fmla="*/ 148518 w 1539474"/>
                  <a:gd name="connsiteY44" fmla="*/ 72160 h 3750962"/>
                  <a:gd name="connsiteX45" fmla="*/ 176060 w 1539474"/>
                  <a:gd name="connsiteY45" fmla="*/ 85279 h 3750962"/>
                  <a:gd name="connsiteX46" fmla="*/ 176060 w 1539474"/>
                  <a:gd name="connsiteY46" fmla="*/ 3522676 h 3750962"/>
                  <a:gd name="connsiteX47" fmla="*/ 148518 w 1539474"/>
                  <a:gd name="connsiteY47" fmla="*/ 3495124 h 3750962"/>
                  <a:gd name="connsiteX48" fmla="*/ 1348010 w 1539474"/>
                  <a:gd name="connsiteY48" fmla="*/ 72159 h 3750962"/>
                  <a:gd name="connsiteX49" fmla="*/ 1348010 w 1539474"/>
                  <a:gd name="connsiteY49" fmla="*/ 3495124 h 3750962"/>
                  <a:gd name="connsiteX50" fmla="*/ 1321080 w 1539474"/>
                  <a:gd name="connsiteY50" fmla="*/ 3522676 h 3750962"/>
                  <a:gd name="connsiteX51" fmla="*/ 1321080 w 1539474"/>
                  <a:gd name="connsiteY51" fmla="*/ 85279 h 3750962"/>
                  <a:gd name="connsiteX52" fmla="*/ 72158 w 1539474"/>
                  <a:gd name="connsiteY52" fmla="*/ 57727 h 3750962"/>
                  <a:gd name="connsiteX53" fmla="*/ 92356 w 1539474"/>
                  <a:gd name="connsiteY53" fmla="*/ 72159 h 3750962"/>
                  <a:gd name="connsiteX54" fmla="*/ 92356 w 1539474"/>
                  <a:gd name="connsiteY54" fmla="*/ 3480693 h 3750962"/>
                  <a:gd name="connsiteX55" fmla="*/ 72158 w 1539474"/>
                  <a:gd name="connsiteY55" fmla="*/ 3466261 h 3750962"/>
                  <a:gd name="connsiteX56" fmla="*/ 0 w 1539474"/>
                  <a:gd name="connsiteY56" fmla="*/ 57727 h 3750962"/>
                  <a:gd name="connsiteX57" fmla="*/ 20198 w 1539474"/>
                  <a:gd name="connsiteY57" fmla="*/ 57727 h 3750962"/>
                  <a:gd name="connsiteX58" fmla="*/ 20198 w 1539474"/>
                  <a:gd name="connsiteY58" fmla="*/ 3451829 h 3750962"/>
                  <a:gd name="connsiteX59" fmla="*/ 0 w 1539474"/>
                  <a:gd name="connsiteY59" fmla="*/ 3422965 h 3750962"/>
                  <a:gd name="connsiteX60" fmla="*/ 1438451 w 1539474"/>
                  <a:gd name="connsiteY60" fmla="*/ 57727 h 3750962"/>
                  <a:gd name="connsiteX61" fmla="*/ 1438451 w 1539474"/>
                  <a:gd name="connsiteY61" fmla="*/ 3451829 h 3750962"/>
                  <a:gd name="connsiteX62" fmla="*/ 1418253 w 1539474"/>
                  <a:gd name="connsiteY62" fmla="*/ 3466261 h 3750962"/>
                  <a:gd name="connsiteX63" fmla="*/ 1418253 w 1539474"/>
                  <a:gd name="connsiteY63" fmla="*/ 72159 h 3750962"/>
                  <a:gd name="connsiteX64" fmla="*/ 1539474 w 1539474"/>
                  <a:gd name="connsiteY64" fmla="*/ 43295 h 3750962"/>
                  <a:gd name="connsiteX65" fmla="*/ 1539474 w 1539474"/>
                  <a:gd name="connsiteY65" fmla="*/ 3408533 h 3750962"/>
                  <a:gd name="connsiteX66" fmla="*/ 1519276 w 1539474"/>
                  <a:gd name="connsiteY66" fmla="*/ 3422965 h 3750962"/>
                  <a:gd name="connsiteX67" fmla="*/ 1519276 w 1539474"/>
                  <a:gd name="connsiteY67" fmla="*/ 57727 h 3750962"/>
                  <a:gd name="connsiteX68" fmla="*/ 791557 w 1539474"/>
                  <a:gd name="connsiteY68" fmla="*/ 0 h 3750962"/>
                  <a:gd name="connsiteX69" fmla="*/ 967215 w 1539474"/>
                  <a:gd name="connsiteY69" fmla="*/ 43296 h 3750962"/>
                  <a:gd name="connsiteX70" fmla="*/ 784824 w 1539474"/>
                  <a:gd name="connsiteY70" fmla="*/ 99711 h 3750962"/>
                  <a:gd name="connsiteX71" fmla="*/ 602433 w 1539474"/>
                  <a:gd name="connsiteY71" fmla="*/ 43296 h 375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539474" h="3750962">
                    <a:moveTo>
                      <a:pt x="814654" y="157438"/>
                    </a:moveTo>
                    <a:lnTo>
                      <a:pt x="841584" y="157438"/>
                    </a:lnTo>
                    <a:lnTo>
                      <a:pt x="841584" y="3722098"/>
                    </a:lnTo>
                    <a:lnTo>
                      <a:pt x="814654" y="3750962"/>
                    </a:lnTo>
                    <a:close/>
                    <a:moveTo>
                      <a:pt x="666487" y="157438"/>
                    </a:moveTo>
                    <a:lnTo>
                      <a:pt x="686685" y="157438"/>
                    </a:lnTo>
                    <a:lnTo>
                      <a:pt x="686685" y="3750962"/>
                    </a:lnTo>
                    <a:lnTo>
                      <a:pt x="666487" y="3736530"/>
                    </a:lnTo>
                    <a:close/>
                    <a:moveTo>
                      <a:pt x="915677" y="143006"/>
                    </a:moveTo>
                    <a:lnTo>
                      <a:pt x="942607" y="143006"/>
                    </a:lnTo>
                    <a:lnTo>
                      <a:pt x="942607" y="3680114"/>
                    </a:lnTo>
                    <a:lnTo>
                      <a:pt x="915677" y="3708978"/>
                    </a:lnTo>
                    <a:close/>
                    <a:moveTo>
                      <a:pt x="568002" y="143006"/>
                    </a:moveTo>
                    <a:lnTo>
                      <a:pt x="594932" y="143006"/>
                    </a:lnTo>
                    <a:lnTo>
                      <a:pt x="594932" y="3722098"/>
                    </a:lnTo>
                    <a:lnTo>
                      <a:pt x="568002" y="3694546"/>
                    </a:lnTo>
                    <a:close/>
                    <a:moveTo>
                      <a:pt x="1016700" y="128574"/>
                    </a:moveTo>
                    <a:lnTo>
                      <a:pt x="1043630" y="128574"/>
                    </a:lnTo>
                    <a:lnTo>
                      <a:pt x="1043630" y="3636819"/>
                    </a:lnTo>
                    <a:lnTo>
                      <a:pt x="1016700" y="3651251"/>
                    </a:lnTo>
                    <a:close/>
                    <a:moveTo>
                      <a:pt x="481411" y="128574"/>
                    </a:moveTo>
                    <a:lnTo>
                      <a:pt x="508341" y="128574"/>
                    </a:lnTo>
                    <a:lnTo>
                      <a:pt x="508341" y="3680114"/>
                    </a:lnTo>
                    <a:lnTo>
                      <a:pt x="481411" y="3651250"/>
                    </a:lnTo>
                    <a:close/>
                    <a:moveTo>
                      <a:pt x="405402" y="114142"/>
                    </a:moveTo>
                    <a:lnTo>
                      <a:pt x="425600" y="128574"/>
                    </a:lnTo>
                    <a:lnTo>
                      <a:pt x="425600" y="3636819"/>
                    </a:lnTo>
                    <a:lnTo>
                      <a:pt x="405402" y="3609267"/>
                    </a:lnTo>
                    <a:close/>
                    <a:moveTo>
                      <a:pt x="1128655" y="114142"/>
                    </a:moveTo>
                    <a:lnTo>
                      <a:pt x="1149464" y="114142"/>
                    </a:lnTo>
                    <a:lnTo>
                      <a:pt x="1149464" y="3580403"/>
                    </a:lnTo>
                    <a:lnTo>
                      <a:pt x="1128655" y="3609267"/>
                    </a:lnTo>
                    <a:close/>
                    <a:moveTo>
                      <a:pt x="318811" y="99712"/>
                    </a:moveTo>
                    <a:lnTo>
                      <a:pt x="339009" y="114143"/>
                    </a:lnTo>
                    <a:lnTo>
                      <a:pt x="339009" y="3594836"/>
                    </a:lnTo>
                    <a:lnTo>
                      <a:pt x="318811" y="3580404"/>
                    </a:lnTo>
                    <a:close/>
                    <a:moveTo>
                      <a:pt x="1230640" y="99711"/>
                    </a:moveTo>
                    <a:lnTo>
                      <a:pt x="1250838" y="99711"/>
                    </a:lnTo>
                    <a:lnTo>
                      <a:pt x="1250838" y="3537108"/>
                    </a:lnTo>
                    <a:lnTo>
                      <a:pt x="1230640" y="3565972"/>
                    </a:lnTo>
                    <a:close/>
                    <a:moveTo>
                      <a:pt x="232220" y="85279"/>
                    </a:moveTo>
                    <a:lnTo>
                      <a:pt x="252418" y="99710"/>
                    </a:lnTo>
                    <a:lnTo>
                      <a:pt x="252418" y="3551539"/>
                    </a:lnTo>
                    <a:lnTo>
                      <a:pt x="232220" y="3537107"/>
                    </a:lnTo>
                    <a:close/>
                    <a:moveTo>
                      <a:pt x="148518" y="72160"/>
                    </a:moveTo>
                    <a:lnTo>
                      <a:pt x="176060" y="85279"/>
                    </a:lnTo>
                    <a:lnTo>
                      <a:pt x="176060" y="3522676"/>
                    </a:lnTo>
                    <a:lnTo>
                      <a:pt x="148518" y="3495124"/>
                    </a:lnTo>
                    <a:close/>
                    <a:moveTo>
                      <a:pt x="1348010" y="72159"/>
                    </a:moveTo>
                    <a:lnTo>
                      <a:pt x="1348010" y="3495124"/>
                    </a:lnTo>
                    <a:lnTo>
                      <a:pt x="1321080" y="3522676"/>
                    </a:lnTo>
                    <a:lnTo>
                      <a:pt x="1321080" y="85279"/>
                    </a:lnTo>
                    <a:close/>
                    <a:moveTo>
                      <a:pt x="72158" y="57727"/>
                    </a:moveTo>
                    <a:lnTo>
                      <a:pt x="92356" y="72159"/>
                    </a:lnTo>
                    <a:lnTo>
                      <a:pt x="92356" y="3480693"/>
                    </a:lnTo>
                    <a:lnTo>
                      <a:pt x="72158" y="3466261"/>
                    </a:lnTo>
                    <a:close/>
                    <a:moveTo>
                      <a:pt x="0" y="57727"/>
                    </a:moveTo>
                    <a:lnTo>
                      <a:pt x="20198" y="57727"/>
                    </a:lnTo>
                    <a:lnTo>
                      <a:pt x="20198" y="3451829"/>
                    </a:lnTo>
                    <a:lnTo>
                      <a:pt x="0" y="3422965"/>
                    </a:lnTo>
                    <a:close/>
                    <a:moveTo>
                      <a:pt x="1438451" y="57727"/>
                    </a:moveTo>
                    <a:lnTo>
                      <a:pt x="1438451" y="3451829"/>
                    </a:lnTo>
                    <a:lnTo>
                      <a:pt x="1418253" y="3466261"/>
                    </a:lnTo>
                    <a:lnTo>
                      <a:pt x="1418253" y="72159"/>
                    </a:lnTo>
                    <a:close/>
                    <a:moveTo>
                      <a:pt x="1539474" y="43295"/>
                    </a:moveTo>
                    <a:lnTo>
                      <a:pt x="1539474" y="3408533"/>
                    </a:lnTo>
                    <a:lnTo>
                      <a:pt x="1519276" y="3422965"/>
                    </a:lnTo>
                    <a:lnTo>
                      <a:pt x="1519276" y="57727"/>
                    </a:lnTo>
                    <a:close/>
                    <a:moveTo>
                      <a:pt x="791557" y="0"/>
                    </a:moveTo>
                    <a:lnTo>
                      <a:pt x="967215" y="43296"/>
                    </a:lnTo>
                    <a:lnTo>
                      <a:pt x="784824" y="99711"/>
                    </a:lnTo>
                    <a:lnTo>
                      <a:pt x="602433" y="4329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8" name="Freeform 17"/>
              <p:cNvSpPr>
                <a:spLocks/>
              </p:cNvSpPr>
              <p:nvPr/>
            </p:nvSpPr>
            <p:spPr bwMode="auto">
              <a:xfrm>
                <a:off x="1434372" y="5363650"/>
                <a:ext cx="781942" cy="527417"/>
              </a:xfrm>
              <a:custGeom>
                <a:avLst/>
                <a:gdLst>
                  <a:gd name="T0" fmla="*/ 596 w 596"/>
                  <a:gd name="T1" fmla="*/ 402 h 402"/>
                  <a:gd name="T2" fmla="*/ 0 w 596"/>
                  <a:gd name="T3" fmla="*/ 120 h 402"/>
                  <a:gd name="T4" fmla="*/ 0 w 596"/>
                  <a:gd name="T5" fmla="*/ 0 h 402"/>
                  <a:gd name="T6" fmla="*/ 596 w 596"/>
                  <a:gd name="T7" fmla="*/ 272 h 402"/>
                  <a:gd name="T8" fmla="*/ 596 w 596"/>
                  <a:gd name="T9" fmla="*/ 402 h 402"/>
                </a:gdLst>
                <a:ahLst/>
                <a:cxnLst>
                  <a:cxn ang="0">
                    <a:pos x="T0" y="T1"/>
                  </a:cxn>
                  <a:cxn ang="0">
                    <a:pos x="T2" y="T3"/>
                  </a:cxn>
                  <a:cxn ang="0">
                    <a:pos x="T4" y="T5"/>
                  </a:cxn>
                  <a:cxn ang="0">
                    <a:pos x="T6" y="T7"/>
                  </a:cxn>
                  <a:cxn ang="0">
                    <a:pos x="T8" y="T9"/>
                  </a:cxn>
                </a:cxnLst>
                <a:rect l="0" t="0" r="r" b="b"/>
                <a:pathLst>
                  <a:path w="596" h="402">
                    <a:moveTo>
                      <a:pt x="596" y="402"/>
                    </a:moveTo>
                    <a:lnTo>
                      <a:pt x="0" y="120"/>
                    </a:lnTo>
                    <a:lnTo>
                      <a:pt x="0" y="0"/>
                    </a:lnTo>
                    <a:lnTo>
                      <a:pt x="596" y="272"/>
                    </a:lnTo>
                    <a:lnTo>
                      <a:pt x="596" y="402"/>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p:nvSpPr>
            <p:spPr bwMode="auto">
              <a:xfrm>
                <a:off x="2201882" y="5321667"/>
                <a:ext cx="852789" cy="556281"/>
              </a:xfrm>
              <a:custGeom>
                <a:avLst/>
                <a:gdLst>
                  <a:gd name="T0" fmla="*/ 650 w 650"/>
                  <a:gd name="T1" fmla="*/ 0 h 424"/>
                  <a:gd name="T2" fmla="*/ 0 w 650"/>
                  <a:gd name="T3" fmla="*/ 304 h 424"/>
                  <a:gd name="T4" fmla="*/ 0 w 650"/>
                  <a:gd name="T5" fmla="*/ 424 h 424"/>
                  <a:gd name="T6" fmla="*/ 650 w 650"/>
                  <a:gd name="T7" fmla="*/ 119 h 424"/>
                  <a:gd name="T8" fmla="*/ 650 w 650"/>
                  <a:gd name="T9" fmla="*/ 0 h 424"/>
                </a:gdLst>
                <a:ahLst/>
                <a:cxnLst>
                  <a:cxn ang="0">
                    <a:pos x="T0" y="T1"/>
                  </a:cxn>
                  <a:cxn ang="0">
                    <a:pos x="T2" y="T3"/>
                  </a:cxn>
                  <a:cxn ang="0">
                    <a:pos x="T4" y="T5"/>
                  </a:cxn>
                  <a:cxn ang="0">
                    <a:pos x="T6" y="T7"/>
                  </a:cxn>
                  <a:cxn ang="0">
                    <a:pos x="T8" y="T9"/>
                  </a:cxn>
                </a:cxnLst>
                <a:rect l="0" t="0" r="r" b="b"/>
                <a:pathLst>
                  <a:path w="650" h="424">
                    <a:moveTo>
                      <a:pt x="650" y="0"/>
                    </a:moveTo>
                    <a:lnTo>
                      <a:pt x="0" y="304"/>
                    </a:lnTo>
                    <a:lnTo>
                      <a:pt x="0" y="424"/>
                    </a:lnTo>
                    <a:lnTo>
                      <a:pt x="650" y="119"/>
                    </a:lnTo>
                    <a:lnTo>
                      <a:pt x="650" y="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5" name="Shape 3814"/>
          <p:cNvSpPr/>
          <p:nvPr/>
        </p:nvSpPr>
        <p:spPr>
          <a:xfrm flipH="1">
            <a:off x="4046232" y="1976941"/>
            <a:ext cx="1279252" cy="1291919"/>
          </a:xfrm>
          <a:prstGeom prst="wedgeEllipseCallout">
            <a:avLst>
              <a:gd name="adj1" fmla="val 67557"/>
              <a:gd name="adj2" fmla="val 37069"/>
            </a:avLst>
          </a:prstGeom>
          <a:solidFill>
            <a:srgbClr val="01678C">
              <a:alpha val="88000"/>
            </a:srgbClr>
          </a:solidFill>
          <a:ln w="28575">
            <a:noFill/>
            <a:miter lim="400000"/>
          </a:ln>
        </p:spPr>
        <p:txBody>
          <a:bodyPr lIns="0" tIns="0" rIns="0" bIns="0" anchor="ctr"/>
          <a:lstStyle/>
          <a:p>
            <a:pPr lvl="0">
              <a:defRPr sz="3200">
                <a:solidFill>
                  <a:srgbClr val="FFFFFF"/>
                </a:solidFill>
              </a:defRPr>
            </a:pPr>
            <a:endParaRPr dirty="0"/>
          </a:p>
        </p:txBody>
      </p:sp>
      <p:cxnSp>
        <p:nvCxnSpPr>
          <p:cNvPr id="56" name="Straight Connector 55"/>
          <p:cNvCxnSpPr/>
          <p:nvPr/>
        </p:nvCxnSpPr>
        <p:spPr>
          <a:xfrm>
            <a:off x="3638664" y="4572979"/>
            <a:ext cx="6914075"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57" name="Text Placeholder 2"/>
          <p:cNvSpPr txBox="1">
            <a:spLocks/>
          </p:cNvSpPr>
          <p:nvPr/>
        </p:nvSpPr>
        <p:spPr>
          <a:xfrm>
            <a:off x="4680132" y="4412546"/>
            <a:ext cx="1617645" cy="360053"/>
          </a:xfrm>
          <a:prstGeom prst="rect">
            <a:avLst/>
          </a:prstGeom>
          <a:solidFill>
            <a:schemeClr val="bg1"/>
          </a:solidFill>
          <a:ln>
            <a:solidFill>
              <a:schemeClr val="tx1">
                <a:lumMod val="85000"/>
                <a:lumOff val="15000"/>
              </a:schemeClr>
            </a:solidFill>
          </a:ln>
        </p:spPr>
        <p:txBody>
          <a:bodyPr vert="horz" lIns="121920" tIns="60960" rIns="121920" bIns="60960" rtlCol="0" anchor="ctr">
            <a:normAutofit/>
          </a:bodyPr>
          <a:lstStyle>
            <a:lvl1pPr marL="0" indent="0" algn="l" defTabSz="914400" rtl="0" eaLnBrk="1" latinLnBrk="0" hangingPunct="1">
              <a:lnSpc>
                <a:spcPct val="100000"/>
              </a:lnSpc>
              <a:spcBef>
                <a:spcPts val="1000"/>
              </a:spcBef>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1pPr>
            <a:lvl2pPr marL="457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2pPr>
            <a:lvl3pPr marL="914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000" kern="1200">
                <a:solidFill>
                  <a:schemeClr val="tx1"/>
                </a:solidFill>
                <a:latin typeface="Roboto" pitchFamily="2" charset="0"/>
                <a:ea typeface="Roboto" pitchFamily="2" charset="0"/>
                <a:cs typeface="+mn-cs"/>
              </a:defRPr>
            </a:lvl3pPr>
            <a:lvl4pPr marL="1371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4pPr>
            <a:lvl5pPr marL="18288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5pPr>
            <a:lvl6pPr marL="22860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9pPr>
          </a:lstStyle>
          <a:p>
            <a:pPr algn="ctr">
              <a:spcBef>
                <a:spcPts val="0"/>
              </a:spcBef>
            </a:pPr>
            <a:r>
              <a:rPr lang="en-AU" sz="1100" dirty="0">
                <a:solidFill>
                  <a:schemeClr val="tx1">
                    <a:lumMod val="95000"/>
                    <a:lumOff val="5000"/>
                  </a:schemeClr>
                </a:solidFill>
                <a:latin typeface="Montserrat" panose="00000500000000000000" pitchFamily="2" charset="0"/>
                <a:ea typeface="Open Sans" panose="020B0606030504020204" pitchFamily="34" charset="0"/>
                <a:cs typeface="Open Sans" panose="020B0606030504020204" pitchFamily="34" charset="0"/>
              </a:rPr>
              <a:t>STRATEGY</a:t>
            </a:r>
          </a:p>
        </p:txBody>
      </p:sp>
      <p:sp>
        <p:nvSpPr>
          <p:cNvPr id="58" name="Text Placeholder 2"/>
          <p:cNvSpPr txBox="1">
            <a:spLocks/>
          </p:cNvSpPr>
          <p:nvPr/>
        </p:nvSpPr>
        <p:spPr>
          <a:xfrm>
            <a:off x="6807613" y="4412546"/>
            <a:ext cx="1617645" cy="360053"/>
          </a:xfrm>
          <a:prstGeom prst="rect">
            <a:avLst/>
          </a:prstGeom>
          <a:solidFill>
            <a:srgbClr val="01678C"/>
          </a:solidFill>
          <a:ln>
            <a:solidFill>
              <a:schemeClr val="accent1">
                <a:lumMod val="75000"/>
              </a:schemeClr>
            </a:solidFill>
          </a:ln>
        </p:spPr>
        <p:txBody>
          <a:bodyPr vert="horz" lIns="121920" tIns="60960" rIns="121920" bIns="60960" rtlCol="0" anchor="ctr">
            <a:normAutofit/>
          </a:bodyPr>
          <a:lstStyle>
            <a:lvl1pPr marL="0" indent="0" algn="l" defTabSz="914400" rtl="0" eaLnBrk="1" latinLnBrk="0" hangingPunct="1">
              <a:lnSpc>
                <a:spcPct val="100000"/>
              </a:lnSpc>
              <a:spcBef>
                <a:spcPts val="1000"/>
              </a:spcBef>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1pPr>
            <a:lvl2pPr marL="457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2pPr>
            <a:lvl3pPr marL="914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000" kern="1200">
                <a:solidFill>
                  <a:schemeClr val="tx1"/>
                </a:solidFill>
                <a:latin typeface="Roboto" pitchFamily="2" charset="0"/>
                <a:ea typeface="Roboto" pitchFamily="2" charset="0"/>
                <a:cs typeface="+mn-cs"/>
              </a:defRPr>
            </a:lvl3pPr>
            <a:lvl4pPr marL="1371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4pPr>
            <a:lvl5pPr marL="18288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5pPr>
            <a:lvl6pPr marL="22860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9pPr>
          </a:lstStyle>
          <a:p>
            <a:pPr algn="ctr">
              <a:spcBef>
                <a:spcPts val="0"/>
              </a:spcBef>
            </a:pPr>
            <a:r>
              <a:rPr lang="en-AU" sz="1100" b="1" dirty="0">
                <a:solidFill>
                  <a:schemeClr val="bg1"/>
                </a:solidFill>
                <a:latin typeface="Montserrat" panose="00000500000000000000" pitchFamily="2" charset="0"/>
                <a:ea typeface="Open Sans" panose="020B0606030504020204" pitchFamily="34" charset="0"/>
                <a:cs typeface="Open Sans" panose="020B0606030504020204" pitchFamily="34" charset="0"/>
              </a:rPr>
              <a:t>PROCESSES</a:t>
            </a:r>
          </a:p>
        </p:txBody>
      </p:sp>
      <p:sp>
        <p:nvSpPr>
          <p:cNvPr id="59" name="Text Placeholder 2"/>
          <p:cNvSpPr txBox="1">
            <a:spLocks/>
          </p:cNvSpPr>
          <p:nvPr/>
        </p:nvSpPr>
        <p:spPr>
          <a:xfrm>
            <a:off x="8935094" y="4412546"/>
            <a:ext cx="1617645" cy="360053"/>
          </a:xfrm>
          <a:prstGeom prst="rect">
            <a:avLst/>
          </a:prstGeom>
          <a:solidFill>
            <a:schemeClr val="bg1"/>
          </a:solidFill>
          <a:ln>
            <a:solidFill>
              <a:schemeClr val="tx1">
                <a:lumMod val="85000"/>
                <a:lumOff val="15000"/>
              </a:schemeClr>
            </a:solidFill>
          </a:ln>
        </p:spPr>
        <p:txBody>
          <a:bodyPr vert="horz" lIns="121920" tIns="60960" rIns="121920" bIns="60960" rtlCol="0" anchor="ctr">
            <a:normAutofit/>
          </a:bodyPr>
          <a:lstStyle>
            <a:lvl1pPr marL="0" indent="0" algn="l" defTabSz="914400" rtl="0" eaLnBrk="1" latinLnBrk="0" hangingPunct="1">
              <a:lnSpc>
                <a:spcPct val="100000"/>
              </a:lnSpc>
              <a:spcBef>
                <a:spcPts val="1000"/>
              </a:spcBef>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1pPr>
            <a:lvl2pPr marL="457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2pPr>
            <a:lvl3pPr marL="914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000" kern="1200">
                <a:solidFill>
                  <a:schemeClr val="tx1"/>
                </a:solidFill>
                <a:latin typeface="Roboto" pitchFamily="2" charset="0"/>
                <a:ea typeface="Roboto" pitchFamily="2" charset="0"/>
                <a:cs typeface="+mn-cs"/>
              </a:defRPr>
            </a:lvl3pPr>
            <a:lvl4pPr marL="1371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4pPr>
            <a:lvl5pPr marL="18288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5pPr>
            <a:lvl6pPr marL="22860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9pPr>
          </a:lstStyle>
          <a:p>
            <a:pPr algn="ctr">
              <a:spcBef>
                <a:spcPts val="0"/>
              </a:spcBef>
            </a:pPr>
            <a:r>
              <a:rPr lang="en-AU" sz="1100" dirty="0">
                <a:solidFill>
                  <a:schemeClr val="tx1">
                    <a:lumMod val="95000"/>
                    <a:lumOff val="5000"/>
                  </a:schemeClr>
                </a:solidFill>
                <a:latin typeface="Montserrat" panose="00000500000000000000" pitchFamily="2" charset="0"/>
                <a:ea typeface="Open Sans" panose="020B0606030504020204" pitchFamily="34" charset="0"/>
                <a:cs typeface="Open Sans" panose="020B0606030504020204" pitchFamily="34" charset="0"/>
              </a:rPr>
              <a:t>PLANNING</a:t>
            </a:r>
          </a:p>
        </p:txBody>
      </p:sp>
      <p:sp>
        <p:nvSpPr>
          <p:cNvPr id="60" name="Rectangle 59"/>
          <p:cNvSpPr/>
          <p:nvPr/>
        </p:nvSpPr>
        <p:spPr>
          <a:xfrm>
            <a:off x="4640894" y="4931409"/>
            <a:ext cx="1617645" cy="707886"/>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a:t>
            </a:r>
          </a:p>
        </p:txBody>
      </p:sp>
      <p:sp>
        <p:nvSpPr>
          <p:cNvPr id="61" name="Rectangle 60"/>
          <p:cNvSpPr/>
          <p:nvPr/>
        </p:nvSpPr>
        <p:spPr>
          <a:xfrm>
            <a:off x="6847956" y="4931409"/>
            <a:ext cx="1617645" cy="707886"/>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a:t>
            </a:r>
          </a:p>
        </p:txBody>
      </p:sp>
      <p:sp>
        <p:nvSpPr>
          <p:cNvPr id="62" name="Rectangle 61"/>
          <p:cNvSpPr/>
          <p:nvPr/>
        </p:nvSpPr>
        <p:spPr>
          <a:xfrm>
            <a:off x="8935094" y="4931409"/>
            <a:ext cx="1617645" cy="707886"/>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a:t>
            </a:r>
          </a:p>
        </p:txBody>
      </p:sp>
      <p:sp>
        <p:nvSpPr>
          <p:cNvPr id="63" name="Freeform 258"/>
          <p:cNvSpPr>
            <a:spLocks noEditPoints="1"/>
          </p:cNvSpPr>
          <p:nvPr/>
        </p:nvSpPr>
        <p:spPr bwMode="auto">
          <a:xfrm>
            <a:off x="9495304" y="3864530"/>
            <a:ext cx="350838" cy="350838"/>
          </a:xfrm>
          <a:custGeom>
            <a:avLst/>
            <a:gdLst>
              <a:gd name="T0" fmla="*/ 393 w 883"/>
              <a:gd name="T1" fmla="*/ 555 h 883"/>
              <a:gd name="T2" fmla="*/ 346 w 883"/>
              <a:gd name="T3" fmla="*/ 520 h 883"/>
              <a:gd name="T4" fmla="*/ 321 w 883"/>
              <a:gd name="T5" fmla="*/ 466 h 883"/>
              <a:gd name="T6" fmla="*/ 323 w 883"/>
              <a:gd name="T7" fmla="*/ 404 h 883"/>
              <a:gd name="T8" fmla="*/ 354 w 883"/>
              <a:gd name="T9" fmla="*/ 354 h 883"/>
              <a:gd name="T10" fmla="*/ 404 w 883"/>
              <a:gd name="T11" fmla="*/ 323 h 883"/>
              <a:gd name="T12" fmla="*/ 467 w 883"/>
              <a:gd name="T13" fmla="*/ 320 h 883"/>
              <a:gd name="T14" fmla="*/ 520 w 883"/>
              <a:gd name="T15" fmla="*/ 346 h 883"/>
              <a:gd name="T16" fmla="*/ 555 w 883"/>
              <a:gd name="T17" fmla="*/ 393 h 883"/>
              <a:gd name="T18" fmla="*/ 564 w 883"/>
              <a:gd name="T19" fmla="*/ 454 h 883"/>
              <a:gd name="T20" fmla="*/ 543 w 883"/>
              <a:gd name="T21" fmla="*/ 510 h 883"/>
              <a:gd name="T22" fmla="*/ 500 w 883"/>
              <a:gd name="T23" fmla="*/ 550 h 883"/>
              <a:gd name="T24" fmla="*/ 441 w 883"/>
              <a:gd name="T25" fmla="*/ 565 h 883"/>
              <a:gd name="T26" fmla="*/ 328 w 883"/>
              <a:gd name="T27" fmla="*/ 102 h 883"/>
              <a:gd name="T28" fmla="*/ 67 w 883"/>
              <a:gd name="T29" fmla="*/ 191 h 883"/>
              <a:gd name="T30" fmla="*/ 98 w 883"/>
              <a:gd name="T31" fmla="*/ 353 h 883"/>
              <a:gd name="T32" fmla="*/ 118 w 883"/>
              <a:gd name="T33" fmla="*/ 575 h 883"/>
              <a:gd name="T34" fmla="*/ 266 w 883"/>
              <a:gd name="T35" fmla="*/ 741 h 883"/>
              <a:gd name="T36" fmla="*/ 353 w 883"/>
              <a:gd name="T37" fmla="*/ 883 h 883"/>
              <a:gd name="T38" fmla="*/ 596 w 883"/>
              <a:gd name="T39" fmla="*/ 752 h 883"/>
              <a:gd name="T40" fmla="*/ 754 w 883"/>
              <a:gd name="T41" fmla="*/ 597 h 883"/>
              <a:gd name="T42" fmla="*/ 883 w 883"/>
              <a:gd name="T43" fmla="*/ 353 h 883"/>
              <a:gd name="T44" fmla="*/ 748 w 883"/>
              <a:gd name="T45" fmla="*/ 260 h 883"/>
              <a:gd name="T46" fmla="*/ 578 w 883"/>
              <a:gd name="T47" fmla="*/ 110 h 883"/>
              <a:gd name="T48" fmla="*/ 457 w 883"/>
              <a:gd name="T49" fmla="*/ 600 h 883"/>
              <a:gd name="T50" fmla="*/ 530 w 883"/>
              <a:gd name="T51" fmla="*/ 573 h 883"/>
              <a:gd name="T52" fmla="*/ 581 w 883"/>
              <a:gd name="T53" fmla="*/ 516 h 883"/>
              <a:gd name="T54" fmla="*/ 600 w 883"/>
              <a:gd name="T55" fmla="*/ 441 h 883"/>
              <a:gd name="T56" fmla="*/ 581 w 883"/>
              <a:gd name="T57" fmla="*/ 365 h 883"/>
              <a:gd name="T58" fmla="*/ 530 w 883"/>
              <a:gd name="T59" fmla="*/ 310 h 883"/>
              <a:gd name="T60" fmla="*/ 457 w 883"/>
              <a:gd name="T61" fmla="*/ 283 h 883"/>
              <a:gd name="T62" fmla="*/ 379 w 883"/>
              <a:gd name="T63" fmla="*/ 295 h 883"/>
              <a:gd name="T64" fmla="*/ 319 w 883"/>
              <a:gd name="T65" fmla="*/ 340 h 883"/>
              <a:gd name="T66" fmla="*/ 286 w 883"/>
              <a:gd name="T67" fmla="*/ 410 h 883"/>
              <a:gd name="T68" fmla="*/ 290 w 883"/>
              <a:gd name="T69" fmla="*/ 488 h 883"/>
              <a:gd name="T70" fmla="*/ 329 w 883"/>
              <a:gd name="T71" fmla="*/ 553 h 883"/>
              <a:gd name="T72" fmla="*/ 394 w 883"/>
              <a:gd name="T73" fmla="*/ 593 h 883"/>
              <a:gd name="T74" fmla="*/ 494 w 883"/>
              <a:gd name="T75" fmla="*/ 36 h 883"/>
              <a:gd name="T76" fmla="*/ 564 w 883"/>
              <a:gd name="T77" fmla="*/ 143 h 883"/>
              <a:gd name="T78" fmla="*/ 690 w 883"/>
              <a:gd name="T79" fmla="*/ 117 h 883"/>
              <a:gd name="T80" fmla="*/ 727 w 883"/>
              <a:gd name="T81" fmla="*/ 297 h 883"/>
              <a:gd name="T82" fmla="*/ 784 w 883"/>
              <a:gd name="T83" fmla="*/ 388 h 883"/>
              <a:gd name="T84" fmla="*/ 746 w 883"/>
              <a:gd name="T85" fmla="*/ 520 h 883"/>
              <a:gd name="T86" fmla="*/ 698 w 883"/>
              <a:gd name="T87" fmla="*/ 623 h 883"/>
              <a:gd name="T88" fmla="*/ 622 w 883"/>
              <a:gd name="T89" fmla="*/ 697 h 883"/>
              <a:gd name="T90" fmla="*/ 521 w 883"/>
              <a:gd name="T91" fmla="*/ 742 h 883"/>
              <a:gd name="T92" fmla="*/ 389 w 883"/>
              <a:gd name="T93" fmla="*/ 777 h 883"/>
              <a:gd name="T94" fmla="*/ 302 w 883"/>
              <a:gd name="T95" fmla="*/ 721 h 883"/>
              <a:gd name="T96" fmla="*/ 117 w 883"/>
              <a:gd name="T97" fmla="*/ 690 h 883"/>
              <a:gd name="T98" fmla="*/ 150 w 883"/>
              <a:gd name="T99" fmla="*/ 561 h 883"/>
              <a:gd name="T100" fmla="*/ 36 w 883"/>
              <a:gd name="T101" fmla="*/ 494 h 883"/>
              <a:gd name="T102" fmla="*/ 139 w 883"/>
              <a:gd name="T103" fmla="*/ 339 h 883"/>
              <a:gd name="T104" fmla="*/ 160 w 883"/>
              <a:gd name="T105" fmla="*/ 236 h 883"/>
              <a:gd name="T106" fmla="*/ 277 w 883"/>
              <a:gd name="T107" fmla="*/ 164 h 883"/>
              <a:gd name="T108" fmla="*/ 389 w 883"/>
              <a:gd name="T109" fmla="*/ 121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3" h="883">
                <a:moveTo>
                  <a:pt x="441" y="565"/>
                </a:moveTo>
                <a:lnTo>
                  <a:pt x="429" y="564"/>
                </a:lnTo>
                <a:lnTo>
                  <a:pt x="416" y="562"/>
                </a:lnTo>
                <a:lnTo>
                  <a:pt x="404" y="560"/>
                </a:lnTo>
                <a:lnTo>
                  <a:pt x="393" y="555"/>
                </a:lnTo>
                <a:lnTo>
                  <a:pt x="382" y="550"/>
                </a:lnTo>
                <a:lnTo>
                  <a:pt x="373" y="543"/>
                </a:lnTo>
                <a:lnTo>
                  <a:pt x="363" y="537"/>
                </a:lnTo>
                <a:lnTo>
                  <a:pt x="354" y="528"/>
                </a:lnTo>
                <a:lnTo>
                  <a:pt x="346" y="520"/>
                </a:lnTo>
                <a:lnTo>
                  <a:pt x="339" y="510"/>
                </a:lnTo>
                <a:lnTo>
                  <a:pt x="333" y="500"/>
                </a:lnTo>
                <a:lnTo>
                  <a:pt x="327" y="489"/>
                </a:lnTo>
                <a:lnTo>
                  <a:pt x="323" y="478"/>
                </a:lnTo>
                <a:lnTo>
                  <a:pt x="321" y="466"/>
                </a:lnTo>
                <a:lnTo>
                  <a:pt x="319" y="454"/>
                </a:lnTo>
                <a:lnTo>
                  <a:pt x="318" y="441"/>
                </a:lnTo>
                <a:lnTo>
                  <a:pt x="319" y="429"/>
                </a:lnTo>
                <a:lnTo>
                  <a:pt x="321" y="416"/>
                </a:lnTo>
                <a:lnTo>
                  <a:pt x="323" y="404"/>
                </a:lnTo>
                <a:lnTo>
                  <a:pt x="327" y="393"/>
                </a:lnTo>
                <a:lnTo>
                  <a:pt x="333" y="383"/>
                </a:lnTo>
                <a:lnTo>
                  <a:pt x="339" y="372"/>
                </a:lnTo>
                <a:lnTo>
                  <a:pt x="346" y="363"/>
                </a:lnTo>
                <a:lnTo>
                  <a:pt x="354" y="354"/>
                </a:lnTo>
                <a:lnTo>
                  <a:pt x="363" y="346"/>
                </a:lnTo>
                <a:lnTo>
                  <a:pt x="373" y="339"/>
                </a:lnTo>
                <a:lnTo>
                  <a:pt x="382" y="333"/>
                </a:lnTo>
                <a:lnTo>
                  <a:pt x="393" y="327"/>
                </a:lnTo>
                <a:lnTo>
                  <a:pt x="404" y="323"/>
                </a:lnTo>
                <a:lnTo>
                  <a:pt x="416" y="320"/>
                </a:lnTo>
                <a:lnTo>
                  <a:pt x="429" y="319"/>
                </a:lnTo>
                <a:lnTo>
                  <a:pt x="441" y="318"/>
                </a:lnTo>
                <a:lnTo>
                  <a:pt x="454" y="319"/>
                </a:lnTo>
                <a:lnTo>
                  <a:pt x="467" y="320"/>
                </a:lnTo>
                <a:lnTo>
                  <a:pt x="477" y="323"/>
                </a:lnTo>
                <a:lnTo>
                  <a:pt x="489" y="327"/>
                </a:lnTo>
                <a:lnTo>
                  <a:pt x="500" y="333"/>
                </a:lnTo>
                <a:lnTo>
                  <a:pt x="510" y="339"/>
                </a:lnTo>
                <a:lnTo>
                  <a:pt x="520" y="346"/>
                </a:lnTo>
                <a:lnTo>
                  <a:pt x="528" y="354"/>
                </a:lnTo>
                <a:lnTo>
                  <a:pt x="537" y="363"/>
                </a:lnTo>
                <a:lnTo>
                  <a:pt x="543" y="372"/>
                </a:lnTo>
                <a:lnTo>
                  <a:pt x="550" y="383"/>
                </a:lnTo>
                <a:lnTo>
                  <a:pt x="555" y="393"/>
                </a:lnTo>
                <a:lnTo>
                  <a:pt x="560" y="404"/>
                </a:lnTo>
                <a:lnTo>
                  <a:pt x="562" y="416"/>
                </a:lnTo>
                <a:lnTo>
                  <a:pt x="564" y="429"/>
                </a:lnTo>
                <a:lnTo>
                  <a:pt x="565" y="441"/>
                </a:lnTo>
                <a:lnTo>
                  <a:pt x="564" y="454"/>
                </a:lnTo>
                <a:lnTo>
                  <a:pt x="562" y="466"/>
                </a:lnTo>
                <a:lnTo>
                  <a:pt x="560" y="478"/>
                </a:lnTo>
                <a:lnTo>
                  <a:pt x="555" y="489"/>
                </a:lnTo>
                <a:lnTo>
                  <a:pt x="550" y="500"/>
                </a:lnTo>
                <a:lnTo>
                  <a:pt x="543" y="510"/>
                </a:lnTo>
                <a:lnTo>
                  <a:pt x="537" y="520"/>
                </a:lnTo>
                <a:lnTo>
                  <a:pt x="528" y="528"/>
                </a:lnTo>
                <a:lnTo>
                  <a:pt x="520" y="537"/>
                </a:lnTo>
                <a:lnTo>
                  <a:pt x="510" y="543"/>
                </a:lnTo>
                <a:lnTo>
                  <a:pt x="500" y="550"/>
                </a:lnTo>
                <a:lnTo>
                  <a:pt x="489" y="555"/>
                </a:lnTo>
                <a:lnTo>
                  <a:pt x="477" y="560"/>
                </a:lnTo>
                <a:lnTo>
                  <a:pt x="467" y="562"/>
                </a:lnTo>
                <a:lnTo>
                  <a:pt x="454" y="564"/>
                </a:lnTo>
                <a:lnTo>
                  <a:pt x="441" y="565"/>
                </a:lnTo>
                <a:lnTo>
                  <a:pt x="441" y="565"/>
                </a:lnTo>
                <a:close/>
                <a:moveTo>
                  <a:pt x="529" y="0"/>
                </a:moveTo>
                <a:lnTo>
                  <a:pt x="353" y="0"/>
                </a:lnTo>
                <a:lnTo>
                  <a:pt x="353" y="94"/>
                </a:lnTo>
                <a:lnTo>
                  <a:pt x="328" y="102"/>
                </a:lnTo>
                <a:lnTo>
                  <a:pt x="305" y="110"/>
                </a:lnTo>
                <a:lnTo>
                  <a:pt x="281" y="121"/>
                </a:lnTo>
                <a:lnTo>
                  <a:pt x="259" y="134"/>
                </a:lnTo>
                <a:lnTo>
                  <a:pt x="192" y="67"/>
                </a:lnTo>
                <a:lnTo>
                  <a:pt x="67" y="191"/>
                </a:lnTo>
                <a:lnTo>
                  <a:pt x="135" y="260"/>
                </a:lnTo>
                <a:lnTo>
                  <a:pt x="124" y="282"/>
                </a:lnTo>
                <a:lnTo>
                  <a:pt x="113" y="305"/>
                </a:lnTo>
                <a:lnTo>
                  <a:pt x="106" y="329"/>
                </a:lnTo>
                <a:lnTo>
                  <a:pt x="98" y="353"/>
                </a:lnTo>
                <a:lnTo>
                  <a:pt x="0" y="353"/>
                </a:lnTo>
                <a:lnTo>
                  <a:pt x="0" y="529"/>
                </a:lnTo>
                <a:lnTo>
                  <a:pt x="102" y="529"/>
                </a:lnTo>
                <a:lnTo>
                  <a:pt x="109" y="553"/>
                </a:lnTo>
                <a:lnTo>
                  <a:pt x="118" y="575"/>
                </a:lnTo>
                <a:lnTo>
                  <a:pt x="129" y="597"/>
                </a:lnTo>
                <a:lnTo>
                  <a:pt x="139" y="618"/>
                </a:lnTo>
                <a:lnTo>
                  <a:pt x="67" y="690"/>
                </a:lnTo>
                <a:lnTo>
                  <a:pt x="192" y="816"/>
                </a:lnTo>
                <a:lnTo>
                  <a:pt x="266" y="741"/>
                </a:lnTo>
                <a:lnTo>
                  <a:pt x="286" y="752"/>
                </a:lnTo>
                <a:lnTo>
                  <a:pt x="308" y="762"/>
                </a:lnTo>
                <a:lnTo>
                  <a:pt x="331" y="770"/>
                </a:lnTo>
                <a:lnTo>
                  <a:pt x="353" y="777"/>
                </a:lnTo>
                <a:lnTo>
                  <a:pt x="353" y="883"/>
                </a:lnTo>
                <a:lnTo>
                  <a:pt x="529" y="883"/>
                </a:lnTo>
                <a:lnTo>
                  <a:pt x="529" y="777"/>
                </a:lnTo>
                <a:lnTo>
                  <a:pt x="552" y="770"/>
                </a:lnTo>
                <a:lnTo>
                  <a:pt x="575" y="762"/>
                </a:lnTo>
                <a:lnTo>
                  <a:pt x="596" y="752"/>
                </a:lnTo>
                <a:lnTo>
                  <a:pt x="617" y="741"/>
                </a:lnTo>
                <a:lnTo>
                  <a:pt x="690" y="816"/>
                </a:lnTo>
                <a:lnTo>
                  <a:pt x="816" y="690"/>
                </a:lnTo>
                <a:lnTo>
                  <a:pt x="743" y="618"/>
                </a:lnTo>
                <a:lnTo>
                  <a:pt x="754" y="597"/>
                </a:lnTo>
                <a:lnTo>
                  <a:pt x="765" y="575"/>
                </a:lnTo>
                <a:lnTo>
                  <a:pt x="773" y="553"/>
                </a:lnTo>
                <a:lnTo>
                  <a:pt x="781" y="529"/>
                </a:lnTo>
                <a:lnTo>
                  <a:pt x="883" y="529"/>
                </a:lnTo>
                <a:lnTo>
                  <a:pt x="883" y="353"/>
                </a:lnTo>
                <a:lnTo>
                  <a:pt x="784" y="353"/>
                </a:lnTo>
                <a:lnTo>
                  <a:pt x="777" y="329"/>
                </a:lnTo>
                <a:lnTo>
                  <a:pt x="769" y="305"/>
                </a:lnTo>
                <a:lnTo>
                  <a:pt x="758" y="282"/>
                </a:lnTo>
                <a:lnTo>
                  <a:pt x="748" y="260"/>
                </a:lnTo>
                <a:lnTo>
                  <a:pt x="816" y="191"/>
                </a:lnTo>
                <a:lnTo>
                  <a:pt x="690" y="67"/>
                </a:lnTo>
                <a:lnTo>
                  <a:pt x="623" y="134"/>
                </a:lnTo>
                <a:lnTo>
                  <a:pt x="602" y="121"/>
                </a:lnTo>
                <a:lnTo>
                  <a:pt x="578" y="110"/>
                </a:lnTo>
                <a:lnTo>
                  <a:pt x="554" y="102"/>
                </a:lnTo>
                <a:lnTo>
                  <a:pt x="529" y="94"/>
                </a:lnTo>
                <a:lnTo>
                  <a:pt x="529" y="0"/>
                </a:lnTo>
                <a:close/>
                <a:moveTo>
                  <a:pt x="441" y="600"/>
                </a:moveTo>
                <a:lnTo>
                  <a:pt x="457" y="600"/>
                </a:lnTo>
                <a:lnTo>
                  <a:pt x="473" y="596"/>
                </a:lnTo>
                <a:lnTo>
                  <a:pt x="488" y="593"/>
                </a:lnTo>
                <a:lnTo>
                  <a:pt x="503" y="588"/>
                </a:lnTo>
                <a:lnTo>
                  <a:pt x="516" y="581"/>
                </a:lnTo>
                <a:lnTo>
                  <a:pt x="530" y="573"/>
                </a:lnTo>
                <a:lnTo>
                  <a:pt x="542" y="564"/>
                </a:lnTo>
                <a:lnTo>
                  <a:pt x="553" y="553"/>
                </a:lnTo>
                <a:lnTo>
                  <a:pt x="564" y="542"/>
                </a:lnTo>
                <a:lnTo>
                  <a:pt x="573" y="529"/>
                </a:lnTo>
                <a:lnTo>
                  <a:pt x="581" y="516"/>
                </a:lnTo>
                <a:lnTo>
                  <a:pt x="588" y="503"/>
                </a:lnTo>
                <a:lnTo>
                  <a:pt x="593" y="488"/>
                </a:lnTo>
                <a:lnTo>
                  <a:pt x="596" y="473"/>
                </a:lnTo>
                <a:lnTo>
                  <a:pt x="600" y="457"/>
                </a:lnTo>
                <a:lnTo>
                  <a:pt x="600" y="441"/>
                </a:lnTo>
                <a:lnTo>
                  <a:pt x="600" y="425"/>
                </a:lnTo>
                <a:lnTo>
                  <a:pt x="596" y="410"/>
                </a:lnTo>
                <a:lnTo>
                  <a:pt x="593" y="394"/>
                </a:lnTo>
                <a:lnTo>
                  <a:pt x="588" y="379"/>
                </a:lnTo>
                <a:lnTo>
                  <a:pt x="581" y="365"/>
                </a:lnTo>
                <a:lnTo>
                  <a:pt x="573" y="352"/>
                </a:lnTo>
                <a:lnTo>
                  <a:pt x="564" y="340"/>
                </a:lnTo>
                <a:lnTo>
                  <a:pt x="553" y="329"/>
                </a:lnTo>
                <a:lnTo>
                  <a:pt x="542" y="319"/>
                </a:lnTo>
                <a:lnTo>
                  <a:pt x="530" y="310"/>
                </a:lnTo>
                <a:lnTo>
                  <a:pt x="516" y="302"/>
                </a:lnTo>
                <a:lnTo>
                  <a:pt x="503" y="295"/>
                </a:lnTo>
                <a:lnTo>
                  <a:pt x="488" y="290"/>
                </a:lnTo>
                <a:lnTo>
                  <a:pt x="473" y="285"/>
                </a:lnTo>
                <a:lnTo>
                  <a:pt x="457" y="283"/>
                </a:lnTo>
                <a:lnTo>
                  <a:pt x="441" y="282"/>
                </a:lnTo>
                <a:lnTo>
                  <a:pt x="425" y="283"/>
                </a:lnTo>
                <a:lnTo>
                  <a:pt x="409" y="285"/>
                </a:lnTo>
                <a:lnTo>
                  <a:pt x="394" y="290"/>
                </a:lnTo>
                <a:lnTo>
                  <a:pt x="379" y="295"/>
                </a:lnTo>
                <a:lnTo>
                  <a:pt x="366" y="302"/>
                </a:lnTo>
                <a:lnTo>
                  <a:pt x="352" y="310"/>
                </a:lnTo>
                <a:lnTo>
                  <a:pt x="340" y="319"/>
                </a:lnTo>
                <a:lnTo>
                  <a:pt x="329" y="329"/>
                </a:lnTo>
                <a:lnTo>
                  <a:pt x="319" y="340"/>
                </a:lnTo>
                <a:lnTo>
                  <a:pt x="310" y="352"/>
                </a:lnTo>
                <a:lnTo>
                  <a:pt x="301" y="365"/>
                </a:lnTo>
                <a:lnTo>
                  <a:pt x="295" y="379"/>
                </a:lnTo>
                <a:lnTo>
                  <a:pt x="290" y="394"/>
                </a:lnTo>
                <a:lnTo>
                  <a:pt x="286" y="410"/>
                </a:lnTo>
                <a:lnTo>
                  <a:pt x="283" y="425"/>
                </a:lnTo>
                <a:lnTo>
                  <a:pt x="283" y="441"/>
                </a:lnTo>
                <a:lnTo>
                  <a:pt x="283" y="457"/>
                </a:lnTo>
                <a:lnTo>
                  <a:pt x="286" y="473"/>
                </a:lnTo>
                <a:lnTo>
                  <a:pt x="290" y="488"/>
                </a:lnTo>
                <a:lnTo>
                  <a:pt x="295" y="503"/>
                </a:lnTo>
                <a:lnTo>
                  <a:pt x="301" y="516"/>
                </a:lnTo>
                <a:lnTo>
                  <a:pt x="310" y="529"/>
                </a:lnTo>
                <a:lnTo>
                  <a:pt x="319" y="542"/>
                </a:lnTo>
                <a:lnTo>
                  <a:pt x="329" y="553"/>
                </a:lnTo>
                <a:lnTo>
                  <a:pt x="340" y="564"/>
                </a:lnTo>
                <a:lnTo>
                  <a:pt x="352" y="573"/>
                </a:lnTo>
                <a:lnTo>
                  <a:pt x="366" y="581"/>
                </a:lnTo>
                <a:lnTo>
                  <a:pt x="379" y="588"/>
                </a:lnTo>
                <a:lnTo>
                  <a:pt x="394" y="593"/>
                </a:lnTo>
                <a:lnTo>
                  <a:pt x="409" y="596"/>
                </a:lnTo>
                <a:lnTo>
                  <a:pt x="425" y="600"/>
                </a:lnTo>
                <a:lnTo>
                  <a:pt x="441" y="600"/>
                </a:lnTo>
                <a:lnTo>
                  <a:pt x="441" y="600"/>
                </a:lnTo>
                <a:close/>
                <a:moveTo>
                  <a:pt x="494" y="36"/>
                </a:moveTo>
                <a:lnTo>
                  <a:pt x="494" y="94"/>
                </a:lnTo>
                <a:lnTo>
                  <a:pt x="494" y="121"/>
                </a:lnTo>
                <a:lnTo>
                  <a:pt x="521" y="129"/>
                </a:lnTo>
                <a:lnTo>
                  <a:pt x="542" y="135"/>
                </a:lnTo>
                <a:lnTo>
                  <a:pt x="564" y="143"/>
                </a:lnTo>
                <a:lnTo>
                  <a:pt x="585" y="152"/>
                </a:lnTo>
                <a:lnTo>
                  <a:pt x="606" y="164"/>
                </a:lnTo>
                <a:lnTo>
                  <a:pt x="629" y="178"/>
                </a:lnTo>
                <a:lnTo>
                  <a:pt x="649" y="159"/>
                </a:lnTo>
                <a:lnTo>
                  <a:pt x="690" y="117"/>
                </a:lnTo>
                <a:lnTo>
                  <a:pt x="766" y="191"/>
                </a:lnTo>
                <a:lnTo>
                  <a:pt x="723" y="236"/>
                </a:lnTo>
                <a:lnTo>
                  <a:pt x="703" y="254"/>
                </a:lnTo>
                <a:lnTo>
                  <a:pt x="716" y="278"/>
                </a:lnTo>
                <a:lnTo>
                  <a:pt x="727" y="297"/>
                </a:lnTo>
                <a:lnTo>
                  <a:pt x="736" y="318"/>
                </a:lnTo>
                <a:lnTo>
                  <a:pt x="743" y="339"/>
                </a:lnTo>
                <a:lnTo>
                  <a:pt x="750" y="361"/>
                </a:lnTo>
                <a:lnTo>
                  <a:pt x="756" y="388"/>
                </a:lnTo>
                <a:lnTo>
                  <a:pt x="784" y="388"/>
                </a:lnTo>
                <a:lnTo>
                  <a:pt x="847" y="388"/>
                </a:lnTo>
                <a:lnTo>
                  <a:pt x="847" y="494"/>
                </a:lnTo>
                <a:lnTo>
                  <a:pt x="781" y="494"/>
                </a:lnTo>
                <a:lnTo>
                  <a:pt x="754" y="494"/>
                </a:lnTo>
                <a:lnTo>
                  <a:pt x="746" y="520"/>
                </a:lnTo>
                <a:lnTo>
                  <a:pt x="740" y="540"/>
                </a:lnTo>
                <a:lnTo>
                  <a:pt x="732" y="561"/>
                </a:lnTo>
                <a:lnTo>
                  <a:pt x="724" y="580"/>
                </a:lnTo>
                <a:lnTo>
                  <a:pt x="713" y="600"/>
                </a:lnTo>
                <a:lnTo>
                  <a:pt x="698" y="623"/>
                </a:lnTo>
                <a:lnTo>
                  <a:pt x="717" y="643"/>
                </a:lnTo>
                <a:lnTo>
                  <a:pt x="766" y="690"/>
                </a:lnTo>
                <a:lnTo>
                  <a:pt x="690" y="766"/>
                </a:lnTo>
                <a:lnTo>
                  <a:pt x="642" y="716"/>
                </a:lnTo>
                <a:lnTo>
                  <a:pt x="622" y="697"/>
                </a:lnTo>
                <a:lnTo>
                  <a:pt x="600" y="711"/>
                </a:lnTo>
                <a:lnTo>
                  <a:pt x="580" y="721"/>
                </a:lnTo>
                <a:lnTo>
                  <a:pt x="561" y="729"/>
                </a:lnTo>
                <a:lnTo>
                  <a:pt x="541" y="737"/>
                </a:lnTo>
                <a:lnTo>
                  <a:pt x="521" y="742"/>
                </a:lnTo>
                <a:lnTo>
                  <a:pt x="494" y="749"/>
                </a:lnTo>
                <a:lnTo>
                  <a:pt x="494" y="777"/>
                </a:lnTo>
                <a:lnTo>
                  <a:pt x="494" y="847"/>
                </a:lnTo>
                <a:lnTo>
                  <a:pt x="389" y="847"/>
                </a:lnTo>
                <a:lnTo>
                  <a:pt x="389" y="777"/>
                </a:lnTo>
                <a:lnTo>
                  <a:pt x="389" y="749"/>
                </a:lnTo>
                <a:lnTo>
                  <a:pt x="362" y="742"/>
                </a:lnTo>
                <a:lnTo>
                  <a:pt x="341" y="737"/>
                </a:lnTo>
                <a:lnTo>
                  <a:pt x="322" y="729"/>
                </a:lnTo>
                <a:lnTo>
                  <a:pt x="302" y="721"/>
                </a:lnTo>
                <a:lnTo>
                  <a:pt x="283" y="711"/>
                </a:lnTo>
                <a:lnTo>
                  <a:pt x="260" y="697"/>
                </a:lnTo>
                <a:lnTo>
                  <a:pt x="241" y="716"/>
                </a:lnTo>
                <a:lnTo>
                  <a:pt x="192" y="766"/>
                </a:lnTo>
                <a:lnTo>
                  <a:pt x="117" y="690"/>
                </a:lnTo>
                <a:lnTo>
                  <a:pt x="165" y="643"/>
                </a:lnTo>
                <a:lnTo>
                  <a:pt x="185" y="623"/>
                </a:lnTo>
                <a:lnTo>
                  <a:pt x="170" y="600"/>
                </a:lnTo>
                <a:lnTo>
                  <a:pt x="159" y="580"/>
                </a:lnTo>
                <a:lnTo>
                  <a:pt x="150" y="561"/>
                </a:lnTo>
                <a:lnTo>
                  <a:pt x="143" y="540"/>
                </a:lnTo>
                <a:lnTo>
                  <a:pt x="135" y="520"/>
                </a:lnTo>
                <a:lnTo>
                  <a:pt x="129" y="494"/>
                </a:lnTo>
                <a:lnTo>
                  <a:pt x="102" y="494"/>
                </a:lnTo>
                <a:lnTo>
                  <a:pt x="36" y="494"/>
                </a:lnTo>
                <a:lnTo>
                  <a:pt x="36" y="388"/>
                </a:lnTo>
                <a:lnTo>
                  <a:pt x="98" y="388"/>
                </a:lnTo>
                <a:lnTo>
                  <a:pt x="126" y="388"/>
                </a:lnTo>
                <a:lnTo>
                  <a:pt x="133" y="361"/>
                </a:lnTo>
                <a:lnTo>
                  <a:pt x="139" y="339"/>
                </a:lnTo>
                <a:lnTo>
                  <a:pt x="147" y="318"/>
                </a:lnTo>
                <a:lnTo>
                  <a:pt x="156" y="297"/>
                </a:lnTo>
                <a:lnTo>
                  <a:pt x="166" y="278"/>
                </a:lnTo>
                <a:lnTo>
                  <a:pt x="179" y="254"/>
                </a:lnTo>
                <a:lnTo>
                  <a:pt x="160" y="236"/>
                </a:lnTo>
                <a:lnTo>
                  <a:pt x="117" y="191"/>
                </a:lnTo>
                <a:lnTo>
                  <a:pt x="192" y="117"/>
                </a:lnTo>
                <a:lnTo>
                  <a:pt x="233" y="159"/>
                </a:lnTo>
                <a:lnTo>
                  <a:pt x="254" y="178"/>
                </a:lnTo>
                <a:lnTo>
                  <a:pt x="277" y="164"/>
                </a:lnTo>
                <a:lnTo>
                  <a:pt x="297" y="152"/>
                </a:lnTo>
                <a:lnTo>
                  <a:pt x="318" y="143"/>
                </a:lnTo>
                <a:lnTo>
                  <a:pt x="339" y="135"/>
                </a:lnTo>
                <a:lnTo>
                  <a:pt x="362" y="129"/>
                </a:lnTo>
                <a:lnTo>
                  <a:pt x="389" y="121"/>
                </a:lnTo>
                <a:lnTo>
                  <a:pt x="389" y="94"/>
                </a:lnTo>
                <a:lnTo>
                  <a:pt x="389" y="36"/>
                </a:lnTo>
                <a:lnTo>
                  <a:pt x="494" y="36"/>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79"/>
          <p:cNvSpPr>
            <a:spLocks noEditPoints="1"/>
          </p:cNvSpPr>
          <p:nvPr/>
        </p:nvSpPr>
        <p:spPr bwMode="auto">
          <a:xfrm>
            <a:off x="5318592" y="3864530"/>
            <a:ext cx="279400" cy="406400"/>
          </a:xfrm>
          <a:custGeom>
            <a:avLst/>
            <a:gdLst>
              <a:gd name="T0" fmla="*/ 520 w 705"/>
              <a:gd name="T1" fmla="*/ 626 h 1023"/>
              <a:gd name="T2" fmla="*/ 480 w 705"/>
              <a:gd name="T3" fmla="*/ 682 h 1023"/>
              <a:gd name="T4" fmla="*/ 459 w 705"/>
              <a:gd name="T5" fmla="*/ 760 h 1023"/>
              <a:gd name="T6" fmla="*/ 392 w 705"/>
              <a:gd name="T7" fmla="*/ 411 h 1023"/>
              <a:gd name="T8" fmla="*/ 424 w 705"/>
              <a:gd name="T9" fmla="*/ 352 h 1023"/>
              <a:gd name="T10" fmla="*/ 412 w 705"/>
              <a:gd name="T11" fmla="*/ 313 h 1023"/>
              <a:gd name="T12" fmla="*/ 380 w 705"/>
              <a:gd name="T13" fmla="*/ 287 h 1023"/>
              <a:gd name="T14" fmla="*/ 339 w 705"/>
              <a:gd name="T15" fmla="*/ 283 h 1023"/>
              <a:gd name="T16" fmla="*/ 304 w 705"/>
              <a:gd name="T17" fmla="*/ 302 h 1023"/>
              <a:gd name="T18" fmla="*/ 284 w 705"/>
              <a:gd name="T19" fmla="*/ 338 h 1023"/>
              <a:gd name="T20" fmla="*/ 297 w 705"/>
              <a:gd name="T21" fmla="*/ 396 h 1023"/>
              <a:gd name="T22" fmla="*/ 247 w 705"/>
              <a:gd name="T23" fmla="*/ 847 h 1023"/>
              <a:gd name="T24" fmla="*/ 237 w 705"/>
              <a:gd name="T25" fmla="*/ 709 h 1023"/>
              <a:gd name="T26" fmla="*/ 202 w 705"/>
              <a:gd name="T27" fmla="*/ 646 h 1023"/>
              <a:gd name="T28" fmla="*/ 165 w 705"/>
              <a:gd name="T29" fmla="*/ 608 h 1023"/>
              <a:gd name="T30" fmla="*/ 120 w 705"/>
              <a:gd name="T31" fmla="*/ 568 h 1023"/>
              <a:gd name="T32" fmla="*/ 61 w 705"/>
              <a:gd name="T33" fmla="*/ 477 h 1023"/>
              <a:gd name="T34" fmla="*/ 36 w 705"/>
              <a:gd name="T35" fmla="*/ 371 h 1023"/>
              <a:gd name="T36" fmla="*/ 46 w 705"/>
              <a:gd name="T37" fmla="*/ 273 h 1023"/>
              <a:gd name="T38" fmla="*/ 82 w 705"/>
              <a:gd name="T39" fmla="*/ 188 h 1023"/>
              <a:gd name="T40" fmla="*/ 139 w 705"/>
              <a:gd name="T41" fmla="*/ 118 h 1023"/>
              <a:gd name="T42" fmla="*/ 216 w 705"/>
              <a:gd name="T43" fmla="*/ 67 h 1023"/>
              <a:gd name="T44" fmla="*/ 305 w 705"/>
              <a:gd name="T45" fmla="*/ 39 h 1023"/>
              <a:gd name="T46" fmla="*/ 402 w 705"/>
              <a:gd name="T47" fmla="*/ 39 h 1023"/>
              <a:gd name="T48" fmla="*/ 491 w 705"/>
              <a:gd name="T49" fmla="*/ 67 h 1023"/>
              <a:gd name="T50" fmla="*/ 566 w 705"/>
              <a:gd name="T51" fmla="*/ 118 h 1023"/>
              <a:gd name="T52" fmla="*/ 624 w 705"/>
              <a:gd name="T53" fmla="*/ 188 h 1023"/>
              <a:gd name="T54" fmla="*/ 660 w 705"/>
              <a:gd name="T55" fmla="*/ 273 h 1023"/>
              <a:gd name="T56" fmla="*/ 670 w 705"/>
              <a:gd name="T57" fmla="*/ 371 h 1023"/>
              <a:gd name="T58" fmla="*/ 645 w 705"/>
              <a:gd name="T59" fmla="*/ 477 h 1023"/>
              <a:gd name="T60" fmla="*/ 586 w 705"/>
              <a:gd name="T61" fmla="*/ 569 h 1023"/>
              <a:gd name="T62" fmla="*/ 339 w 705"/>
              <a:gd name="T63" fmla="*/ 385 h 1023"/>
              <a:gd name="T64" fmla="*/ 318 w 705"/>
              <a:gd name="T65" fmla="*/ 352 h 1023"/>
              <a:gd name="T66" fmla="*/ 339 w 705"/>
              <a:gd name="T67" fmla="*/ 320 h 1023"/>
              <a:gd name="T68" fmla="*/ 378 w 705"/>
              <a:gd name="T69" fmla="*/ 327 h 1023"/>
              <a:gd name="T70" fmla="*/ 386 w 705"/>
              <a:gd name="T71" fmla="*/ 366 h 1023"/>
              <a:gd name="T72" fmla="*/ 353 w 705"/>
              <a:gd name="T73" fmla="*/ 388 h 1023"/>
              <a:gd name="T74" fmla="*/ 705 w 705"/>
              <a:gd name="T75" fmla="*/ 352 h 1023"/>
              <a:gd name="T76" fmla="*/ 690 w 705"/>
              <a:gd name="T77" fmla="*/ 247 h 1023"/>
              <a:gd name="T78" fmla="*/ 646 w 705"/>
              <a:gd name="T79" fmla="*/ 155 h 1023"/>
              <a:gd name="T80" fmla="*/ 578 w 705"/>
              <a:gd name="T81" fmla="*/ 80 h 1023"/>
              <a:gd name="T82" fmla="*/ 491 w 705"/>
              <a:gd name="T83" fmla="*/ 28 h 1023"/>
              <a:gd name="T84" fmla="*/ 389 w 705"/>
              <a:gd name="T85" fmla="*/ 2 h 1023"/>
              <a:gd name="T86" fmla="*/ 282 w 705"/>
              <a:gd name="T87" fmla="*/ 7 h 1023"/>
              <a:gd name="T88" fmla="*/ 185 w 705"/>
              <a:gd name="T89" fmla="*/ 42 h 1023"/>
              <a:gd name="T90" fmla="*/ 104 w 705"/>
              <a:gd name="T91" fmla="*/ 104 h 1023"/>
              <a:gd name="T92" fmla="*/ 43 w 705"/>
              <a:gd name="T93" fmla="*/ 185 h 1023"/>
              <a:gd name="T94" fmla="*/ 8 w 705"/>
              <a:gd name="T95" fmla="*/ 282 h 1023"/>
              <a:gd name="T96" fmla="*/ 3 w 705"/>
              <a:gd name="T97" fmla="*/ 395 h 1023"/>
              <a:gd name="T98" fmla="*/ 39 w 705"/>
              <a:gd name="T99" fmla="*/ 512 h 1023"/>
              <a:gd name="T100" fmla="*/ 110 w 705"/>
              <a:gd name="T101" fmla="*/ 607 h 1023"/>
              <a:gd name="T102" fmla="*/ 145 w 705"/>
              <a:gd name="T103" fmla="*/ 637 h 1023"/>
              <a:gd name="T104" fmla="*/ 193 w 705"/>
              <a:gd name="T105" fmla="*/ 699 h 1023"/>
              <a:gd name="T106" fmla="*/ 212 w 705"/>
              <a:gd name="T107" fmla="*/ 763 h 1023"/>
              <a:gd name="T108" fmla="*/ 496 w 705"/>
              <a:gd name="T109" fmla="*/ 750 h 1023"/>
              <a:gd name="T110" fmla="*/ 519 w 705"/>
              <a:gd name="T111" fmla="*/ 686 h 1023"/>
              <a:gd name="T112" fmla="*/ 580 w 705"/>
              <a:gd name="T113" fmla="*/ 622 h 1023"/>
              <a:gd name="T114" fmla="*/ 658 w 705"/>
              <a:gd name="T115" fmla="*/ 530 h 1023"/>
              <a:gd name="T116" fmla="*/ 700 w 705"/>
              <a:gd name="T117" fmla="*/ 416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5" h="1023">
                <a:moveTo>
                  <a:pt x="543" y="606"/>
                </a:moveTo>
                <a:lnTo>
                  <a:pt x="542" y="607"/>
                </a:lnTo>
                <a:lnTo>
                  <a:pt x="542" y="607"/>
                </a:lnTo>
                <a:lnTo>
                  <a:pt x="535" y="612"/>
                </a:lnTo>
                <a:lnTo>
                  <a:pt x="527" y="619"/>
                </a:lnTo>
                <a:lnTo>
                  <a:pt x="520" y="626"/>
                </a:lnTo>
                <a:lnTo>
                  <a:pt x="513" y="634"/>
                </a:lnTo>
                <a:lnTo>
                  <a:pt x="506" y="642"/>
                </a:lnTo>
                <a:lnTo>
                  <a:pt x="499" y="651"/>
                </a:lnTo>
                <a:lnTo>
                  <a:pt x="492" y="661"/>
                </a:lnTo>
                <a:lnTo>
                  <a:pt x="486" y="672"/>
                </a:lnTo>
                <a:lnTo>
                  <a:pt x="480" y="682"/>
                </a:lnTo>
                <a:lnTo>
                  <a:pt x="475" y="694"/>
                </a:lnTo>
                <a:lnTo>
                  <a:pt x="470" y="706"/>
                </a:lnTo>
                <a:lnTo>
                  <a:pt x="467" y="719"/>
                </a:lnTo>
                <a:lnTo>
                  <a:pt x="464" y="732"/>
                </a:lnTo>
                <a:lnTo>
                  <a:pt x="461" y="746"/>
                </a:lnTo>
                <a:lnTo>
                  <a:pt x="459" y="760"/>
                </a:lnTo>
                <a:lnTo>
                  <a:pt x="459" y="775"/>
                </a:lnTo>
                <a:lnTo>
                  <a:pt x="459" y="847"/>
                </a:lnTo>
                <a:lnTo>
                  <a:pt x="371" y="847"/>
                </a:lnTo>
                <a:lnTo>
                  <a:pt x="371" y="420"/>
                </a:lnTo>
                <a:lnTo>
                  <a:pt x="381" y="417"/>
                </a:lnTo>
                <a:lnTo>
                  <a:pt x="392" y="411"/>
                </a:lnTo>
                <a:lnTo>
                  <a:pt x="401" y="404"/>
                </a:lnTo>
                <a:lnTo>
                  <a:pt x="408" y="396"/>
                </a:lnTo>
                <a:lnTo>
                  <a:pt x="415" y="386"/>
                </a:lnTo>
                <a:lnTo>
                  <a:pt x="419" y="376"/>
                </a:lnTo>
                <a:lnTo>
                  <a:pt x="422" y="365"/>
                </a:lnTo>
                <a:lnTo>
                  <a:pt x="424" y="352"/>
                </a:lnTo>
                <a:lnTo>
                  <a:pt x="424" y="345"/>
                </a:lnTo>
                <a:lnTo>
                  <a:pt x="422" y="338"/>
                </a:lnTo>
                <a:lnTo>
                  <a:pt x="420" y="331"/>
                </a:lnTo>
                <a:lnTo>
                  <a:pt x="418" y="325"/>
                </a:lnTo>
                <a:lnTo>
                  <a:pt x="415" y="318"/>
                </a:lnTo>
                <a:lnTo>
                  <a:pt x="412" y="313"/>
                </a:lnTo>
                <a:lnTo>
                  <a:pt x="407" y="308"/>
                </a:lnTo>
                <a:lnTo>
                  <a:pt x="403" y="302"/>
                </a:lnTo>
                <a:lnTo>
                  <a:pt x="398" y="298"/>
                </a:lnTo>
                <a:lnTo>
                  <a:pt x="392" y="294"/>
                </a:lnTo>
                <a:lnTo>
                  <a:pt x="387" y="290"/>
                </a:lnTo>
                <a:lnTo>
                  <a:pt x="380" y="287"/>
                </a:lnTo>
                <a:lnTo>
                  <a:pt x="374" y="285"/>
                </a:lnTo>
                <a:lnTo>
                  <a:pt x="367" y="283"/>
                </a:lnTo>
                <a:lnTo>
                  <a:pt x="361" y="282"/>
                </a:lnTo>
                <a:lnTo>
                  <a:pt x="353" y="282"/>
                </a:lnTo>
                <a:lnTo>
                  <a:pt x="346" y="282"/>
                </a:lnTo>
                <a:lnTo>
                  <a:pt x="339" y="283"/>
                </a:lnTo>
                <a:lnTo>
                  <a:pt x="332" y="285"/>
                </a:lnTo>
                <a:lnTo>
                  <a:pt x="325" y="287"/>
                </a:lnTo>
                <a:lnTo>
                  <a:pt x="320" y="290"/>
                </a:lnTo>
                <a:lnTo>
                  <a:pt x="313" y="294"/>
                </a:lnTo>
                <a:lnTo>
                  <a:pt x="308" y="298"/>
                </a:lnTo>
                <a:lnTo>
                  <a:pt x="304" y="302"/>
                </a:lnTo>
                <a:lnTo>
                  <a:pt x="298" y="308"/>
                </a:lnTo>
                <a:lnTo>
                  <a:pt x="295" y="313"/>
                </a:lnTo>
                <a:lnTo>
                  <a:pt x="291" y="318"/>
                </a:lnTo>
                <a:lnTo>
                  <a:pt x="289" y="325"/>
                </a:lnTo>
                <a:lnTo>
                  <a:pt x="285" y="331"/>
                </a:lnTo>
                <a:lnTo>
                  <a:pt x="284" y="338"/>
                </a:lnTo>
                <a:lnTo>
                  <a:pt x="283" y="345"/>
                </a:lnTo>
                <a:lnTo>
                  <a:pt x="283" y="352"/>
                </a:lnTo>
                <a:lnTo>
                  <a:pt x="283" y="365"/>
                </a:lnTo>
                <a:lnTo>
                  <a:pt x="286" y="376"/>
                </a:lnTo>
                <a:lnTo>
                  <a:pt x="292" y="386"/>
                </a:lnTo>
                <a:lnTo>
                  <a:pt x="297" y="396"/>
                </a:lnTo>
                <a:lnTo>
                  <a:pt x="306" y="404"/>
                </a:lnTo>
                <a:lnTo>
                  <a:pt x="314" y="411"/>
                </a:lnTo>
                <a:lnTo>
                  <a:pt x="324" y="417"/>
                </a:lnTo>
                <a:lnTo>
                  <a:pt x="335" y="420"/>
                </a:lnTo>
                <a:lnTo>
                  <a:pt x="336" y="847"/>
                </a:lnTo>
                <a:lnTo>
                  <a:pt x="247" y="847"/>
                </a:lnTo>
                <a:lnTo>
                  <a:pt x="247" y="775"/>
                </a:lnTo>
                <a:lnTo>
                  <a:pt x="246" y="761"/>
                </a:lnTo>
                <a:lnTo>
                  <a:pt x="245" y="748"/>
                </a:lnTo>
                <a:lnTo>
                  <a:pt x="243" y="734"/>
                </a:lnTo>
                <a:lnTo>
                  <a:pt x="240" y="721"/>
                </a:lnTo>
                <a:lnTo>
                  <a:pt x="237" y="709"/>
                </a:lnTo>
                <a:lnTo>
                  <a:pt x="231" y="698"/>
                </a:lnTo>
                <a:lnTo>
                  <a:pt x="227" y="686"/>
                </a:lnTo>
                <a:lnTo>
                  <a:pt x="222" y="675"/>
                </a:lnTo>
                <a:lnTo>
                  <a:pt x="215" y="665"/>
                </a:lnTo>
                <a:lnTo>
                  <a:pt x="209" y="655"/>
                </a:lnTo>
                <a:lnTo>
                  <a:pt x="202" y="646"/>
                </a:lnTo>
                <a:lnTo>
                  <a:pt x="196" y="637"/>
                </a:lnTo>
                <a:lnTo>
                  <a:pt x="182" y="622"/>
                </a:lnTo>
                <a:lnTo>
                  <a:pt x="168" y="610"/>
                </a:lnTo>
                <a:lnTo>
                  <a:pt x="168" y="609"/>
                </a:lnTo>
                <a:lnTo>
                  <a:pt x="166" y="609"/>
                </a:lnTo>
                <a:lnTo>
                  <a:pt x="165" y="608"/>
                </a:lnTo>
                <a:lnTo>
                  <a:pt x="163" y="607"/>
                </a:lnTo>
                <a:lnTo>
                  <a:pt x="162" y="606"/>
                </a:lnTo>
                <a:lnTo>
                  <a:pt x="161" y="605"/>
                </a:lnTo>
                <a:lnTo>
                  <a:pt x="147" y="593"/>
                </a:lnTo>
                <a:lnTo>
                  <a:pt x="133" y="581"/>
                </a:lnTo>
                <a:lnTo>
                  <a:pt x="120" y="568"/>
                </a:lnTo>
                <a:lnTo>
                  <a:pt x="108" y="554"/>
                </a:lnTo>
                <a:lnTo>
                  <a:pt x="97" y="540"/>
                </a:lnTo>
                <a:lnTo>
                  <a:pt x="87" y="525"/>
                </a:lnTo>
                <a:lnTo>
                  <a:pt x="77" y="510"/>
                </a:lnTo>
                <a:lnTo>
                  <a:pt x="68" y="493"/>
                </a:lnTo>
                <a:lnTo>
                  <a:pt x="61" y="477"/>
                </a:lnTo>
                <a:lnTo>
                  <a:pt x="54" y="460"/>
                </a:lnTo>
                <a:lnTo>
                  <a:pt x="49" y="443"/>
                </a:lnTo>
                <a:lnTo>
                  <a:pt x="44" y="425"/>
                </a:lnTo>
                <a:lnTo>
                  <a:pt x="40" y="408"/>
                </a:lnTo>
                <a:lnTo>
                  <a:pt x="38" y="390"/>
                </a:lnTo>
                <a:lnTo>
                  <a:pt x="36" y="371"/>
                </a:lnTo>
                <a:lnTo>
                  <a:pt x="36" y="352"/>
                </a:lnTo>
                <a:lnTo>
                  <a:pt x="36" y="336"/>
                </a:lnTo>
                <a:lnTo>
                  <a:pt x="37" y="320"/>
                </a:lnTo>
                <a:lnTo>
                  <a:pt x="39" y="304"/>
                </a:lnTo>
                <a:lnTo>
                  <a:pt x="42" y="288"/>
                </a:lnTo>
                <a:lnTo>
                  <a:pt x="46" y="273"/>
                </a:lnTo>
                <a:lnTo>
                  <a:pt x="50" y="258"/>
                </a:lnTo>
                <a:lnTo>
                  <a:pt x="55" y="243"/>
                </a:lnTo>
                <a:lnTo>
                  <a:pt x="61" y="229"/>
                </a:lnTo>
                <a:lnTo>
                  <a:pt x="67" y="215"/>
                </a:lnTo>
                <a:lnTo>
                  <a:pt x="74" y="201"/>
                </a:lnTo>
                <a:lnTo>
                  <a:pt x="82" y="188"/>
                </a:lnTo>
                <a:lnTo>
                  <a:pt x="90" y="175"/>
                </a:lnTo>
                <a:lnTo>
                  <a:pt x="98" y="163"/>
                </a:lnTo>
                <a:lnTo>
                  <a:pt x="108" y="151"/>
                </a:lnTo>
                <a:lnTo>
                  <a:pt x="118" y="139"/>
                </a:lnTo>
                <a:lnTo>
                  <a:pt x="129" y="128"/>
                </a:lnTo>
                <a:lnTo>
                  <a:pt x="139" y="118"/>
                </a:lnTo>
                <a:lnTo>
                  <a:pt x="151" y="108"/>
                </a:lnTo>
                <a:lnTo>
                  <a:pt x="163" y="98"/>
                </a:lnTo>
                <a:lnTo>
                  <a:pt x="176" y="89"/>
                </a:lnTo>
                <a:lnTo>
                  <a:pt x="189" y="81"/>
                </a:lnTo>
                <a:lnTo>
                  <a:pt x="202" y="73"/>
                </a:lnTo>
                <a:lnTo>
                  <a:pt x="216" y="67"/>
                </a:lnTo>
                <a:lnTo>
                  <a:pt x="230" y="60"/>
                </a:lnTo>
                <a:lnTo>
                  <a:pt x="244" y="54"/>
                </a:lnTo>
                <a:lnTo>
                  <a:pt x="259" y="50"/>
                </a:lnTo>
                <a:lnTo>
                  <a:pt x="273" y="45"/>
                </a:lnTo>
                <a:lnTo>
                  <a:pt x="290" y="42"/>
                </a:lnTo>
                <a:lnTo>
                  <a:pt x="305" y="39"/>
                </a:lnTo>
                <a:lnTo>
                  <a:pt x="321" y="37"/>
                </a:lnTo>
                <a:lnTo>
                  <a:pt x="337" y="35"/>
                </a:lnTo>
                <a:lnTo>
                  <a:pt x="353" y="35"/>
                </a:lnTo>
                <a:lnTo>
                  <a:pt x="370" y="35"/>
                </a:lnTo>
                <a:lnTo>
                  <a:pt x="386" y="37"/>
                </a:lnTo>
                <a:lnTo>
                  <a:pt x="402" y="39"/>
                </a:lnTo>
                <a:lnTo>
                  <a:pt x="417" y="42"/>
                </a:lnTo>
                <a:lnTo>
                  <a:pt x="432" y="45"/>
                </a:lnTo>
                <a:lnTo>
                  <a:pt x="447" y="50"/>
                </a:lnTo>
                <a:lnTo>
                  <a:pt x="462" y="54"/>
                </a:lnTo>
                <a:lnTo>
                  <a:pt x="476" y="60"/>
                </a:lnTo>
                <a:lnTo>
                  <a:pt x="491" y="67"/>
                </a:lnTo>
                <a:lnTo>
                  <a:pt x="505" y="73"/>
                </a:lnTo>
                <a:lnTo>
                  <a:pt x="518" y="81"/>
                </a:lnTo>
                <a:lnTo>
                  <a:pt x="530" y="89"/>
                </a:lnTo>
                <a:lnTo>
                  <a:pt x="543" y="98"/>
                </a:lnTo>
                <a:lnTo>
                  <a:pt x="555" y="108"/>
                </a:lnTo>
                <a:lnTo>
                  <a:pt x="566" y="118"/>
                </a:lnTo>
                <a:lnTo>
                  <a:pt x="578" y="128"/>
                </a:lnTo>
                <a:lnTo>
                  <a:pt x="588" y="139"/>
                </a:lnTo>
                <a:lnTo>
                  <a:pt x="599" y="151"/>
                </a:lnTo>
                <a:lnTo>
                  <a:pt x="607" y="163"/>
                </a:lnTo>
                <a:lnTo>
                  <a:pt x="616" y="175"/>
                </a:lnTo>
                <a:lnTo>
                  <a:pt x="624" y="188"/>
                </a:lnTo>
                <a:lnTo>
                  <a:pt x="632" y="201"/>
                </a:lnTo>
                <a:lnTo>
                  <a:pt x="640" y="215"/>
                </a:lnTo>
                <a:lnTo>
                  <a:pt x="646" y="229"/>
                </a:lnTo>
                <a:lnTo>
                  <a:pt x="651" y="243"/>
                </a:lnTo>
                <a:lnTo>
                  <a:pt x="656" y="258"/>
                </a:lnTo>
                <a:lnTo>
                  <a:pt x="660" y="273"/>
                </a:lnTo>
                <a:lnTo>
                  <a:pt x="664" y="288"/>
                </a:lnTo>
                <a:lnTo>
                  <a:pt x="667" y="304"/>
                </a:lnTo>
                <a:lnTo>
                  <a:pt x="669" y="320"/>
                </a:lnTo>
                <a:lnTo>
                  <a:pt x="670" y="336"/>
                </a:lnTo>
                <a:lnTo>
                  <a:pt x="671" y="352"/>
                </a:lnTo>
                <a:lnTo>
                  <a:pt x="670" y="371"/>
                </a:lnTo>
                <a:lnTo>
                  <a:pt x="669" y="390"/>
                </a:lnTo>
                <a:lnTo>
                  <a:pt x="665" y="408"/>
                </a:lnTo>
                <a:lnTo>
                  <a:pt x="662" y="426"/>
                </a:lnTo>
                <a:lnTo>
                  <a:pt x="657" y="444"/>
                </a:lnTo>
                <a:lnTo>
                  <a:pt x="651" y="461"/>
                </a:lnTo>
                <a:lnTo>
                  <a:pt x="645" y="477"/>
                </a:lnTo>
                <a:lnTo>
                  <a:pt x="637" y="494"/>
                </a:lnTo>
                <a:lnTo>
                  <a:pt x="629" y="510"/>
                </a:lnTo>
                <a:lnTo>
                  <a:pt x="619" y="526"/>
                </a:lnTo>
                <a:lnTo>
                  <a:pt x="608" y="541"/>
                </a:lnTo>
                <a:lnTo>
                  <a:pt x="597" y="555"/>
                </a:lnTo>
                <a:lnTo>
                  <a:pt x="586" y="569"/>
                </a:lnTo>
                <a:lnTo>
                  <a:pt x="573" y="582"/>
                </a:lnTo>
                <a:lnTo>
                  <a:pt x="559" y="594"/>
                </a:lnTo>
                <a:lnTo>
                  <a:pt x="543" y="606"/>
                </a:lnTo>
                <a:close/>
                <a:moveTo>
                  <a:pt x="353" y="388"/>
                </a:moveTo>
                <a:lnTo>
                  <a:pt x="346" y="386"/>
                </a:lnTo>
                <a:lnTo>
                  <a:pt x="339" y="385"/>
                </a:lnTo>
                <a:lnTo>
                  <a:pt x="334" y="381"/>
                </a:lnTo>
                <a:lnTo>
                  <a:pt x="328" y="378"/>
                </a:lnTo>
                <a:lnTo>
                  <a:pt x="324" y="372"/>
                </a:lnTo>
                <a:lnTo>
                  <a:pt x="321" y="366"/>
                </a:lnTo>
                <a:lnTo>
                  <a:pt x="319" y="359"/>
                </a:lnTo>
                <a:lnTo>
                  <a:pt x="318" y="352"/>
                </a:lnTo>
                <a:lnTo>
                  <a:pt x="319" y="345"/>
                </a:lnTo>
                <a:lnTo>
                  <a:pt x="321" y="339"/>
                </a:lnTo>
                <a:lnTo>
                  <a:pt x="324" y="332"/>
                </a:lnTo>
                <a:lnTo>
                  <a:pt x="328" y="327"/>
                </a:lnTo>
                <a:lnTo>
                  <a:pt x="334" y="323"/>
                </a:lnTo>
                <a:lnTo>
                  <a:pt x="339" y="320"/>
                </a:lnTo>
                <a:lnTo>
                  <a:pt x="346" y="317"/>
                </a:lnTo>
                <a:lnTo>
                  <a:pt x="353" y="317"/>
                </a:lnTo>
                <a:lnTo>
                  <a:pt x="360" y="317"/>
                </a:lnTo>
                <a:lnTo>
                  <a:pt x="367" y="320"/>
                </a:lnTo>
                <a:lnTo>
                  <a:pt x="373" y="323"/>
                </a:lnTo>
                <a:lnTo>
                  <a:pt x="378" y="327"/>
                </a:lnTo>
                <a:lnTo>
                  <a:pt x="383" y="332"/>
                </a:lnTo>
                <a:lnTo>
                  <a:pt x="386" y="339"/>
                </a:lnTo>
                <a:lnTo>
                  <a:pt x="388" y="345"/>
                </a:lnTo>
                <a:lnTo>
                  <a:pt x="388" y="352"/>
                </a:lnTo>
                <a:lnTo>
                  <a:pt x="388" y="359"/>
                </a:lnTo>
                <a:lnTo>
                  <a:pt x="386" y="366"/>
                </a:lnTo>
                <a:lnTo>
                  <a:pt x="383" y="372"/>
                </a:lnTo>
                <a:lnTo>
                  <a:pt x="378" y="378"/>
                </a:lnTo>
                <a:lnTo>
                  <a:pt x="373" y="381"/>
                </a:lnTo>
                <a:lnTo>
                  <a:pt x="367" y="385"/>
                </a:lnTo>
                <a:lnTo>
                  <a:pt x="360" y="386"/>
                </a:lnTo>
                <a:lnTo>
                  <a:pt x="353" y="388"/>
                </a:lnTo>
                <a:close/>
                <a:moveTo>
                  <a:pt x="247" y="988"/>
                </a:moveTo>
                <a:lnTo>
                  <a:pt x="247" y="881"/>
                </a:lnTo>
                <a:lnTo>
                  <a:pt x="459" y="881"/>
                </a:lnTo>
                <a:lnTo>
                  <a:pt x="459" y="988"/>
                </a:lnTo>
                <a:lnTo>
                  <a:pt x="247" y="988"/>
                </a:lnTo>
                <a:close/>
                <a:moveTo>
                  <a:pt x="705" y="352"/>
                </a:moveTo>
                <a:lnTo>
                  <a:pt x="705" y="335"/>
                </a:lnTo>
                <a:lnTo>
                  <a:pt x="704" y="316"/>
                </a:lnTo>
                <a:lnTo>
                  <a:pt x="702" y="299"/>
                </a:lnTo>
                <a:lnTo>
                  <a:pt x="699" y="282"/>
                </a:lnTo>
                <a:lnTo>
                  <a:pt x="695" y="264"/>
                </a:lnTo>
                <a:lnTo>
                  <a:pt x="690" y="247"/>
                </a:lnTo>
                <a:lnTo>
                  <a:pt x="685" y="231"/>
                </a:lnTo>
                <a:lnTo>
                  <a:pt x="678" y="215"/>
                </a:lnTo>
                <a:lnTo>
                  <a:pt x="671" y="200"/>
                </a:lnTo>
                <a:lnTo>
                  <a:pt x="663" y="185"/>
                </a:lnTo>
                <a:lnTo>
                  <a:pt x="655" y="169"/>
                </a:lnTo>
                <a:lnTo>
                  <a:pt x="646" y="155"/>
                </a:lnTo>
                <a:lnTo>
                  <a:pt x="635" y="141"/>
                </a:lnTo>
                <a:lnTo>
                  <a:pt x="626" y="128"/>
                </a:lnTo>
                <a:lnTo>
                  <a:pt x="615" y="115"/>
                </a:lnTo>
                <a:lnTo>
                  <a:pt x="603" y="104"/>
                </a:lnTo>
                <a:lnTo>
                  <a:pt x="590" y="92"/>
                </a:lnTo>
                <a:lnTo>
                  <a:pt x="578" y="80"/>
                </a:lnTo>
                <a:lnTo>
                  <a:pt x="564" y="70"/>
                </a:lnTo>
                <a:lnTo>
                  <a:pt x="550" y="60"/>
                </a:lnTo>
                <a:lnTo>
                  <a:pt x="536" y="51"/>
                </a:lnTo>
                <a:lnTo>
                  <a:pt x="521" y="42"/>
                </a:lnTo>
                <a:lnTo>
                  <a:pt x="506" y="34"/>
                </a:lnTo>
                <a:lnTo>
                  <a:pt x="491" y="28"/>
                </a:lnTo>
                <a:lnTo>
                  <a:pt x="474" y="21"/>
                </a:lnTo>
                <a:lnTo>
                  <a:pt x="458" y="16"/>
                </a:lnTo>
                <a:lnTo>
                  <a:pt x="441" y="11"/>
                </a:lnTo>
                <a:lnTo>
                  <a:pt x="425" y="7"/>
                </a:lnTo>
                <a:lnTo>
                  <a:pt x="407" y="4"/>
                </a:lnTo>
                <a:lnTo>
                  <a:pt x="389" y="2"/>
                </a:lnTo>
                <a:lnTo>
                  <a:pt x="372" y="0"/>
                </a:lnTo>
                <a:lnTo>
                  <a:pt x="353" y="0"/>
                </a:lnTo>
                <a:lnTo>
                  <a:pt x="335" y="0"/>
                </a:lnTo>
                <a:lnTo>
                  <a:pt x="317" y="2"/>
                </a:lnTo>
                <a:lnTo>
                  <a:pt x="299" y="4"/>
                </a:lnTo>
                <a:lnTo>
                  <a:pt x="282" y="7"/>
                </a:lnTo>
                <a:lnTo>
                  <a:pt x="265" y="11"/>
                </a:lnTo>
                <a:lnTo>
                  <a:pt x="249" y="16"/>
                </a:lnTo>
                <a:lnTo>
                  <a:pt x="232" y="21"/>
                </a:lnTo>
                <a:lnTo>
                  <a:pt x="216" y="28"/>
                </a:lnTo>
                <a:lnTo>
                  <a:pt x="200" y="34"/>
                </a:lnTo>
                <a:lnTo>
                  <a:pt x="185" y="42"/>
                </a:lnTo>
                <a:lnTo>
                  <a:pt x="170" y="51"/>
                </a:lnTo>
                <a:lnTo>
                  <a:pt x="156" y="60"/>
                </a:lnTo>
                <a:lnTo>
                  <a:pt x="142" y="70"/>
                </a:lnTo>
                <a:lnTo>
                  <a:pt x="129" y="80"/>
                </a:lnTo>
                <a:lnTo>
                  <a:pt x="116" y="92"/>
                </a:lnTo>
                <a:lnTo>
                  <a:pt x="104" y="104"/>
                </a:lnTo>
                <a:lnTo>
                  <a:pt x="92" y="115"/>
                </a:lnTo>
                <a:lnTo>
                  <a:pt x="81" y="128"/>
                </a:lnTo>
                <a:lnTo>
                  <a:pt x="70" y="141"/>
                </a:lnTo>
                <a:lnTo>
                  <a:pt x="61" y="155"/>
                </a:lnTo>
                <a:lnTo>
                  <a:pt x="52" y="169"/>
                </a:lnTo>
                <a:lnTo>
                  <a:pt x="43" y="185"/>
                </a:lnTo>
                <a:lnTo>
                  <a:pt x="35" y="200"/>
                </a:lnTo>
                <a:lnTo>
                  <a:pt x="28" y="215"/>
                </a:lnTo>
                <a:lnTo>
                  <a:pt x="22" y="231"/>
                </a:lnTo>
                <a:lnTo>
                  <a:pt x="16" y="247"/>
                </a:lnTo>
                <a:lnTo>
                  <a:pt x="12" y="264"/>
                </a:lnTo>
                <a:lnTo>
                  <a:pt x="8" y="282"/>
                </a:lnTo>
                <a:lnTo>
                  <a:pt x="4" y="299"/>
                </a:lnTo>
                <a:lnTo>
                  <a:pt x="2" y="316"/>
                </a:lnTo>
                <a:lnTo>
                  <a:pt x="1" y="335"/>
                </a:lnTo>
                <a:lnTo>
                  <a:pt x="0" y="352"/>
                </a:lnTo>
                <a:lnTo>
                  <a:pt x="1" y="374"/>
                </a:lnTo>
                <a:lnTo>
                  <a:pt x="3" y="395"/>
                </a:lnTo>
                <a:lnTo>
                  <a:pt x="7" y="416"/>
                </a:lnTo>
                <a:lnTo>
                  <a:pt x="10" y="435"/>
                </a:lnTo>
                <a:lnTo>
                  <a:pt x="15" y="456"/>
                </a:lnTo>
                <a:lnTo>
                  <a:pt x="23" y="475"/>
                </a:lnTo>
                <a:lnTo>
                  <a:pt x="30" y="493"/>
                </a:lnTo>
                <a:lnTo>
                  <a:pt x="39" y="512"/>
                </a:lnTo>
                <a:lnTo>
                  <a:pt x="48" y="529"/>
                </a:lnTo>
                <a:lnTo>
                  <a:pt x="58" y="546"/>
                </a:lnTo>
                <a:lnTo>
                  <a:pt x="70" y="563"/>
                </a:lnTo>
                <a:lnTo>
                  <a:pt x="82" y="579"/>
                </a:lnTo>
                <a:lnTo>
                  <a:pt x="96" y="593"/>
                </a:lnTo>
                <a:lnTo>
                  <a:pt x="110" y="607"/>
                </a:lnTo>
                <a:lnTo>
                  <a:pt x="124" y="621"/>
                </a:lnTo>
                <a:lnTo>
                  <a:pt x="141" y="633"/>
                </a:lnTo>
                <a:lnTo>
                  <a:pt x="141" y="633"/>
                </a:lnTo>
                <a:lnTo>
                  <a:pt x="143" y="635"/>
                </a:lnTo>
                <a:lnTo>
                  <a:pt x="145" y="637"/>
                </a:lnTo>
                <a:lnTo>
                  <a:pt x="145" y="637"/>
                </a:lnTo>
                <a:lnTo>
                  <a:pt x="146" y="637"/>
                </a:lnTo>
                <a:lnTo>
                  <a:pt x="157" y="647"/>
                </a:lnTo>
                <a:lnTo>
                  <a:pt x="168" y="659"/>
                </a:lnTo>
                <a:lnTo>
                  <a:pt x="178" y="673"/>
                </a:lnTo>
                <a:lnTo>
                  <a:pt x="189" y="690"/>
                </a:lnTo>
                <a:lnTo>
                  <a:pt x="193" y="699"/>
                </a:lnTo>
                <a:lnTo>
                  <a:pt x="198" y="708"/>
                </a:lnTo>
                <a:lnTo>
                  <a:pt x="202" y="718"/>
                </a:lnTo>
                <a:lnTo>
                  <a:pt x="205" y="729"/>
                </a:lnTo>
                <a:lnTo>
                  <a:pt x="209" y="740"/>
                </a:lnTo>
                <a:lnTo>
                  <a:pt x="211" y="752"/>
                </a:lnTo>
                <a:lnTo>
                  <a:pt x="212" y="763"/>
                </a:lnTo>
                <a:lnTo>
                  <a:pt x="212" y="775"/>
                </a:lnTo>
                <a:lnTo>
                  <a:pt x="212" y="1023"/>
                </a:lnTo>
                <a:lnTo>
                  <a:pt x="494" y="1023"/>
                </a:lnTo>
                <a:lnTo>
                  <a:pt x="494" y="775"/>
                </a:lnTo>
                <a:lnTo>
                  <a:pt x="495" y="762"/>
                </a:lnTo>
                <a:lnTo>
                  <a:pt x="496" y="750"/>
                </a:lnTo>
                <a:lnTo>
                  <a:pt x="498" y="739"/>
                </a:lnTo>
                <a:lnTo>
                  <a:pt x="501" y="727"/>
                </a:lnTo>
                <a:lnTo>
                  <a:pt x="505" y="716"/>
                </a:lnTo>
                <a:lnTo>
                  <a:pt x="509" y="705"/>
                </a:lnTo>
                <a:lnTo>
                  <a:pt x="513" y="695"/>
                </a:lnTo>
                <a:lnTo>
                  <a:pt x="519" y="686"/>
                </a:lnTo>
                <a:lnTo>
                  <a:pt x="529" y="669"/>
                </a:lnTo>
                <a:lnTo>
                  <a:pt x="541" y="655"/>
                </a:lnTo>
                <a:lnTo>
                  <a:pt x="553" y="644"/>
                </a:lnTo>
                <a:lnTo>
                  <a:pt x="565" y="634"/>
                </a:lnTo>
                <a:lnTo>
                  <a:pt x="565" y="634"/>
                </a:lnTo>
                <a:lnTo>
                  <a:pt x="580" y="622"/>
                </a:lnTo>
                <a:lnTo>
                  <a:pt x="595" y="608"/>
                </a:lnTo>
                <a:lnTo>
                  <a:pt x="609" y="594"/>
                </a:lnTo>
                <a:lnTo>
                  <a:pt x="623" y="579"/>
                </a:lnTo>
                <a:lnTo>
                  <a:pt x="635" y="564"/>
                </a:lnTo>
                <a:lnTo>
                  <a:pt x="647" y="547"/>
                </a:lnTo>
                <a:lnTo>
                  <a:pt x="658" y="530"/>
                </a:lnTo>
                <a:lnTo>
                  <a:pt x="668" y="513"/>
                </a:lnTo>
                <a:lnTo>
                  <a:pt x="676" y="494"/>
                </a:lnTo>
                <a:lnTo>
                  <a:pt x="684" y="475"/>
                </a:lnTo>
                <a:lnTo>
                  <a:pt x="690" y="456"/>
                </a:lnTo>
                <a:lnTo>
                  <a:pt x="696" y="436"/>
                </a:lnTo>
                <a:lnTo>
                  <a:pt x="700" y="416"/>
                </a:lnTo>
                <a:lnTo>
                  <a:pt x="703" y="395"/>
                </a:lnTo>
                <a:lnTo>
                  <a:pt x="705" y="374"/>
                </a:lnTo>
                <a:lnTo>
                  <a:pt x="705" y="352"/>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102"/>
          <p:cNvSpPr>
            <a:spLocks noEditPoints="1"/>
          </p:cNvSpPr>
          <p:nvPr/>
        </p:nvSpPr>
        <p:spPr bwMode="auto">
          <a:xfrm>
            <a:off x="7534742" y="3864530"/>
            <a:ext cx="374650" cy="376238"/>
          </a:xfrm>
          <a:custGeom>
            <a:avLst/>
            <a:gdLst>
              <a:gd name="T0" fmla="*/ 848 w 946"/>
              <a:gd name="T1" fmla="*/ 911 h 948"/>
              <a:gd name="T2" fmla="*/ 896 w 946"/>
              <a:gd name="T3" fmla="*/ 821 h 948"/>
              <a:gd name="T4" fmla="*/ 907 w 946"/>
              <a:gd name="T5" fmla="*/ 878 h 948"/>
              <a:gd name="T6" fmla="*/ 333 w 946"/>
              <a:gd name="T7" fmla="*/ 720 h 948"/>
              <a:gd name="T8" fmla="*/ 330 w 946"/>
              <a:gd name="T9" fmla="*/ 786 h 948"/>
              <a:gd name="T10" fmla="*/ 298 w 946"/>
              <a:gd name="T11" fmla="*/ 844 h 948"/>
              <a:gd name="T12" fmla="*/ 229 w 946"/>
              <a:gd name="T13" fmla="*/ 890 h 948"/>
              <a:gd name="T14" fmla="*/ 160 w 946"/>
              <a:gd name="T15" fmla="*/ 895 h 948"/>
              <a:gd name="T16" fmla="*/ 37 w 946"/>
              <a:gd name="T17" fmla="*/ 771 h 948"/>
              <a:gd name="T18" fmla="*/ 38 w 946"/>
              <a:gd name="T19" fmla="*/ 715 h 948"/>
              <a:gd name="T20" fmla="*/ 61 w 946"/>
              <a:gd name="T21" fmla="*/ 663 h 948"/>
              <a:gd name="T22" fmla="*/ 115 w 946"/>
              <a:gd name="T23" fmla="*/ 614 h 948"/>
              <a:gd name="T24" fmla="*/ 200 w 946"/>
              <a:gd name="T25" fmla="*/ 598 h 948"/>
              <a:gd name="T26" fmla="*/ 608 w 946"/>
              <a:gd name="T27" fmla="*/ 244 h 948"/>
              <a:gd name="T28" fmla="*/ 596 w 946"/>
              <a:gd name="T29" fmla="*/ 180 h 948"/>
              <a:gd name="T30" fmla="*/ 614 w 946"/>
              <a:gd name="T31" fmla="*/ 116 h 948"/>
              <a:gd name="T32" fmla="*/ 663 w 946"/>
              <a:gd name="T33" fmla="*/ 61 h 948"/>
              <a:gd name="T34" fmla="*/ 745 w 946"/>
              <a:gd name="T35" fmla="*/ 36 h 948"/>
              <a:gd name="T36" fmla="*/ 725 w 946"/>
              <a:gd name="T37" fmla="*/ 206 h 948"/>
              <a:gd name="T38" fmla="*/ 896 w 946"/>
              <a:gd name="T39" fmla="*/ 189 h 948"/>
              <a:gd name="T40" fmla="*/ 884 w 946"/>
              <a:gd name="T41" fmla="*/ 244 h 948"/>
              <a:gd name="T42" fmla="*/ 852 w 946"/>
              <a:gd name="T43" fmla="*/ 292 h 948"/>
              <a:gd name="T44" fmla="*/ 776 w 946"/>
              <a:gd name="T45" fmla="*/ 332 h 948"/>
              <a:gd name="T46" fmla="*/ 687 w 946"/>
              <a:gd name="T47" fmla="*/ 323 h 948"/>
              <a:gd name="T48" fmla="*/ 185 w 946"/>
              <a:gd name="T49" fmla="*/ 160 h 948"/>
              <a:gd name="T50" fmla="*/ 734 w 946"/>
              <a:gd name="T51" fmla="*/ 560 h 948"/>
              <a:gd name="T52" fmla="*/ 730 w 946"/>
              <a:gd name="T53" fmla="*/ 370 h 948"/>
              <a:gd name="T54" fmla="*/ 833 w 946"/>
              <a:gd name="T55" fmla="*/ 349 h 948"/>
              <a:gd name="T56" fmla="*/ 903 w 946"/>
              <a:gd name="T57" fmla="*/ 283 h 948"/>
              <a:gd name="T58" fmla="*/ 930 w 946"/>
              <a:gd name="T59" fmla="*/ 207 h 948"/>
              <a:gd name="T60" fmla="*/ 922 w 946"/>
              <a:gd name="T61" fmla="*/ 126 h 948"/>
              <a:gd name="T62" fmla="*/ 844 w 946"/>
              <a:gd name="T63" fmla="*/ 26 h 948"/>
              <a:gd name="T64" fmla="*/ 727 w 946"/>
              <a:gd name="T65" fmla="*/ 1 h 948"/>
              <a:gd name="T66" fmla="*/ 629 w 946"/>
              <a:gd name="T67" fmla="*/ 42 h 948"/>
              <a:gd name="T68" fmla="*/ 577 w 946"/>
              <a:gd name="T69" fmla="*/ 108 h 948"/>
              <a:gd name="T70" fmla="*/ 561 w 946"/>
              <a:gd name="T71" fmla="*/ 183 h 948"/>
              <a:gd name="T72" fmla="*/ 421 w 946"/>
              <a:gd name="T73" fmla="*/ 398 h 948"/>
              <a:gd name="T74" fmla="*/ 185 w 946"/>
              <a:gd name="T75" fmla="*/ 211 h 948"/>
              <a:gd name="T76" fmla="*/ 185 w 946"/>
              <a:gd name="T77" fmla="*/ 562 h 948"/>
              <a:gd name="T78" fmla="*/ 82 w 946"/>
              <a:gd name="T79" fmla="*/ 592 h 948"/>
              <a:gd name="T80" fmla="*/ 21 w 946"/>
              <a:gd name="T81" fmla="*/ 660 h 948"/>
              <a:gd name="T82" fmla="*/ 0 w 946"/>
              <a:gd name="T83" fmla="*/ 739 h 948"/>
              <a:gd name="T84" fmla="*/ 15 w 946"/>
              <a:gd name="T85" fmla="*/ 820 h 948"/>
              <a:gd name="T86" fmla="*/ 111 w 946"/>
              <a:gd name="T87" fmla="*/ 916 h 948"/>
              <a:gd name="T88" fmla="*/ 222 w 946"/>
              <a:gd name="T89" fmla="*/ 928 h 948"/>
              <a:gd name="T90" fmla="*/ 316 w 946"/>
              <a:gd name="T91" fmla="*/ 877 h 948"/>
              <a:gd name="T92" fmla="*/ 359 w 946"/>
              <a:gd name="T93" fmla="*/ 811 h 948"/>
              <a:gd name="T94" fmla="*/ 370 w 946"/>
              <a:gd name="T95" fmla="*/ 736 h 948"/>
              <a:gd name="T96" fmla="*/ 634 w 946"/>
              <a:gd name="T97" fmla="*/ 659 h 948"/>
              <a:gd name="T98" fmla="*/ 809 w 946"/>
              <a:gd name="T99" fmla="*/ 932 h 948"/>
              <a:gd name="T100" fmla="*/ 859 w 946"/>
              <a:gd name="T101" fmla="*/ 948 h 948"/>
              <a:gd name="T102" fmla="*/ 907 w 946"/>
              <a:gd name="T103" fmla="*/ 932 h 948"/>
              <a:gd name="T104" fmla="*/ 940 w 946"/>
              <a:gd name="T105" fmla="*/ 892 h 948"/>
              <a:gd name="T106" fmla="*/ 945 w 946"/>
              <a:gd name="T107" fmla="*/ 842 h 948"/>
              <a:gd name="T108" fmla="*/ 920 w 946"/>
              <a:gd name="T109" fmla="*/ 79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6" h="948">
                <a:moveTo>
                  <a:pt x="896" y="896"/>
                </a:moveTo>
                <a:lnTo>
                  <a:pt x="888" y="903"/>
                </a:lnTo>
                <a:lnTo>
                  <a:pt x="878" y="908"/>
                </a:lnTo>
                <a:lnTo>
                  <a:pt x="869" y="911"/>
                </a:lnTo>
                <a:lnTo>
                  <a:pt x="859" y="912"/>
                </a:lnTo>
                <a:lnTo>
                  <a:pt x="848" y="911"/>
                </a:lnTo>
                <a:lnTo>
                  <a:pt x="838" y="908"/>
                </a:lnTo>
                <a:lnTo>
                  <a:pt x="829" y="903"/>
                </a:lnTo>
                <a:lnTo>
                  <a:pt x="821" y="896"/>
                </a:lnTo>
                <a:lnTo>
                  <a:pt x="634" y="709"/>
                </a:lnTo>
                <a:lnTo>
                  <a:pt x="709" y="634"/>
                </a:lnTo>
                <a:lnTo>
                  <a:pt x="896" y="821"/>
                </a:lnTo>
                <a:lnTo>
                  <a:pt x="902" y="830"/>
                </a:lnTo>
                <a:lnTo>
                  <a:pt x="907" y="838"/>
                </a:lnTo>
                <a:lnTo>
                  <a:pt x="911" y="849"/>
                </a:lnTo>
                <a:lnTo>
                  <a:pt x="911" y="859"/>
                </a:lnTo>
                <a:lnTo>
                  <a:pt x="911" y="869"/>
                </a:lnTo>
                <a:lnTo>
                  <a:pt x="907" y="878"/>
                </a:lnTo>
                <a:lnTo>
                  <a:pt x="902" y="888"/>
                </a:lnTo>
                <a:lnTo>
                  <a:pt x="896" y="896"/>
                </a:lnTo>
                <a:close/>
                <a:moveTo>
                  <a:pt x="322" y="687"/>
                </a:moveTo>
                <a:lnTo>
                  <a:pt x="326" y="698"/>
                </a:lnTo>
                <a:lnTo>
                  <a:pt x="330" y="709"/>
                </a:lnTo>
                <a:lnTo>
                  <a:pt x="333" y="720"/>
                </a:lnTo>
                <a:lnTo>
                  <a:pt x="334" y="730"/>
                </a:lnTo>
                <a:lnTo>
                  <a:pt x="335" y="742"/>
                </a:lnTo>
                <a:lnTo>
                  <a:pt x="335" y="753"/>
                </a:lnTo>
                <a:lnTo>
                  <a:pt x="334" y="764"/>
                </a:lnTo>
                <a:lnTo>
                  <a:pt x="332" y="775"/>
                </a:lnTo>
                <a:lnTo>
                  <a:pt x="330" y="786"/>
                </a:lnTo>
                <a:lnTo>
                  <a:pt x="326" y="796"/>
                </a:lnTo>
                <a:lnTo>
                  <a:pt x="322" y="806"/>
                </a:lnTo>
                <a:lnTo>
                  <a:pt x="318" y="816"/>
                </a:lnTo>
                <a:lnTo>
                  <a:pt x="312" y="825"/>
                </a:lnTo>
                <a:lnTo>
                  <a:pt x="306" y="835"/>
                </a:lnTo>
                <a:lnTo>
                  <a:pt x="298" y="844"/>
                </a:lnTo>
                <a:lnTo>
                  <a:pt x="291" y="852"/>
                </a:lnTo>
                <a:lnTo>
                  <a:pt x="280" y="862"/>
                </a:lnTo>
                <a:lnTo>
                  <a:pt x="268" y="871"/>
                </a:lnTo>
                <a:lnTo>
                  <a:pt x="255" y="878"/>
                </a:lnTo>
                <a:lnTo>
                  <a:pt x="242" y="885"/>
                </a:lnTo>
                <a:lnTo>
                  <a:pt x="229" y="890"/>
                </a:lnTo>
                <a:lnTo>
                  <a:pt x="214" y="894"/>
                </a:lnTo>
                <a:lnTo>
                  <a:pt x="200" y="896"/>
                </a:lnTo>
                <a:lnTo>
                  <a:pt x="185" y="897"/>
                </a:lnTo>
                <a:lnTo>
                  <a:pt x="176" y="896"/>
                </a:lnTo>
                <a:lnTo>
                  <a:pt x="168" y="896"/>
                </a:lnTo>
                <a:lnTo>
                  <a:pt x="160" y="895"/>
                </a:lnTo>
                <a:lnTo>
                  <a:pt x="151" y="892"/>
                </a:lnTo>
                <a:lnTo>
                  <a:pt x="203" y="841"/>
                </a:lnTo>
                <a:lnTo>
                  <a:pt x="204" y="725"/>
                </a:lnTo>
                <a:lnTo>
                  <a:pt x="92" y="727"/>
                </a:lnTo>
                <a:lnTo>
                  <a:pt x="39" y="780"/>
                </a:lnTo>
                <a:lnTo>
                  <a:pt x="37" y="771"/>
                </a:lnTo>
                <a:lnTo>
                  <a:pt x="36" y="762"/>
                </a:lnTo>
                <a:lnTo>
                  <a:pt x="35" y="752"/>
                </a:lnTo>
                <a:lnTo>
                  <a:pt x="35" y="742"/>
                </a:lnTo>
                <a:lnTo>
                  <a:pt x="36" y="734"/>
                </a:lnTo>
                <a:lnTo>
                  <a:pt x="37" y="724"/>
                </a:lnTo>
                <a:lnTo>
                  <a:pt x="38" y="715"/>
                </a:lnTo>
                <a:lnTo>
                  <a:pt x="40" y="706"/>
                </a:lnTo>
                <a:lnTo>
                  <a:pt x="43" y="697"/>
                </a:lnTo>
                <a:lnTo>
                  <a:pt x="47" y="688"/>
                </a:lnTo>
                <a:lnTo>
                  <a:pt x="51" y="680"/>
                </a:lnTo>
                <a:lnTo>
                  <a:pt x="55" y="671"/>
                </a:lnTo>
                <a:lnTo>
                  <a:pt x="61" y="663"/>
                </a:lnTo>
                <a:lnTo>
                  <a:pt x="66" y="655"/>
                </a:lnTo>
                <a:lnTo>
                  <a:pt x="73" y="647"/>
                </a:lnTo>
                <a:lnTo>
                  <a:pt x="79" y="641"/>
                </a:lnTo>
                <a:lnTo>
                  <a:pt x="90" y="631"/>
                </a:lnTo>
                <a:lnTo>
                  <a:pt x="102" y="621"/>
                </a:lnTo>
                <a:lnTo>
                  <a:pt x="115" y="614"/>
                </a:lnTo>
                <a:lnTo>
                  <a:pt x="128" y="608"/>
                </a:lnTo>
                <a:lnTo>
                  <a:pt x="141" y="603"/>
                </a:lnTo>
                <a:lnTo>
                  <a:pt x="156" y="600"/>
                </a:lnTo>
                <a:lnTo>
                  <a:pt x="170" y="598"/>
                </a:lnTo>
                <a:lnTo>
                  <a:pt x="185" y="597"/>
                </a:lnTo>
                <a:lnTo>
                  <a:pt x="200" y="598"/>
                </a:lnTo>
                <a:lnTo>
                  <a:pt x="215" y="600"/>
                </a:lnTo>
                <a:lnTo>
                  <a:pt x="230" y="604"/>
                </a:lnTo>
                <a:lnTo>
                  <a:pt x="244" y="609"/>
                </a:lnTo>
                <a:lnTo>
                  <a:pt x="255" y="614"/>
                </a:lnTo>
                <a:lnTo>
                  <a:pt x="614" y="256"/>
                </a:lnTo>
                <a:lnTo>
                  <a:pt x="608" y="244"/>
                </a:lnTo>
                <a:lnTo>
                  <a:pt x="604" y="235"/>
                </a:lnTo>
                <a:lnTo>
                  <a:pt x="601" y="223"/>
                </a:lnTo>
                <a:lnTo>
                  <a:pt x="599" y="212"/>
                </a:lnTo>
                <a:lnTo>
                  <a:pt x="597" y="201"/>
                </a:lnTo>
                <a:lnTo>
                  <a:pt x="596" y="190"/>
                </a:lnTo>
                <a:lnTo>
                  <a:pt x="596" y="180"/>
                </a:lnTo>
                <a:lnTo>
                  <a:pt x="597" y="168"/>
                </a:lnTo>
                <a:lnTo>
                  <a:pt x="599" y="157"/>
                </a:lnTo>
                <a:lnTo>
                  <a:pt x="601" y="146"/>
                </a:lnTo>
                <a:lnTo>
                  <a:pt x="604" y="136"/>
                </a:lnTo>
                <a:lnTo>
                  <a:pt x="608" y="126"/>
                </a:lnTo>
                <a:lnTo>
                  <a:pt x="614" y="116"/>
                </a:lnTo>
                <a:lnTo>
                  <a:pt x="619" y="106"/>
                </a:lnTo>
                <a:lnTo>
                  <a:pt x="626" y="96"/>
                </a:lnTo>
                <a:lnTo>
                  <a:pt x="632" y="88"/>
                </a:lnTo>
                <a:lnTo>
                  <a:pt x="640" y="79"/>
                </a:lnTo>
                <a:lnTo>
                  <a:pt x="651" y="69"/>
                </a:lnTo>
                <a:lnTo>
                  <a:pt x="663" y="61"/>
                </a:lnTo>
                <a:lnTo>
                  <a:pt x="675" y="53"/>
                </a:lnTo>
                <a:lnTo>
                  <a:pt x="688" y="47"/>
                </a:lnTo>
                <a:lnTo>
                  <a:pt x="702" y="42"/>
                </a:lnTo>
                <a:lnTo>
                  <a:pt x="716" y="38"/>
                </a:lnTo>
                <a:lnTo>
                  <a:pt x="731" y="36"/>
                </a:lnTo>
                <a:lnTo>
                  <a:pt x="745" y="36"/>
                </a:lnTo>
                <a:lnTo>
                  <a:pt x="754" y="36"/>
                </a:lnTo>
                <a:lnTo>
                  <a:pt x="763" y="37"/>
                </a:lnTo>
                <a:lnTo>
                  <a:pt x="771" y="38"/>
                </a:lnTo>
                <a:lnTo>
                  <a:pt x="780" y="39"/>
                </a:lnTo>
                <a:lnTo>
                  <a:pt x="726" y="93"/>
                </a:lnTo>
                <a:lnTo>
                  <a:pt x="725" y="206"/>
                </a:lnTo>
                <a:lnTo>
                  <a:pt x="841" y="203"/>
                </a:lnTo>
                <a:lnTo>
                  <a:pt x="892" y="152"/>
                </a:lnTo>
                <a:lnTo>
                  <a:pt x="893" y="161"/>
                </a:lnTo>
                <a:lnTo>
                  <a:pt x="896" y="171"/>
                </a:lnTo>
                <a:lnTo>
                  <a:pt x="896" y="180"/>
                </a:lnTo>
                <a:lnTo>
                  <a:pt x="896" y="189"/>
                </a:lnTo>
                <a:lnTo>
                  <a:pt x="896" y="199"/>
                </a:lnTo>
                <a:lnTo>
                  <a:pt x="895" y="208"/>
                </a:lnTo>
                <a:lnTo>
                  <a:pt x="892" y="217"/>
                </a:lnTo>
                <a:lnTo>
                  <a:pt x="890" y="226"/>
                </a:lnTo>
                <a:lnTo>
                  <a:pt x="888" y="236"/>
                </a:lnTo>
                <a:lnTo>
                  <a:pt x="884" y="244"/>
                </a:lnTo>
                <a:lnTo>
                  <a:pt x="880" y="253"/>
                </a:lnTo>
                <a:lnTo>
                  <a:pt x="876" y="261"/>
                </a:lnTo>
                <a:lnTo>
                  <a:pt x="871" y="269"/>
                </a:lnTo>
                <a:lnTo>
                  <a:pt x="865" y="277"/>
                </a:lnTo>
                <a:lnTo>
                  <a:pt x="859" y="284"/>
                </a:lnTo>
                <a:lnTo>
                  <a:pt x="852" y="292"/>
                </a:lnTo>
                <a:lnTo>
                  <a:pt x="841" y="302"/>
                </a:lnTo>
                <a:lnTo>
                  <a:pt x="830" y="310"/>
                </a:lnTo>
                <a:lnTo>
                  <a:pt x="817" y="318"/>
                </a:lnTo>
                <a:lnTo>
                  <a:pt x="804" y="324"/>
                </a:lnTo>
                <a:lnTo>
                  <a:pt x="790" y="329"/>
                </a:lnTo>
                <a:lnTo>
                  <a:pt x="776" y="332"/>
                </a:lnTo>
                <a:lnTo>
                  <a:pt x="761" y="334"/>
                </a:lnTo>
                <a:lnTo>
                  <a:pt x="747" y="335"/>
                </a:lnTo>
                <a:lnTo>
                  <a:pt x="730" y="334"/>
                </a:lnTo>
                <a:lnTo>
                  <a:pt x="716" y="332"/>
                </a:lnTo>
                <a:lnTo>
                  <a:pt x="701" y="329"/>
                </a:lnTo>
                <a:lnTo>
                  <a:pt x="687" y="323"/>
                </a:lnTo>
                <a:lnTo>
                  <a:pt x="675" y="318"/>
                </a:lnTo>
                <a:lnTo>
                  <a:pt x="318" y="676"/>
                </a:lnTo>
                <a:lnTo>
                  <a:pt x="322" y="687"/>
                </a:lnTo>
                <a:close/>
                <a:moveTo>
                  <a:pt x="73" y="99"/>
                </a:moveTo>
                <a:lnTo>
                  <a:pt x="97" y="74"/>
                </a:lnTo>
                <a:lnTo>
                  <a:pt x="185" y="160"/>
                </a:lnTo>
                <a:lnTo>
                  <a:pt x="160" y="185"/>
                </a:lnTo>
                <a:lnTo>
                  <a:pt x="73" y="99"/>
                </a:lnTo>
                <a:close/>
                <a:moveTo>
                  <a:pt x="920" y="796"/>
                </a:moveTo>
                <a:lnTo>
                  <a:pt x="734" y="609"/>
                </a:lnTo>
                <a:lnTo>
                  <a:pt x="758" y="585"/>
                </a:lnTo>
                <a:lnTo>
                  <a:pt x="734" y="560"/>
                </a:lnTo>
                <a:lnTo>
                  <a:pt x="659" y="634"/>
                </a:lnTo>
                <a:lnTo>
                  <a:pt x="534" y="510"/>
                </a:lnTo>
                <a:lnTo>
                  <a:pt x="684" y="360"/>
                </a:lnTo>
                <a:lnTo>
                  <a:pt x="699" y="364"/>
                </a:lnTo>
                <a:lnTo>
                  <a:pt x="714" y="368"/>
                </a:lnTo>
                <a:lnTo>
                  <a:pt x="730" y="370"/>
                </a:lnTo>
                <a:lnTo>
                  <a:pt x="747" y="371"/>
                </a:lnTo>
                <a:lnTo>
                  <a:pt x="765" y="370"/>
                </a:lnTo>
                <a:lnTo>
                  <a:pt x="782" y="366"/>
                </a:lnTo>
                <a:lnTo>
                  <a:pt x="801" y="362"/>
                </a:lnTo>
                <a:lnTo>
                  <a:pt x="817" y="357"/>
                </a:lnTo>
                <a:lnTo>
                  <a:pt x="833" y="349"/>
                </a:lnTo>
                <a:lnTo>
                  <a:pt x="849" y="339"/>
                </a:lnTo>
                <a:lnTo>
                  <a:pt x="863" y="329"/>
                </a:lnTo>
                <a:lnTo>
                  <a:pt x="877" y="317"/>
                </a:lnTo>
                <a:lnTo>
                  <a:pt x="887" y="306"/>
                </a:lnTo>
                <a:lnTo>
                  <a:pt x="896" y="295"/>
                </a:lnTo>
                <a:lnTo>
                  <a:pt x="903" y="283"/>
                </a:lnTo>
                <a:lnTo>
                  <a:pt x="910" y="271"/>
                </a:lnTo>
                <a:lnTo>
                  <a:pt x="916" y="260"/>
                </a:lnTo>
                <a:lnTo>
                  <a:pt x="922" y="247"/>
                </a:lnTo>
                <a:lnTo>
                  <a:pt x="925" y="234"/>
                </a:lnTo>
                <a:lnTo>
                  <a:pt x="928" y="221"/>
                </a:lnTo>
                <a:lnTo>
                  <a:pt x="930" y="207"/>
                </a:lnTo>
                <a:lnTo>
                  <a:pt x="931" y="194"/>
                </a:lnTo>
                <a:lnTo>
                  <a:pt x="931" y="180"/>
                </a:lnTo>
                <a:lnTo>
                  <a:pt x="930" y="166"/>
                </a:lnTo>
                <a:lnTo>
                  <a:pt x="928" y="153"/>
                </a:lnTo>
                <a:lnTo>
                  <a:pt x="925" y="139"/>
                </a:lnTo>
                <a:lnTo>
                  <a:pt x="922" y="126"/>
                </a:lnTo>
                <a:lnTo>
                  <a:pt x="916" y="113"/>
                </a:lnTo>
                <a:lnTo>
                  <a:pt x="905" y="88"/>
                </a:lnTo>
                <a:lnTo>
                  <a:pt x="825" y="169"/>
                </a:lnTo>
                <a:lnTo>
                  <a:pt x="761" y="170"/>
                </a:lnTo>
                <a:lnTo>
                  <a:pt x="762" y="108"/>
                </a:lnTo>
                <a:lnTo>
                  <a:pt x="844" y="26"/>
                </a:lnTo>
                <a:lnTo>
                  <a:pt x="820" y="15"/>
                </a:lnTo>
                <a:lnTo>
                  <a:pt x="802" y="9"/>
                </a:lnTo>
                <a:lnTo>
                  <a:pt x="783" y="5"/>
                </a:lnTo>
                <a:lnTo>
                  <a:pt x="765" y="1"/>
                </a:lnTo>
                <a:lnTo>
                  <a:pt x="745" y="0"/>
                </a:lnTo>
                <a:lnTo>
                  <a:pt x="727" y="1"/>
                </a:lnTo>
                <a:lnTo>
                  <a:pt x="710" y="4"/>
                </a:lnTo>
                <a:lnTo>
                  <a:pt x="691" y="8"/>
                </a:lnTo>
                <a:lnTo>
                  <a:pt x="675" y="14"/>
                </a:lnTo>
                <a:lnTo>
                  <a:pt x="659" y="22"/>
                </a:lnTo>
                <a:lnTo>
                  <a:pt x="643" y="32"/>
                </a:lnTo>
                <a:lnTo>
                  <a:pt x="629" y="42"/>
                </a:lnTo>
                <a:lnTo>
                  <a:pt x="615" y="54"/>
                </a:lnTo>
                <a:lnTo>
                  <a:pt x="606" y="64"/>
                </a:lnTo>
                <a:lnTo>
                  <a:pt x="597" y="75"/>
                </a:lnTo>
                <a:lnTo>
                  <a:pt x="590" y="86"/>
                </a:lnTo>
                <a:lnTo>
                  <a:pt x="583" y="96"/>
                </a:lnTo>
                <a:lnTo>
                  <a:pt x="577" y="108"/>
                </a:lnTo>
                <a:lnTo>
                  <a:pt x="573" y="120"/>
                </a:lnTo>
                <a:lnTo>
                  <a:pt x="568" y="132"/>
                </a:lnTo>
                <a:lnTo>
                  <a:pt x="565" y="145"/>
                </a:lnTo>
                <a:lnTo>
                  <a:pt x="563" y="158"/>
                </a:lnTo>
                <a:lnTo>
                  <a:pt x="562" y="170"/>
                </a:lnTo>
                <a:lnTo>
                  <a:pt x="561" y="183"/>
                </a:lnTo>
                <a:lnTo>
                  <a:pt x="561" y="196"/>
                </a:lnTo>
                <a:lnTo>
                  <a:pt x="562" y="209"/>
                </a:lnTo>
                <a:lnTo>
                  <a:pt x="565" y="222"/>
                </a:lnTo>
                <a:lnTo>
                  <a:pt x="567" y="235"/>
                </a:lnTo>
                <a:lnTo>
                  <a:pt x="572" y="248"/>
                </a:lnTo>
                <a:lnTo>
                  <a:pt x="421" y="398"/>
                </a:lnTo>
                <a:lnTo>
                  <a:pt x="210" y="185"/>
                </a:lnTo>
                <a:lnTo>
                  <a:pt x="235" y="160"/>
                </a:lnTo>
                <a:lnTo>
                  <a:pt x="97" y="23"/>
                </a:lnTo>
                <a:lnTo>
                  <a:pt x="23" y="99"/>
                </a:lnTo>
                <a:lnTo>
                  <a:pt x="160" y="236"/>
                </a:lnTo>
                <a:lnTo>
                  <a:pt x="185" y="211"/>
                </a:lnTo>
                <a:lnTo>
                  <a:pt x="397" y="423"/>
                </a:lnTo>
                <a:lnTo>
                  <a:pt x="248" y="573"/>
                </a:lnTo>
                <a:lnTo>
                  <a:pt x="232" y="567"/>
                </a:lnTo>
                <a:lnTo>
                  <a:pt x="216" y="564"/>
                </a:lnTo>
                <a:lnTo>
                  <a:pt x="201" y="562"/>
                </a:lnTo>
                <a:lnTo>
                  <a:pt x="185" y="562"/>
                </a:lnTo>
                <a:lnTo>
                  <a:pt x="167" y="562"/>
                </a:lnTo>
                <a:lnTo>
                  <a:pt x="148" y="565"/>
                </a:lnTo>
                <a:lnTo>
                  <a:pt x="131" y="570"/>
                </a:lnTo>
                <a:lnTo>
                  <a:pt x="114" y="575"/>
                </a:lnTo>
                <a:lnTo>
                  <a:pt x="97" y="584"/>
                </a:lnTo>
                <a:lnTo>
                  <a:pt x="82" y="592"/>
                </a:lnTo>
                <a:lnTo>
                  <a:pt x="67" y="603"/>
                </a:lnTo>
                <a:lnTo>
                  <a:pt x="54" y="616"/>
                </a:lnTo>
                <a:lnTo>
                  <a:pt x="44" y="626"/>
                </a:lnTo>
                <a:lnTo>
                  <a:pt x="36" y="636"/>
                </a:lnTo>
                <a:lnTo>
                  <a:pt x="27" y="648"/>
                </a:lnTo>
                <a:lnTo>
                  <a:pt x="21" y="660"/>
                </a:lnTo>
                <a:lnTo>
                  <a:pt x="15" y="673"/>
                </a:lnTo>
                <a:lnTo>
                  <a:pt x="10" y="685"/>
                </a:lnTo>
                <a:lnTo>
                  <a:pt x="6" y="698"/>
                </a:lnTo>
                <a:lnTo>
                  <a:pt x="2" y="712"/>
                </a:lnTo>
                <a:lnTo>
                  <a:pt x="1" y="725"/>
                </a:lnTo>
                <a:lnTo>
                  <a:pt x="0" y="739"/>
                </a:lnTo>
                <a:lnTo>
                  <a:pt x="0" y="752"/>
                </a:lnTo>
                <a:lnTo>
                  <a:pt x="0" y="766"/>
                </a:lnTo>
                <a:lnTo>
                  <a:pt x="2" y="780"/>
                </a:lnTo>
                <a:lnTo>
                  <a:pt x="6" y="793"/>
                </a:lnTo>
                <a:lnTo>
                  <a:pt x="10" y="807"/>
                </a:lnTo>
                <a:lnTo>
                  <a:pt x="15" y="820"/>
                </a:lnTo>
                <a:lnTo>
                  <a:pt x="25" y="844"/>
                </a:lnTo>
                <a:lnTo>
                  <a:pt x="107" y="762"/>
                </a:lnTo>
                <a:lnTo>
                  <a:pt x="169" y="761"/>
                </a:lnTo>
                <a:lnTo>
                  <a:pt x="168" y="825"/>
                </a:lnTo>
                <a:lnTo>
                  <a:pt x="88" y="906"/>
                </a:lnTo>
                <a:lnTo>
                  <a:pt x="111" y="916"/>
                </a:lnTo>
                <a:lnTo>
                  <a:pt x="130" y="923"/>
                </a:lnTo>
                <a:lnTo>
                  <a:pt x="147" y="928"/>
                </a:lnTo>
                <a:lnTo>
                  <a:pt x="167" y="930"/>
                </a:lnTo>
                <a:lnTo>
                  <a:pt x="185" y="931"/>
                </a:lnTo>
                <a:lnTo>
                  <a:pt x="203" y="930"/>
                </a:lnTo>
                <a:lnTo>
                  <a:pt x="222" y="928"/>
                </a:lnTo>
                <a:lnTo>
                  <a:pt x="239" y="924"/>
                </a:lnTo>
                <a:lnTo>
                  <a:pt x="256" y="917"/>
                </a:lnTo>
                <a:lnTo>
                  <a:pt x="272" y="910"/>
                </a:lnTo>
                <a:lnTo>
                  <a:pt x="287" y="901"/>
                </a:lnTo>
                <a:lnTo>
                  <a:pt x="303" y="890"/>
                </a:lnTo>
                <a:lnTo>
                  <a:pt x="316" y="877"/>
                </a:lnTo>
                <a:lnTo>
                  <a:pt x="325" y="868"/>
                </a:lnTo>
                <a:lnTo>
                  <a:pt x="333" y="857"/>
                </a:lnTo>
                <a:lnTo>
                  <a:pt x="340" y="846"/>
                </a:lnTo>
                <a:lnTo>
                  <a:pt x="348" y="835"/>
                </a:lnTo>
                <a:lnTo>
                  <a:pt x="353" y="823"/>
                </a:lnTo>
                <a:lnTo>
                  <a:pt x="359" y="811"/>
                </a:lnTo>
                <a:lnTo>
                  <a:pt x="362" y="800"/>
                </a:lnTo>
                <a:lnTo>
                  <a:pt x="365" y="787"/>
                </a:lnTo>
                <a:lnTo>
                  <a:pt x="368" y="775"/>
                </a:lnTo>
                <a:lnTo>
                  <a:pt x="370" y="762"/>
                </a:lnTo>
                <a:lnTo>
                  <a:pt x="371" y="749"/>
                </a:lnTo>
                <a:lnTo>
                  <a:pt x="370" y="736"/>
                </a:lnTo>
                <a:lnTo>
                  <a:pt x="368" y="723"/>
                </a:lnTo>
                <a:lnTo>
                  <a:pt x="366" y="710"/>
                </a:lnTo>
                <a:lnTo>
                  <a:pt x="363" y="697"/>
                </a:lnTo>
                <a:lnTo>
                  <a:pt x="359" y="685"/>
                </a:lnTo>
                <a:lnTo>
                  <a:pt x="509" y="535"/>
                </a:lnTo>
                <a:lnTo>
                  <a:pt x="634" y="659"/>
                </a:lnTo>
                <a:lnTo>
                  <a:pt x="559" y="734"/>
                </a:lnTo>
                <a:lnTo>
                  <a:pt x="585" y="760"/>
                </a:lnTo>
                <a:lnTo>
                  <a:pt x="609" y="734"/>
                </a:lnTo>
                <a:lnTo>
                  <a:pt x="796" y="922"/>
                </a:lnTo>
                <a:lnTo>
                  <a:pt x="803" y="927"/>
                </a:lnTo>
                <a:lnTo>
                  <a:pt x="809" y="932"/>
                </a:lnTo>
                <a:lnTo>
                  <a:pt x="817" y="937"/>
                </a:lnTo>
                <a:lnTo>
                  <a:pt x="824" y="940"/>
                </a:lnTo>
                <a:lnTo>
                  <a:pt x="833" y="943"/>
                </a:lnTo>
                <a:lnTo>
                  <a:pt x="841" y="945"/>
                </a:lnTo>
                <a:lnTo>
                  <a:pt x="849" y="946"/>
                </a:lnTo>
                <a:lnTo>
                  <a:pt x="859" y="948"/>
                </a:lnTo>
                <a:lnTo>
                  <a:pt x="868" y="946"/>
                </a:lnTo>
                <a:lnTo>
                  <a:pt x="876" y="945"/>
                </a:lnTo>
                <a:lnTo>
                  <a:pt x="884" y="943"/>
                </a:lnTo>
                <a:lnTo>
                  <a:pt x="892" y="940"/>
                </a:lnTo>
                <a:lnTo>
                  <a:pt x="900" y="937"/>
                </a:lnTo>
                <a:lnTo>
                  <a:pt x="907" y="932"/>
                </a:lnTo>
                <a:lnTo>
                  <a:pt x="914" y="927"/>
                </a:lnTo>
                <a:lnTo>
                  <a:pt x="920" y="922"/>
                </a:lnTo>
                <a:lnTo>
                  <a:pt x="927" y="914"/>
                </a:lnTo>
                <a:lnTo>
                  <a:pt x="932" y="908"/>
                </a:lnTo>
                <a:lnTo>
                  <a:pt x="937" y="900"/>
                </a:lnTo>
                <a:lnTo>
                  <a:pt x="940" y="892"/>
                </a:lnTo>
                <a:lnTo>
                  <a:pt x="943" y="884"/>
                </a:lnTo>
                <a:lnTo>
                  <a:pt x="945" y="875"/>
                </a:lnTo>
                <a:lnTo>
                  <a:pt x="946" y="868"/>
                </a:lnTo>
                <a:lnTo>
                  <a:pt x="946" y="859"/>
                </a:lnTo>
                <a:lnTo>
                  <a:pt x="946" y="850"/>
                </a:lnTo>
                <a:lnTo>
                  <a:pt x="945" y="842"/>
                </a:lnTo>
                <a:lnTo>
                  <a:pt x="943" y="834"/>
                </a:lnTo>
                <a:lnTo>
                  <a:pt x="940" y="825"/>
                </a:lnTo>
                <a:lnTo>
                  <a:pt x="937" y="818"/>
                </a:lnTo>
                <a:lnTo>
                  <a:pt x="932" y="810"/>
                </a:lnTo>
                <a:lnTo>
                  <a:pt x="927" y="803"/>
                </a:lnTo>
                <a:lnTo>
                  <a:pt x="920" y="796"/>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Rectangle 65"/>
          <p:cNvSpPr/>
          <p:nvPr/>
        </p:nvSpPr>
        <p:spPr>
          <a:xfrm>
            <a:off x="5773232" y="2187401"/>
            <a:ext cx="1988280" cy="830997"/>
          </a:xfrm>
          <a:prstGeom prst="rect">
            <a:avLst/>
          </a:prstGeom>
          <a:noFill/>
        </p:spPr>
        <p:txBody>
          <a:bodyPr wrap="square">
            <a:spAutoFit/>
          </a:bodyPr>
          <a:lstStyle/>
          <a:p>
            <a:r>
              <a:rPr lang="en-US" sz="1200" noProof="1">
                <a:solidFill>
                  <a:schemeClr val="tx1">
                    <a:lumMod val="85000"/>
                    <a:lumOff val="15000"/>
                  </a:schemeClr>
                </a:solidFill>
                <a:latin typeface="Montserrat" panose="00000500000000000000" pitchFamily="2" charset="0"/>
                <a:ea typeface="Roboto Light" panose="02000000000000000000" pitchFamily="2" charset="0"/>
                <a:cs typeface="Open Sans" panose="020B0606030504020204" pitchFamily="34" charset="0"/>
              </a:rPr>
              <a:t>We Lern From The Best, Success Seems To Be </a:t>
            </a:r>
            <a:r>
              <a:rPr lang="en-US" sz="1200" b="1" noProof="1">
                <a:solidFill>
                  <a:schemeClr val="tx1">
                    <a:lumMod val="85000"/>
                    <a:lumOff val="15000"/>
                  </a:schemeClr>
                </a:solidFill>
                <a:latin typeface="Montserrat" panose="00000500000000000000" pitchFamily="2" charset="0"/>
                <a:ea typeface="Roboto Light" panose="02000000000000000000" pitchFamily="2" charset="0"/>
                <a:cs typeface="Open Sans" panose="020B0606030504020204" pitchFamily="34" charset="0"/>
              </a:rPr>
              <a:t>Connected With Action  </a:t>
            </a:r>
          </a:p>
        </p:txBody>
      </p:sp>
      <p:cxnSp>
        <p:nvCxnSpPr>
          <p:cNvPr id="67" name="Straight Connector 66"/>
          <p:cNvCxnSpPr/>
          <p:nvPr/>
        </p:nvCxnSpPr>
        <p:spPr>
          <a:xfrm>
            <a:off x="7909392" y="2187401"/>
            <a:ext cx="0" cy="871693"/>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7997545" y="2193519"/>
            <a:ext cx="2848256" cy="769441"/>
          </a:xfrm>
          <a:prstGeom prst="rect">
            <a:avLst/>
          </a:prstGeom>
        </p:spPr>
        <p:txBody>
          <a:bodyPr wrap="square">
            <a:spAutoFit/>
          </a:bodyPr>
          <a:lstStyle/>
          <a:p>
            <a:pPr>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ermentuLorem ipsum dolor sit amet, consectetur</a:t>
            </a:r>
          </a:p>
        </p:txBody>
      </p:sp>
      <p:sp>
        <p:nvSpPr>
          <p:cNvPr id="69" name="TextBox 68"/>
          <p:cNvSpPr txBox="1"/>
          <p:nvPr/>
        </p:nvSpPr>
        <p:spPr>
          <a:xfrm>
            <a:off x="4199070" y="2438234"/>
            <a:ext cx="962123" cy="369332"/>
          </a:xfrm>
          <a:prstGeom prst="rect">
            <a:avLst/>
          </a:prstGeom>
          <a:noFill/>
        </p:spPr>
        <p:txBody>
          <a:bodyPr wrap="none" rtlCol="0">
            <a:spAutoFit/>
          </a:bodyPr>
          <a:lstStyle/>
          <a:p>
            <a:r>
              <a:rPr lang="en-US" b="1" dirty="0">
                <a:solidFill>
                  <a:schemeClr val="bg1"/>
                </a:solidFill>
                <a:latin typeface="Montserrat" panose="00000500000000000000" pitchFamily="50" charset="0"/>
              </a:rPr>
              <a:t>Lorem</a:t>
            </a:r>
          </a:p>
        </p:txBody>
      </p:sp>
    </p:spTree>
    <p:extLst>
      <p:ext uri="{BB962C8B-B14F-4D97-AF65-F5344CB8AC3E}">
        <p14:creationId xmlns:p14="http://schemas.microsoft.com/office/powerpoint/2010/main" val="1222014430"/>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23" y="6664283"/>
            <a:ext cx="12189983" cy="206419"/>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
          <p:cNvSpPr/>
          <p:nvPr/>
        </p:nvSpPr>
        <p:spPr>
          <a:xfrm>
            <a:off x="5056966" y="6530678"/>
            <a:ext cx="2078068" cy="222924"/>
          </a:xfrm>
          <a:prstGeom prst="roundRect">
            <a:avLst>
              <a:gd name="adj" fmla="val 50000"/>
            </a:avLst>
          </a:prstGeom>
          <a:solidFill>
            <a:srgbClr val="018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effectLst>
                <a:outerShdw blurRad="63500" sx="102000" sy="102000" algn="ctr" rotWithShape="0">
                  <a:prstClr val="black">
                    <a:alpha val="40000"/>
                  </a:prstClr>
                </a:outerShdw>
              </a:effectLst>
              <a:latin typeface="+mj-lt"/>
            </a:endParaRPr>
          </a:p>
        </p:txBody>
      </p:sp>
      <p:cxnSp>
        <p:nvCxnSpPr>
          <p:cNvPr id="4" name="Straight Connector 3"/>
          <p:cNvCxnSpPr/>
          <p:nvPr/>
        </p:nvCxnSpPr>
        <p:spPr>
          <a:xfrm>
            <a:off x="6512721" y="6567488"/>
            <a:ext cx="0" cy="154781"/>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6665393" y="6505535"/>
            <a:ext cx="335348" cy="261610"/>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15</a:t>
            </a:r>
          </a:p>
        </p:txBody>
      </p:sp>
      <p:sp>
        <p:nvSpPr>
          <p:cNvPr id="6" name="Date Placeholder 1"/>
          <p:cNvSpPr txBox="1">
            <a:spLocks/>
          </p:cNvSpPr>
          <p:nvPr>
            <p:custDataLst>
              <p:tags r:id="rId1"/>
            </p:custDataLst>
          </p:nvPr>
        </p:nvSpPr>
        <p:spPr>
          <a:xfrm>
            <a:off x="5006809" y="6498189"/>
            <a:ext cx="1530941"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Segoe UI" panose="020B0502040204020203" pitchFamily="34" charset="0"/>
                <a:ea typeface="Open Sans Light" panose="020B0306030504020204" pitchFamily="34" charset="0"/>
                <a:cs typeface="Segoe UI" panose="020B0502040204020203" pitchFamily="34" charset="0"/>
              </a:rPr>
              <a:t>www.yourcompanyname.com</a:t>
            </a:r>
          </a:p>
        </p:txBody>
      </p:sp>
      <p:sp>
        <p:nvSpPr>
          <p:cNvPr id="7" name="Title 11"/>
          <p:cNvSpPr txBox="1">
            <a:spLocks/>
          </p:cNvSpPr>
          <p:nvPr/>
        </p:nvSpPr>
        <p:spPr>
          <a:xfrm>
            <a:off x="4378420" y="1145552"/>
            <a:ext cx="3435161" cy="192764"/>
          </a:xfrm>
          <a:prstGeom prst="rect">
            <a:avLst/>
          </a:prstGeom>
        </p:spPr>
        <p:txBody>
          <a:bodyPr vert="horz"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dirty="0">
                <a:solidFill>
                  <a:schemeClr val="tx1">
                    <a:lumMod val="85000"/>
                    <a:lumOff val="15000"/>
                  </a:schemeClr>
                </a:solidFill>
                <a:ea typeface="Roboto" panose="02000000000000000000" pitchFamily="2" charset="0"/>
                <a:cs typeface="Open Sans Light" panose="020B0306030504020204" pitchFamily="34" charset="0"/>
              </a:rPr>
              <a:t>Insert Your Creative Idea </a:t>
            </a:r>
          </a:p>
        </p:txBody>
      </p:sp>
      <p:sp>
        <p:nvSpPr>
          <p:cNvPr id="8" name="Title 11"/>
          <p:cNvSpPr txBox="1">
            <a:spLocks/>
          </p:cNvSpPr>
          <p:nvPr/>
        </p:nvSpPr>
        <p:spPr>
          <a:xfrm>
            <a:off x="987778" y="513848"/>
            <a:ext cx="10216444"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1" spc="-150" dirty="0">
                <a:solidFill>
                  <a:srgbClr val="01678C"/>
                </a:solidFill>
                <a:latin typeface="Montserrat" panose="00000500000000000000" pitchFamily="2" charset="0"/>
                <a:ea typeface="Roboto" panose="02000000000000000000" pitchFamily="2" charset="0"/>
                <a:cs typeface="Times New Roman" panose="02020603050405020304" pitchFamily="18" charset="0"/>
              </a:rPr>
              <a:t>Marketing</a:t>
            </a:r>
            <a:r>
              <a:rPr lang="en-US" sz="3600" b="1" spc="-150" dirty="0">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rPr>
              <a:t> </a:t>
            </a:r>
            <a:r>
              <a:rPr lang="en-US" sz="3600" spc="-150" dirty="0">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rPr>
              <a:t>Infographic </a:t>
            </a:r>
          </a:p>
        </p:txBody>
      </p:sp>
      <p:grpSp>
        <p:nvGrpSpPr>
          <p:cNvPr id="47" name="Group 46"/>
          <p:cNvGrpSpPr/>
          <p:nvPr/>
        </p:nvGrpSpPr>
        <p:grpSpPr>
          <a:xfrm>
            <a:off x="1156161" y="2028076"/>
            <a:ext cx="9889726" cy="3722835"/>
            <a:chOff x="1243245" y="1970020"/>
            <a:chExt cx="9889726" cy="3722835"/>
          </a:xfrm>
        </p:grpSpPr>
        <p:sp>
          <p:nvSpPr>
            <p:cNvPr id="30" name="Right Triangle 29"/>
            <p:cNvSpPr/>
            <p:nvPr/>
          </p:nvSpPr>
          <p:spPr>
            <a:xfrm rot="16828068">
              <a:off x="3078399" y="3684226"/>
              <a:ext cx="1281294" cy="2045516"/>
            </a:xfrm>
            <a:prstGeom prst="rtTriangle">
              <a:avLst/>
            </a:prstGeom>
            <a:gradFill>
              <a:gsLst>
                <a:gs pos="0">
                  <a:schemeClr val="bg1">
                    <a:alpha val="0"/>
                  </a:schemeClr>
                </a:gs>
                <a:gs pos="50000">
                  <a:schemeClr val="tx1">
                    <a:lumMod val="50000"/>
                    <a:lumOff val="50000"/>
                    <a:alpha val="33000"/>
                  </a:schemeClr>
                </a:gs>
              </a:gsLst>
              <a:lin ang="216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2" name="Freeform 21"/>
            <p:cNvSpPr>
              <a:spLocks/>
            </p:cNvSpPr>
            <p:nvPr/>
          </p:nvSpPr>
          <p:spPr bwMode="auto">
            <a:xfrm>
              <a:off x="4012897" y="4051039"/>
              <a:ext cx="596312" cy="1471748"/>
            </a:xfrm>
            <a:custGeom>
              <a:avLst/>
              <a:gdLst/>
              <a:ahLst/>
              <a:cxnLst>
                <a:cxn ang="0">
                  <a:pos x="423" y="1044"/>
                </a:cxn>
                <a:cxn ang="0">
                  <a:pos x="10" y="771"/>
                </a:cxn>
                <a:cxn ang="0">
                  <a:pos x="0" y="0"/>
                </a:cxn>
                <a:cxn ang="0">
                  <a:pos x="419" y="229"/>
                </a:cxn>
                <a:cxn ang="0">
                  <a:pos x="423" y="1044"/>
                </a:cxn>
              </a:cxnLst>
              <a:rect l="0" t="0" r="r" b="b"/>
              <a:pathLst>
                <a:path w="423" h="1044">
                  <a:moveTo>
                    <a:pt x="423" y="1044"/>
                  </a:moveTo>
                  <a:lnTo>
                    <a:pt x="10" y="771"/>
                  </a:lnTo>
                  <a:lnTo>
                    <a:pt x="0" y="0"/>
                  </a:lnTo>
                  <a:lnTo>
                    <a:pt x="419" y="229"/>
                  </a:lnTo>
                  <a:lnTo>
                    <a:pt x="423" y="1044"/>
                  </a:lnTo>
                  <a:close/>
                </a:path>
              </a:pathLst>
            </a:custGeom>
            <a:solidFill>
              <a:srgbClr val="01678C"/>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3" name="Freeform 22"/>
            <p:cNvSpPr>
              <a:spLocks/>
            </p:cNvSpPr>
            <p:nvPr/>
          </p:nvSpPr>
          <p:spPr bwMode="auto">
            <a:xfrm>
              <a:off x="4012897" y="3859317"/>
              <a:ext cx="2235816" cy="514549"/>
            </a:xfrm>
            <a:custGeom>
              <a:avLst/>
              <a:gdLst/>
              <a:ahLst/>
              <a:cxnLst>
                <a:cxn ang="0">
                  <a:pos x="419" y="365"/>
                </a:cxn>
                <a:cxn ang="0">
                  <a:pos x="0" y="136"/>
                </a:cxn>
                <a:cxn ang="0">
                  <a:pos x="1116" y="0"/>
                </a:cxn>
                <a:cxn ang="0">
                  <a:pos x="1586" y="211"/>
                </a:cxn>
                <a:cxn ang="0">
                  <a:pos x="419" y="365"/>
                </a:cxn>
              </a:cxnLst>
              <a:rect l="0" t="0" r="r" b="b"/>
              <a:pathLst>
                <a:path w="1586" h="365">
                  <a:moveTo>
                    <a:pt x="419" y="365"/>
                  </a:moveTo>
                  <a:lnTo>
                    <a:pt x="0" y="136"/>
                  </a:lnTo>
                  <a:lnTo>
                    <a:pt x="1116" y="0"/>
                  </a:lnTo>
                  <a:lnTo>
                    <a:pt x="1586" y="211"/>
                  </a:lnTo>
                  <a:lnTo>
                    <a:pt x="419" y="365"/>
                  </a:lnTo>
                  <a:close/>
                </a:path>
              </a:pathLst>
            </a:custGeom>
            <a:solidFill>
              <a:schemeClr val="bg1">
                <a:lumMod val="75000"/>
              </a:schemeClr>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4" name="Freeform 23"/>
            <p:cNvSpPr>
              <a:spLocks/>
            </p:cNvSpPr>
            <p:nvPr/>
          </p:nvSpPr>
          <p:spPr bwMode="auto">
            <a:xfrm>
              <a:off x="4603570" y="4156768"/>
              <a:ext cx="1645143" cy="1366019"/>
            </a:xfrm>
            <a:custGeom>
              <a:avLst/>
              <a:gdLst/>
              <a:ahLst/>
              <a:cxnLst>
                <a:cxn ang="0">
                  <a:pos x="1167" y="0"/>
                </a:cxn>
                <a:cxn ang="0">
                  <a:pos x="1153" y="785"/>
                </a:cxn>
                <a:cxn ang="0">
                  <a:pos x="4" y="969"/>
                </a:cxn>
                <a:cxn ang="0">
                  <a:pos x="0" y="154"/>
                </a:cxn>
                <a:cxn ang="0">
                  <a:pos x="1167" y="0"/>
                </a:cxn>
              </a:cxnLst>
              <a:rect l="0" t="0" r="r" b="b"/>
              <a:pathLst>
                <a:path w="1167" h="969">
                  <a:moveTo>
                    <a:pt x="1167" y="0"/>
                  </a:moveTo>
                  <a:lnTo>
                    <a:pt x="1153" y="785"/>
                  </a:lnTo>
                  <a:lnTo>
                    <a:pt x="4" y="969"/>
                  </a:lnTo>
                  <a:lnTo>
                    <a:pt x="0" y="154"/>
                  </a:lnTo>
                  <a:lnTo>
                    <a:pt x="1167" y="0"/>
                  </a:lnTo>
                  <a:close/>
                </a:path>
              </a:pathLst>
            </a:custGeom>
            <a:solidFill>
              <a:srgbClr val="018ABB"/>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7" name="Freeform 24"/>
            <p:cNvSpPr>
              <a:spLocks/>
            </p:cNvSpPr>
            <p:nvPr/>
          </p:nvSpPr>
          <p:spPr bwMode="auto">
            <a:xfrm>
              <a:off x="7411732" y="4286462"/>
              <a:ext cx="1029096" cy="1401262"/>
            </a:xfrm>
            <a:custGeom>
              <a:avLst/>
              <a:gdLst/>
              <a:ahLst/>
              <a:cxnLst>
                <a:cxn ang="0">
                  <a:pos x="3" y="175"/>
                </a:cxn>
                <a:cxn ang="0">
                  <a:pos x="730" y="0"/>
                </a:cxn>
                <a:cxn ang="0">
                  <a:pos x="715" y="784"/>
                </a:cxn>
                <a:cxn ang="0">
                  <a:pos x="0" y="994"/>
                </a:cxn>
                <a:cxn ang="0">
                  <a:pos x="3" y="175"/>
                </a:cxn>
              </a:cxnLst>
              <a:rect l="0" t="0" r="r" b="b"/>
              <a:pathLst>
                <a:path w="730" h="994">
                  <a:moveTo>
                    <a:pt x="3" y="175"/>
                  </a:moveTo>
                  <a:lnTo>
                    <a:pt x="730" y="0"/>
                  </a:lnTo>
                  <a:lnTo>
                    <a:pt x="715" y="784"/>
                  </a:lnTo>
                  <a:lnTo>
                    <a:pt x="0" y="994"/>
                  </a:lnTo>
                  <a:lnTo>
                    <a:pt x="3" y="175"/>
                  </a:lnTo>
                  <a:close/>
                </a:path>
              </a:pathLst>
            </a:custGeom>
            <a:solidFill>
              <a:srgbClr val="018ABB"/>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8" name="Freeform 25"/>
            <p:cNvSpPr>
              <a:spLocks/>
            </p:cNvSpPr>
            <p:nvPr/>
          </p:nvSpPr>
          <p:spPr bwMode="auto">
            <a:xfrm>
              <a:off x="6206421" y="3962227"/>
              <a:ext cx="2238635" cy="570937"/>
            </a:xfrm>
            <a:custGeom>
              <a:avLst/>
              <a:gdLst/>
              <a:ahLst/>
              <a:cxnLst>
                <a:cxn ang="0">
                  <a:pos x="0" y="155"/>
                </a:cxn>
                <a:cxn ang="0">
                  <a:pos x="718" y="0"/>
                </a:cxn>
                <a:cxn ang="0">
                  <a:pos x="1588" y="230"/>
                </a:cxn>
                <a:cxn ang="0">
                  <a:pos x="861" y="405"/>
                </a:cxn>
                <a:cxn ang="0">
                  <a:pos x="0" y="155"/>
                </a:cxn>
              </a:cxnLst>
              <a:rect l="0" t="0" r="r" b="b"/>
              <a:pathLst>
                <a:path w="1588" h="405">
                  <a:moveTo>
                    <a:pt x="0" y="155"/>
                  </a:moveTo>
                  <a:lnTo>
                    <a:pt x="718" y="0"/>
                  </a:lnTo>
                  <a:lnTo>
                    <a:pt x="1588" y="230"/>
                  </a:lnTo>
                  <a:lnTo>
                    <a:pt x="861" y="405"/>
                  </a:lnTo>
                  <a:lnTo>
                    <a:pt x="0" y="155"/>
                  </a:lnTo>
                  <a:close/>
                </a:path>
              </a:pathLst>
            </a:custGeom>
            <a:solidFill>
              <a:schemeClr val="bg1">
                <a:lumMod val="75000"/>
              </a:schemeClr>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9" name="Freeform 26"/>
            <p:cNvSpPr>
              <a:spLocks/>
            </p:cNvSpPr>
            <p:nvPr/>
          </p:nvSpPr>
          <p:spPr bwMode="auto">
            <a:xfrm>
              <a:off x="6206421" y="4180733"/>
              <a:ext cx="1213769" cy="1509810"/>
            </a:xfrm>
            <a:custGeom>
              <a:avLst/>
              <a:gdLst/>
              <a:ahLst/>
              <a:cxnLst>
                <a:cxn ang="0">
                  <a:pos x="861" y="250"/>
                </a:cxn>
                <a:cxn ang="0">
                  <a:pos x="858" y="1071"/>
                </a:cxn>
                <a:cxn ang="0">
                  <a:pos x="12" y="771"/>
                </a:cxn>
                <a:cxn ang="0">
                  <a:pos x="0" y="0"/>
                </a:cxn>
                <a:cxn ang="0">
                  <a:pos x="861" y="250"/>
                </a:cxn>
              </a:cxnLst>
              <a:rect l="0" t="0" r="r" b="b"/>
              <a:pathLst>
                <a:path w="861" h="1071">
                  <a:moveTo>
                    <a:pt x="861" y="250"/>
                  </a:moveTo>
                  <a:lnTo>
                    <a:pt x="858" y="1071"/>
                  </a:lnTo>
                  <a:lnTo>
                    <a:pt x="12" y="771"/>
                  </a:lnTo>
                  <a:lnTo>
                    <a:pt x="0" y="0"/>
                  </a:lnTo>
                  <a:lnTo>
                    <a:pt x="861" y="250"/>
                  </a:lnTo>
                  <a:close/>
                </a:path>
              </a:pathLst>
            </a:custGeom>
            <a:solidFill>
              <a:srgbClr val="01678C"/>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6" name="Isosceles Triangle 25"/>
            <p:cNvSpPr/>
            <p:nvPr/>
          </p:nvSpPr>
          <p:spPr>
            <a:xfrm>
              <a:off x="5473255" y="5269851"/>
              <a:ext cx="1953872" cy="423004"/>
            </a:xfrm>
            <a:prstGeom prst="triangle">
              <a:avLst>
                <a:gd name="adj" fmla="val 39116"/>
              </a:avLst>
            </a:prstGeom>
            <a:gradFill>
              <a:gsLst>
                <a:gs pos="0">
                  <a:schemeClr val="tx1">
                    <a:lumMod val="50000"/>
                    <a:lumOff val="50000"/>
                    <a:alpha val="79000"/>
                  </a:schemeClr>
                </a:gs>
                <a:gs pos="50000">
                  <a:schemeClr val="bg1">
                    <a:lumMod val="95000"/>
                    <a:alpha val="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3" name="Teardrop 22"/>
            <p:cNvSpPr/>
            <p:nvPr/>
          </p:nvSpPr>
          <p:spPr>
            <a:xfrm rot="8100000">
              <a:off x="4058769" y="3148076"/>
              <a:ext cx="846862" cy="846855"/>
            </a:xfrm>
            <a:prstGeom prst="teardrop">
              <a:avLst/>
            </a:prstGeom>
            <a:solidFill>
              <a:srgbClr val="01678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1">
                    <a:lumMod val="75000"/>
                    <a:lumOff val="25000"/>
                  </a:schemeClr>
                </a:solidFill>
              </a:endParaRPr>
            </a:p>
          </p:txBody>
        </p:sp>
        <p:sp>
          <p:nvSpPr>
            <p:cNvPr id="24" name="Oval 23"/>
            <p:cNvSpPr/>
            <p:nvPr/>
          </p:nvSpPr>
          <p:spPr>
            <a:xfrm>
              <a:off x="4188555" y="3279818"/>
              <a:ext cx="587289" cy="5872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67" b="1" dirty="0">
                <a:solidFill>
                  <a:schemeClr val="tx1">
                    <a:lumMod val="75000"/>
                    <a:lumOff val="25000"/>
                  </a:schemeClr>
                </a:solidFill>
              </a:endParaRPr>
            </a:p>
          </p:txBody>
        </p:sp>
        <p:sp>
          <p:nvSpPr>
            <p:cNvPr id="21" name="Teardrop 20"/>
            <p:cNvSpPr/>
            <p:nvPr/>
          </p:nvSpPr>
          <p:spPr>
            <a:xfrm rot="8100000">
              <a:off x="7534567" y="3294305"/>
              <a:ext cx="846862" cy="846855"/>
            </a:xfrm>
            <a:prstGeom prst="teardrop">
              <a:avLst/>
            </a:prstGeom>
            <a:solidFill>
              <a:srgbClr val="01678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1">
                    <a:lumMod val="75000"/>
                    <a:lumOff val="25000"/>
                  </a:schemeClr>
                </a:solidFill>
              </a:endParaRPr>
            </a:p>
          </p:txBody>
        </p:sp>
        <p:sp>
          <p:nvSpPr>
            <p:cNvPr id="22" name="Oval 21"/>
            <p:cNvSpPr/>
            <p:nvPr/>
          </p:nvSpPr>
          <p:spPr>
            <a:xfrm>
              <a:off x="7664353" y="3426047"/>
              <a:ext cx="587289" cy="5872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67" b="1" dirty="0">
                <a:solidFill>
                  <a:schemeClr val="tx1">
                    <a:lumMod val="75000"/>
                    <a:lumOff val="25000"/>
                  </a:schemeClr>
                </a:solidFill>
              </a:endParaRPr>
            </a:p>
          </p:txBody>
        </p:sp>
        <p:sp>
          <p:nvSpPr>
            <p:cNvPr id="18" name="Freeform 27"/>
            <p:cNvSpPr>
              <a:spLocks/>
            </p:cNvSpPr>
            <p:nvPr/>
          </p:nvSpPr>
          <p:spPr bwMode="auto">
            <a:xfrm>
              <a:off x="5053270" y="2968374"/>
              <a:ext cx="348201" cy="1371658"/>
            </a:xfrm>
            <a:custGeom>
              <a:avLst/>
              <a:gdLst/>
              <a:ahLst/>
              <a:cxnLst>
                <a:cxn ang="0">
                  <a:pos x="247" y="973"/>
                </a:cxn>
                <a:cxn ang="0">
                  <a:pos x="2" y="783"/>
                </a:cxn>
                <a:cxn ang="0">
                  <a:pos x="0" y="0"/>
                </a:cxn>
                <a:cxn ang="0">
                  <a:pos x="247" y="137"/>
                </a:cxn>
                <a:cxn ang="0">
                  <a:pos x="247" y="973"/>
                </a:cxn>
              </a:cxnLst>
              <a:rect l="0" t="0" r="r" b="b"/>
              <a:pathLst>
                <a:path w="247" h="973">
                  <a:moveTo>
                    <a:pt x="247" y="973"/>
                  </a:moveTo>
                  <a:lnTo>
                    <a:pt x="2" y="783"/>
                  </a:lnTo>
                  <a:lnTo>
                    <a:pt x="0" y="0"/>
                  </a:lnTo>
                  <a:lnTo>
                    <a:pt x="247" y="137"/>
                  </a:lnTo>
                  <a:lnTo>
                    <a:pt x="247" y="973"/>
                  </a:lnTo>
                  <a:close/>
                </a:path>
              </a:pathLst>
            </a:custGeom>
            <a:solidFill>
              <a:srgbClr val="01678C"/>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9" name="Freeform 28"/>
            <p:cNvSpPr>
              <a:spLocks/>
            </p:cNvSpPr>
            <p:nvPr/>
          </p:nvSpPr>
          <p:spPr bwMode="auto">
            <a:xfrm>
              <a:off x="5053270" y="2907756"/>
              <a:ext cx="2124448" cy="253750"/>
            </a:xfrm>
            <a:custGeom>
              <a:avLst/>
              <a:gdLst/>
              <a:ahLst/>
              <a:cxnLst>
                <a:cxn ang="0">
                  <a:pos x="247" y="180"/>
                </a:cxn>
                <a:cxn ang="0">
                  <a:pos x="0" y="43"/>
                </a:cxn>
                <a:cxn ang="0">
                  <a:pos x="1187" y="0"/>
                </a:cxn>
                <a:cxn ang="0">
                  <a:pos x="1507" y="132"/>
                </a:cxn>
                <a:cxn ang="0">
                  <a:pos x="247" y="180"/>
                </a:cxn>
              </a:cxnLst>
              <a:rect l="0" t="0" r="r" b="b"/>
              <a:pathLst>
                <a:path w="1507" h="180">
                  <a:moveTo>
                    <a:pt x="247" y="180"/>
                  </a:moveTo>
                  <a:lnTo>
                    <a:pt x="0" y="43"/>
                  </a:lnTo>
                  <a:lnTo>
                    <a:pt x="1187" y="0"/>
                  </a:lnTo>
                  <a:lnTo>
                    <a:pt x="1507" y="132"/>
                  </a:lnTo>
                  <a:lnTo>
                    <a:pt x="247" y="180"/>
                  </a:lnTo>
                  <a:close/>
                </a:path>
              </a:pathLst>
            </a:custGeom>
            <a:solidFill>
              <a:schemeClr val="bg1">
                <a:lumMod val="75000"/>
              </a:schemeClr>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0" name="Freeform 29"/>
            <p:cNvSpPr>
              <a:spLocks/>
            </p:cNvSpPr>
            <p:nvPr/>
          </p:nvSpPr>
          <p:spPr bwMode="auto">
            <a:xfrm>
              <a:off x="5401471" y="3093839"/>
              <a:ext cx="1776247" cy="1246192"/>
            </a:xfrm>
            <a:custGeom>
              <a:avLst/>
              <a:gdLst/>
              <a:ahLst/>
              <a:cxnLst>
                <a:cxn ang="0">
                  <a:pos x="1260" y="0"/>
                </a:cxn>
                <a:cxn ang="0">
                  <a:pos x="1247" y="813"/>
                </a:cxn>
                <a:cxn ang="0">
                  <a:pos x="0" y="884"/>
                </a:cxn>
                <a:cxn ang="0">
                  <a:pos x="0" y="48"/>
                </a:cxn>
                <a:cxn ang="0">
                  <a:pos x="1260" y="0"/>
                </a:cxn>
              </a:cxnLst>
              <a:rect l="0" t="0" r="r" b="b"/>
              <a:pathLst>
                <a:path w="1260" h="884">
                  <a:moveTo>
                    <a:pt x="1260" y="0"/>
                  </a:moveTo>
                  <a:lnTo>
                    <a:pt x="1247" y="813"/>
                  </a:lnTo>
                  <a:lnTo>
                    <a:pt x="0" y="884"/>
                  </a:lnTo>
                  <a:lnTo>
                    <a:pt x="0" y="48"/>
                  </a:lnTo>
                  <a:lnTo>
                    <a:pt x="1260" y="0"/>
                  </a:lnTo>
                  <a:close/>
                </a:path>
              </a:pathLst>
            </a:custGeom>
            <a:solidFill>
              <a:srgbClr val="018ABB"/>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 name="Teardrop 15"/>
            <p:cNvSpPr/>
            <p:nvPr/>
          </p:nvSpPr>
          <p:spPr>
            <a:xfrm rot="8100000">
              <a:off x="5712513" y="1970020"/>
              <a:ext cx="846862" cy="846855"/>
            </a:xfrm>
            <a:prstGeom prst="teardrop">
              <a:avLst/>
            </a:prstGeom>
            <a:solidFill>
              <a:srgbClr val="01678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1">
                    <a:lumMod val="75000"/>
                    <a:lumOff val="25000"/>
                  </a:schemeClr>
                </a:solidFill>
              </a:endParaRPr>
            </a:p>
          </p:txBody>
        </p:sp>
        <p:sp>
          <p:nvSpPr>
            <p:cNvPr id="17" name="Oval 16"/>
            <p:cNvSpPr/>
            <p:nvPr/>
          </p:nvSpPr>
          <p:spPr>
            <a:xfrm>
              <a:off x="5842299" y="2101762"/>
              <a:ext cx="587289" cy="5872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67" b="1" dirty="0">
                <a:solidFill>
                  <a:schemeClr val="tx1">
                    <a:lumMod val="75000"/>
                    <a:lumOff val="25000"/>
                  </a:schemeClr>
                </a:solidFill>
              </a:endParaRPr>
            </a:p>
          </p:txBody>
        </p:sp>
        <p:sp>
          <p:nvSpPr>
            <p:cNvPr id="35" name="Text Placeholder 2"/>
            <p:cNvSpPr txBox="1">
              <a:spLocks/>
            </p:cNvSpPr>
            <p:nvPr/>
          </p:nvSpPr>
          <p:spPr>
            <a:xfrm>
              <a:off x="4142988" y="3298938"/>
              <a:ext cx="653817" cy="576311"/>
            </a:xfrm>
            <a:prstGeom prst="rect">
              <a:avLst/>
            </a:prstGeom>
          </p:spPr>
          <p:txBody>
            <a:bodyPr vert="horz" lIns="121920" tIns="60960" rIns="121920" bIns="60960" rtlCol="0" anchor="ctr">
              <a:noAutofit/>
            </a:bodyPr>
            <a:lstStyle>
              <a:lvl1pPr marL="0" indent="0" algn="l" defTabSz="914400" rtl="0" eaLnBrk="1" latinLnBrk="0" hangingPunct="1">
                <a:lnSpc>
                  <a:spcPct val="100000"/>
                </a:lnSpc>
                <a:spcBef>
                  <a:spcPts val="1000"/>
                </a:spcBef>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1pPr>
              <a:lvl2pPr marL="457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2pPr>
              <a:lvl3pPr marL="914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000" kern="1200">
                  <a:solidFill>
                    <a:schemeClr val="tx1"/>
                  </a:solidFill>
                  <a:latin typeface="Roboto" pitchFamily="2" charset="0"/>
                  <a:ea typeface="Roboto" pitchFamily="2" charset="0"/>
                  <a:cs typeface="+mn-cs"/>
                </a:defRPr>
              </a:lvl3pPr>
              <a:lvl4pPr marL="1371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4pPr>
              <a:lvl5pPr marL="18288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5pPr>
              <a:lvl6pPr marL="22860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9pPr>
            </a:lstStyle>
            <a:p>
              <a:pPr algn="ctr">
                <a:spcBef>
                  <a:spcPts val="0"/>
                </a:spcBef>
              </a:pPr>
              <a:r>
                <a:rPr lang="id-ID" sz="1400" b="1" dirty="0">
                  <a:solidFill>
                    <a:schemeClr val="tx1">
                      <a:lumMod val="85000"/>
                      <a:lumOff val="15000"/>
                    </a:schemeClr>
                  </a:solidFill>
                  <a:latin typeface="Montserrat" panose="00000500000000000000" pitchFamily="2" charset="0"/>
                  <a:cs typeface="Open Sans"/>
                </a:rPr>
                <a:t>45%</a:t>
              </a:r>
              <a:endParaRPr lang="en-AU" sz="1050" dirty="0">
                <a:solidFill>
                  <a:schemeClr val="tx1">
                    <a:lumMod val="85000"/>
                    <a:lumOff val="15000"/>
                  </a:schemeClr>
                </a:solidFill>
                <a:latin typeface="Montserrat" panose="00000500000000000000" pitchFamily="2" charset="0"/>
                <a:cs typeface="Open Sans"/>
              </a:endParaRPr>
            </a:p>
          </p:txBody>
        </p:sp>
        <p:sp>
          <p:nvSpPr>
            <p:cNvPr id="36" name="Text Placeholder 2"/>
            <p:cNvSpPr txBox="1">
              <a:spLocks/>
            </p:cNvSpPr>
            <p:nvPr/>
          </p:nvSpPr>
          <p:spPr>
            <a:xfrm>
              <a:off x="5809034" y="2104093"/>
              <a:ext cx="653817" cy="576311"/>
            </a:xfrm>
            <a:prstGeom prst="rect">
              <a:avLst/>
            </a:prstGeom>
          </p:spPr>
          <p:txBody>
            <a:bodyPr vert="horz" lIns="121920" tIns="60960" rIns="121920" bIns="60960" rtlCol="0" anchor="ctr">
              <a:noAutofit/>
            </a:bodyPr>
            <a:lstStyle>
              <a:lvl1pPr marL="0" indent="0" algn="l" defTabSz="914400" rtl="0" eaLnBrk="1" latinLnBrk="0" hangingPunct="1">
                <a:lnSpc>
                  <a:spcPct val="100000"/>
                </a:lnSpc>
                <a:spcBef>
                  <a:spcPts val="1000"/>
                </a:spcBef>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1pPr>
              <a:lvl2pPr marL="457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2pPr>
              <a:lvl3pPr marL="914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000" kern="1200">
                  <a:solidFill>
                    <a:schemeClr val="tx1"/>
                  </a:solidFill>
                  <a:latin typeface="Roboto" pitchFamily="2" charset="0"/>
                  <a:ea typeface="Roboto" pitchFamily="2" charset="0"/>
                  <a:cs typeface="+mn-cs"/>
                </a:defRPr>
              </a:lvl3pPr>
              <a:lvl4pPr marL="1371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4pPr>
              <a:lvl5pPr marL="18288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5pPr>
              <a:lvl6pPr marL="22860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9pPr>
            </a:lstStyle>
            <a:p>
              <a:pPr algn="ctr">
                <a:spcBef>
                  <a:spcPts val="0"/>
                </a:spcBef>
              </a:pPr>
              <a:r>
                <a:rPr lang="id-ID" sz="1400" b="1" dirty="0">
                  <a:solidFill>
                    <a:schemeClr val="tx1">
                      <a:lumMod val="85000"/>
                      <a:lumOff val="15000"/>
                    </a:schemeClr>
                  </a:solidFill>
                  <a:latin typeface="Montserrat" panose="00000500000000000000" pitchFamily="2" charset="0"/>
                  <a:cs typeface="Open Sans"/>
                </a:rPr>
                <a:t>54%</a:t>
              </a:r>
              <a:endParaRPr lang="en-AU" sz="1050" dirty="0">
                <a:solidFill>
                  <a:schemeClr val="tx1">
                    <a:lumMod val="85000"/>
                    <a:lumOff val="15000"/>
                  </a:schemeClr>
                </a:solidFill>
                <a:latin typeface="Montserrat" panose="00000500000000000000" pitchFamily="2" charset="0"/>
                <a:cs typeface="Open Sans"/>
              </a:endParaRPr>
            </a:p>
          </p:txBody>
        </p:sp>
        <p:sp>
          <p:nvSpPr>
            <p:cNvPr id="37" name="Text Placeholder 2"/>
            <p:cNvSpPr txBox="1">
              <a:spLocks/>
            </p:cNvSpPr>
            <p:nvPr/>
          </p:nvSpPr>
          <p:spPr>
            <a:xfrm>
              <a:off x="7655759" y="3440861"/>
              <a:ext cx="653817" cy="576311"/>
            </a:xfrm>
            <a:prstGeom prst="rect">
              <a:avLst/>
            </a:prstGeom>
          </p:spPr>
          <p:txBody>
            <a:bodyPr vert="horz" lIns="121920" tIns="60960" rIns="121920" bIns="60960" rtlCol="0" anchor="ctr">
              <a:noAutofit/>
            </a:bodyPr>
            <a:lstStyle>
              <a:lvl1pPr marL="0" indent="0" algn="l" defTabSz="914400" rtl="0" eaLnBrk="1" latinLnBrk="0" hangingPunct="1">
                <a:lnSpc>
                  <a:spcPct val="100000"/>
                </a:lnSpc>
                <a:spcBef>
                  <a:spcPts val="1000"/>
                </a:spcBef>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1pPr>
              <a:lvl2pPr marL="457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2pPr>
              <a:lvl3pPr marL="914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000" kern="1200">
                  <a:solidFill>
                    <a:schemeClr val="tx1"/>
                  </a:solidFill>
                  <a:latin typeface="Roboto" pitchFamily="2" charset="0"/>
                  <a:ea typeface="Roboto" pitchFamily="2" charset="0"/>
                  <a:cs typeface="+mn-cs"/>
                </a:defRPr>
              </a:lvl3pPr>
              <a:lvl4pPr marL="1371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4pPr>
              <a:lvl5pPr marL="18288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5pPr>
              <a:lvl6pPr marL="22860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9pPr>
            </a:lstStyle>
            <a:p>
              <a:pPr algn="ctr">
                <a:spcBef>
                  <a:spcPts val="0"/>
                </a:spcBef>
              </a:pPr>
              <a:r>
                <a:rPr lang="id-ID" sz="1400" b="1" dirty="0">
                  <a:solidFill>
                    <a:schemeClr val="tx1">
                      <a:lumMod val="85000"/>
                      <a:lumOff val="15000"/>
                    </a:schemeClr>
                  </a:solidFill>
                  <a:latin typeface="Montserrat" panose="00000500000000000000" pitchFamily="2" charset="0"/>
                  <a:cs typeface="Open Sans"/>
                </a:rPr>
                <a:t>64%</a:t>
              </a:r>
              <a:endParaRPr lang="en-AU" sz="1050" dirty="0">
                <a:solidFill>
                  <a:schemeClr val="tx1">
                    <a:lumMod val="85000"/>
                    <a:lumOff val="15000"/>
                  </a:schemeClr>
                </a:solidFill>
                <a:latin typeface="Montserrat" panose="00000500000000000000" pitchFamily="2" charset="0"/>
                <a:cs typeface="Open Sans"/>
              </a:endParaRPr>
            </a:p>
          </p:txBody>
        </p:sp>
        <p:sp>
          <p:nvSpPr>
            <p:cNvPr id="38" name="Freeform 258"/>
            <p:cNvSpPr>
              <a:spLocks noEditPoints="1"/>
            </p:cNvSpPr>
            <p:nvPr/>
          </p:nvSpPr>
          <p:spPr bwMode="auto">
            <a:xfrm>
              <a:off x="6692959" y="4650307"/>
              <a:ext cx="516166" cy="516166"/>
            </a:xfrm>
            <a:custGeom>
              <a:avLst/>
              <a:gdLst>
                <a:gd name="T0" fmla="*/ 393 w 883"/>
                <a:gd name="T1" fmla="*/ 555 h 883"/>
                <a:gd name="T2" fmla="*/ 346 w 883"/>
                <a:gd name="T3" fmla="*/ 520 h 883"/>
                <a:gd name="T4" fmla="*/ 321 w 883"/>
                <a:gd name="T5" fmla="*/ 466 h 883"/>
                <a:gd name="T6" fmla="*/ 323 w 883"/>
                <a:gd name="T7" fmla="*/ 404 h 883"/>
                <a:gd name="T8" fmla="*/ 354 w 883"/>
                <a:gd name="T9" fmla="*/ 354 h 883"/>
                <a:gd name="T10" fmla="*/ 404 w 883"/>
                <a:gd name="T11" fmla="*/ 323 h 883"/>
                <a:gd name="T12" fmla="*/ 467 w 883"/>
                <a:gd name="T13" fmla="*/ 320 h 883"/>
                <a:gd name="T14" fmla="*/ 520 w 883"/>
                <a:gd name="T15" fmla="*/ 346 h 883"/>
                <a:gd name="T16" fmla="*/ 555 w 883"/>
                <a:gd name="T17" fmla="*/ 393 h 883"/>
                <a:gd name="T18" fmla="*/ 564 w 883"/>
                <a:gd name="T19" fmla="*/ 454 h 883"/>
                <a:gd name="T20" fmla="*/ 543 w 883"/>
                <a:gd name="T21" fmla="*/ 510 h 883"/>
                <a:gd name="T22" fmla="*/ 500 w 883"/>
                <a:gd name="T23" fmla="*/ 550 h 883"/>
                <a:gd name="T24" fmla="*/ 441 w 883"/>
                <a:gd name="T25" fmla="*/ 565 h 883"/>
                <a:gd name="T26" fmla="*/ 328 w 883"/>
                <a:gd name="T27" fmla="*/ 102 h 883"/>
                <a:gd name="T28" fmla="*/ 67 w 883"/>
                <a:gd name="T29" fmla="*/ 191 h 883"/>
                <a:gd name="T30" fmla="*/ 98 w 883"/>
                <a:gd name="T31" fmla="*/ 353 h 883"/>
                <a:gd name="T32" fmla="*/ 118 w 883"/>
                <a:gd name="T33" fmla="*/ 575 h 883"/>
                <a:gd name="T34" fmla="*/ 266 w 883"/>
                <a:gd name="T35" fmla="*/ 741 h 883"/>
                <a:gd name="T36" fmla="*/ 353 w 883"/>
                <a:gd name="T37" fmla="*/ 883 h 883"/>
                <a:gd name="T38" fmla="*/ 596 w 883"/>
                <a:gd name="T39" fmla="*/ 752 h 883"/>
                <a:gd name="T40" fmla="*/ 754 w 883"/>
                <a:gd name="T41" fmla="*/ 597 h 883"/>
                <a:gd name="T42" fmla="*/ 883 w 883"/>
                <a:gd name="T43" fmla="*/ 353 h 883"/>
                <a:gd name="T44" fmla="*/ 748 w 883"/>
                <a:gd name="T45" fmla="*/ 260 h 883"/>
                <a:gd name="T46" fmla="*/ 578 w 883"/>
                <a:gd name="T47" fmla="*/ 110 h 883"/>
                <a:gd name="T48" fmla="*/ 457 w 883"/>
                <a:gd name="T49" fmla="*/ 600 h 883"/>
                <a:gd name="T50" fmla="*/ 530 w 883"/>
                <a:gd name="T51" fmla="*/ 573 h 883"/>
                <a:gd name="T52" fmla="*/ 581 w 883"/>
                <a:gd name="T53" fmla="*/ 516 h 883"/>
                <a:gd name="T54" fmla="*/ 600 w 883"/>
                <a:gd name="T55" fmla="*/ 441 h 883"/>
                <a:gd name="T56" fmla="*/ 581 w 883"/>
                <a:gd name="T57" fmla="*/ 365 h 883"/>
                <a:gd name="T58" fmla="*/ 530 w 883"/>
                <a:gd name="T59" fmla="*/ 310 h 883"/>
                <a:gd name="T60" fmla="*/ 457 w 883"/>
                <a:gd name="T61" fmla="*/ 283 h 883"/>
                <a:gd name="T62" fmla="*/ 379 w 883"/>
                <a:gd name="T63" fmla="*/ 295 h 883"/>
                <a:gd name="T64" fmla="*/ 319 w 883"/>
                <a:gd name="T65" fmla="*/ 340 h 883"/>
                <a:gd name="T66" fmla="*/ 286 w 883"/>
                <a:gd name="T67" fmla="*/ 410 h 883"/>
                <a:gd name="T68" fmla="*/ 290 w 883"/>
                <a:gd name="T69" fmla="*/ 488 h 883"/>
                <a:gd name="T70" fmla="*/ 329 w 883"/>
                <a:gd name="T71" fmla="*/ 553 h 883"/>
                <a:gd name="T72" fmla="*/ 394 w 883"/>
                <a:gd name="T73" fmla="*/ 593 h 883"/>
                <a:gd name="T74" fmla="*/ 494 w 883"/>
                <a:gd name="T75" fmla="*/ 36 h 883"/>
                <a:gd name="T76" fmla="*/ 564 w 883"/>
                <a:gd name="T77" fmla="*/ 143 h 883"/>
                <a:gd name="T78" fmla="*/ 690 w 883"/>
                <a:gd name="T79" fmla="*/ 117 h 883"/>
                <a:gd name="T80" fmla="*/ 727 w 883"/>
                <a:gd name="T81" fmla="*/ 297 h 883"/>
                <a:gd name="T82" fmla="*/ 784 w 883"/>
                <a:gd name="T83" fmla="*/ 388 h 883"/>
                <a:gd name="T84" fmla="*/ 746 w 883"/>
                <a:gd name="T85" fmla="*/ 520 h 883"/>
                <a:gd name="T86" fmla="*/ 698 w 883"/>
                <a:gd name="T87" fmla="*/ 623 h 883"/>
                <a:gd name="T88" fmla="*/ 622 w 883"/>
                <a:gd name="T89" fmla="*/ 697 h 883"/>
                <a:gd name="T90" fmla="*/ 521 w 883"/>
                <a:gd name="T91" fmla="*/ 742 h 883"/>
                <a:gd name="T92" fmla="*/ 389 w 883"/>
                <a:gd name="T93" fmla="*/ 777 h 883"/>
                <a:gd name="T94" fmla="*/ 302 w 883"/>
                <a:gd name="T95" fmla="*/ 721 h 883"/>
                <a:gd name="T96" fmla="*/ 117 w 883"/>
                <a:gd name="T97" fmla="*/ 690 h 883"/>
                <a:gd name="T98" fmla="*/ 150 w 883"/>
                <a:gd name="T99" fmla="*/ 561 h 883"/>
                <a:gd name="T100" fmla="*/ 36 w 883"/>
                <a:gd name="T101" fmla="*/ 494 h 883"/>
                <a:gd name="T102" fmla="*/ 139 w 883"/>
                <a:gd name="T103" fmla="*/ 339 h 883"/>
                <a:gd name="T104" fmla="*/ 160 w 883"/>
                <a:gd name="T105" fmla="*/ 236 h 883"/>
                <a:gd name="T106" fmla="*/ 277 w 883"/>
                <a:gd name="T107" fmla="*/ 164 h 883"/>
                <a:gd name="T108" fmla="*/ 389 w 883"/>
                <a:gd name="T109" fmla="*/ 121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3" h="883">
                  <a:moveTo>
                    <a:pt x="441" y="565"/>
                  </a:moveTo>
                  <a:lnTo>
                    <a:pt x="429" y="564"/>
                  </a:lnTo>
                  <a:lnTo>
                    <a:pt x="416" y="562"/>
                  </a:lnTo>
                  <a:lnTo>
                    <a:pt x="404" y="560"/>
                  </a:lnTo>
                  <a:lnTo>
                    <a:pt x="393" y="555"/>
                  </a:lnTo>
                  <a:lnTo>
                    <a:pt x="382" y="550"/>
                  </a:lnTo>
                  <a:lnTo>
                    <a:pt x="373" y="543"/>
                  </a:lnTo>
                  <a:lnTo>
                    <a:pt x="363" y="537"/>
                  </a:lnTo>
                  <a:lnTo>
                    <a:pt x="354" y="528"/>
                  </a:lnTo>
                  <a:lnTo>
                    <a:pt x="346" y="520"/>
                  </a:lnTo>
                  <a:lnTo>
                    <a:pt x="339" y="510"/>
                  </a:lnTo>
                  <a:lnTo>
                    <a:pt x="333" y="500"/>
                  </a:lnTo>
                  <a:lnTo>
                    <a:pt x="327" y="489"/>
                  </a:lnTo>
                  <a:lnTo>
                    <a:pt x="323" y="478"/>
                  </a:lnTo>
                  <a:lnTo>
                    <a:pt x="321" y="466"/>
                  </a:lnTo>
                  <a:lnTo>
                    <a:pt x="319" y="454"/>
                  </a:lnTo>
                  <a:lnTo>
                    <a:pt x="318" y="441"/>
                  </a:lnTo>
                  <a:lnTo>
                    <a:pt x="319" y="429"/>
                  </a:lnTo>
                  <a:lnTo>
                    <a:pt x="321" y="416"/>
                  </a:lnTo>
                  <a:lnTo>
                    <a:pt x="323" y="404"/>
                  </a:lnTo>
                  <a:lnTo>
                    <a:pt x="327" y="393"/>
                  </a:lnTo>
                  <a:lnTo>
                    <a:pt x="333" y="383"/>
                  </a:lnTo>
                  <a:lnTo>
                    <a:pt x="339" y="372"/>
                  </a:lnTo>
                  <a:lnTo>
                    <a:pt x="346" y="363"/>
                  </a:lnTo>
                  <a:lnTo>
                    <a:pt x="354" y="354"/>
                  </a:lnTo>
                  <a:lnTo>
                    <a:pt x="363" y="346"/>
                  </a:lnTo>
                  <a:lnTo>
                    <a:pt x="373" y="339"/>
                  </a:lnTo>
                  <a:lnTo>
                    <a:pt x="382" y="333"/>
                  </a:lnTo>
                  <a:lnTo>
                    <a:pt x="393" y="327"/>
                  </a:lnTo>
                  <a:lnTo>
                    <a:pt x="404" y="323"/>
                  </a:lnTo>
                  <a:lnTo>
                    <a:pt x="416" y="320"/>
                  </a:lnTo>
                  <a:lnTo>
                    <a:pt x="429" y="319"/>
                  </a:lnTo>
                  <a:lnTo>
                    <a:pt x="441" y="318"/>
                  </a:lnTo>
                  <a:lnTo>
                    <a:pt x="454" y="319"/>
                  </a:lnTo>
                  <a:lnTo>
                    <a:pt x="467" y="320"/>
                  </a:lnTo>
                  <a:lnTo>
                    <a:pt x="477" y="323"/>
                  </a:lnTo>
                  <a:lnTo>
                    <a:pt x="489" y="327"/>
                  </a:lnTo>
                  <a:lnTo>
                    <a:pt x="500" y="333"/>
                  </a:lnTo>
                  <a:lnTo>
                    <a:pt x="510" y="339"/>
                  </a:lnTo>
                  <a:lnTo>
                    <a:pt x="520" y="346"/>
                  </a:lnTo>
                  <a:lnTo>
                    <a:pt x="528" y="354"/>
                  </a:lnTo>
                  <a:lnTo>
                    <a:pt x="537" y="363"/>
                  </a:lnTo>
                  <a:lnTo>
                    <a:pt x="543" y="372"/>
                  </a:lnTo>
                  <a:lnTo>
                    <a:pt x="550" y="383"/>
                  </a:lnTo>
                  <a:lnTo>
                    <a:pt x="555" y="393"/>
                  </a:lnTo>
                  <a:lnTo>
                    <a:pt x="560" y="404"/>
                  </a:lnTo>
                  <a:lnTo>
                    <a:pt x="562" y="416"/>
                  </a:lnTo>
                  <a:lnTo>
                    <a:pt x="564" y="429"/>
                  </a:lnTo>
                  <a:lnTo>
                    <a:pt x="565" y="441"/>
                  </a:lnTo>
                  <a:lnTo>
                    <a:pt x="564" y="454"/>
                  </a:lnTo>
                  <a:lnTo>
                    <a:pt x="562" y="466"/>
                  </a:lnTo>
                  <a:lnTo>
                    <a:pt x="560" y="478"/>
                  </a:lnTo>
                  <a:lnTo>
                    <a:pt x="555" y="489"/>
                  </a:lnTo>
                  <a:lnTo>
                    <a:pt x="550" y="500"/>
                  </a:lnTo>
                  <a:lnTo>
                    <a:pt x="543" y="510"/>
                  </a:lnTo>
                  <a:lnTo>
                    <a:pt x="537" y="520"/>
                  </a:lnTo>
                  <a:lnTo>
                    <a:pt x="528" y="528"/>
                  </a:lnTo>
                  <a:lnTo>
                    <a:pt x="520" y="537"/>
                  </a:lnTo>
                  <a:lnTo>
                    <a:pt x="510" y="543"/>
                  </a:lnTo>
                  <a:lnTo>
                    <a:pt x="500" y="550"/>
                  </a:lnTo>
                  <a:lnTo>
                    <a:pt x="489" y="555"/>
                  </a:lnTo>
                  <a:lnTo>
                    <a:pt x="477" y="560"/>
                  </a:lnTo>
                  <a:lnTo>
                    <a:pt x="467" y="562"/>
                  </a:lnTo>
                  <a:lnTo>
                    <a:pt x="454" y="564"/>
                  </a:lnTo>
                  <a:lnTo>
                    <a:pt x="441" y="565"/>
                  </a:lnTo>
                  <a:lnTo>
                    <a:pt x="441" y="565"/>
                  </a:lnTo>
                  <a:close/>
                  <a:moveTo>
                    <a:pt x="529" y="0"/>
                  </a:moveTo>
                  <a:lnTo>
                    <a:pt x="353" y="0"/>
                  </a:lnTo>
                  <a:lnTo>
                    <a:pt x="353" y="94"/>
                  </a:lnTo>
                  <a:lnTo>
                    <a:pt x="328" y="102"/>
                  </a:lnTo>
                  <a:lnTo>
                    <a:pt x="305" y="110"/>
                  </a:lnTo>
                  <a:lnTo>
                    <a:pt x="281" y="121"/>
                  </a:lnTo>
                  <a:lnTo>
                    <a:pt x="259" y="134"/>
                  </a:lnTo>
                  <a:lnTo>
                    <a:pt x="192" y="67"/>
                  </a:lnTo>
                  <a:lnTo>
                    <a:pt x="67" y="191"/>
                  </a:lnTo>
                  <a:lnTo>
                    <a:pt x="135" y="260"/>
                  </a:lnTo>
                  <a:lnTo>
                    <a:pt x="124" y="282"/>
                  </a:lnTo>
                  <a:lnTo>
                    <a:pt x="113" y="305"/>
                  </a:lnTo>
                  <a:lnTo>
                    <a:pt x="106" y="329"/>
                  </a:lnTo>
                  <a:lnTo>
                    <a:pt x="98" y="353"/>
                  </a:lnTo>
                  <a:lnTo>
                    <a:pt x="0" y="353"/>
                  </a:lnTo>
                  <a:lnTo>
                    <a:pt x="0" y="529"/>
                  </a:lnTo>
                  <a:lnTo>
                    <a:pt x="102" y="529"/>
                  </a:lnTo>
                  <a:lnTo>
                    <a:pt x="109" y="553"/>
                  </a:lnTo>
                  <a:lnTo>
                    <a:pt x="118" y="575"/>
                  </a:lnTo>
                  <a:lnTo>
                    <a:pt x="129" y="597"/>
                  </a:lnTo>
                  <a:lnTo>
                    <a:pt x="139" y="618"/>
                  </a:lnTo>
                  <a:lnTo>
                    <a:pt x="67" y="690"/>
                  </a:lnTo>
                  <a:lnTo>
                    <a:pt x="192" y="816"/>
                  </a:lnTo>
                  <a:lnTo>
                    <a:pt x="266" y="741"/>
                  </a:lnTo>
                  <a:lnTo>
                    <a:pt x="286" y="752"/>
                  </a:lnTo>
                  <a:lnTo>
                    <a:pt x="308" y="762"/>
                  </a:lnTo>
                  <a:lnTo>
                    <a:pt x="331" y="770"/>
                  </a:lnTo>
                  <a:lnTo>
                    <a:pt x="353" y="777"/>
                  </a:lnTo>
                  <a:lnTo>
                    <a:pt x="353" y="883"/>
                  </a:lnTo>
                  <a:lnTo>
                    <a:pt x="529" y="883"/>
                  </a:lnTo>
                  <a:lnTo>
                    <a:pt x="529" y="777"/>
                  </a:lnTo>
                  <a:lnTo>
                    <a:pt x="552" y="770"/>
                  </a:lnTo>
                  <a:lnTo>
                    <a:pt x="575" y="762"/>
                  </a:lnTo>
                  <a:lnTo>
                    <a:pt x="596" y="752"/>
                  </a:lnTo>
                  <a:lnTo>
                    <a:pt x="617" y="741"/>
                  </a:lnTo>
                  <a:lnTo>
                    <a:pt x="690" y="816"/>
                  </a:lnTo>
                  <a:lnTo>
                    <a:pt x="816" y="690"/>
                  </a:lnTo>
                  <a:lnTo>
                    <a:pt x="743" y="618"/>
                  </a:lnTo>
                  <a:lnTo>
                    <a:pt x="754" y="597"/>
                  </a:lnTo>
                  <a:lnTo>
                    <a:pt x="765" y="575"/>
                  </a:lnTo>
                  <a:lnTo>
                    <a:pt x="773" y="553"/>
                  </a:lnTo>
                  <a:lnTo>
                    <a:pt x="781" y="529"/>
                  </a:lnTo>
                  <a:lnTo>
                    <a:pt x="883" y="529"/>
                  </a:lnTo>
                  <a:lnTo>
                    <a:pt x="883" y="353"/>
                  </a:lnTo>
                  <a:lnTo>
                    <a:pt x="784" y="353"/>
                  </a:lnTo>
                  <a:lnTo>
                    <a:pt x="777" y="329"/>
                  </a:lnTo>
                  <a:lnTo>
                    <a:pt x="769" y="305"/>
                  </a:lnTo>
                  <a:lnTo>
                    <a:pt x="758" y="282"/>
                  </a:lnTo>
                  <a:lnTo>
                    <a:pt x="748" y="260"/>
                  </a:lnTo>
                  <a:lnTo>
                    <a:pt x="816" y="191"/>
                  </a:lnTo>
                  <a:lnTo>
                    <a:pt x="690" y="67"/>
                  </a:lnTo>
                  <a:lnTo>
                    <a:pt x="623" y="134"/>
                  </a:lnTo>
                  <a:lnTo>
                    <a:pt x="602" y="121"/>
                  </a:lnTo>
                  <a:lnTo>
                    <a:pt x="578" y="110"/>
                  </a:lnTo>
                  <a:lnTo>
                    <a:pt x="554" y="102"/>
                  </a:lnTo>
                  <a:lnTo>
                    <a:pt x="529" y="94"/>
                  </a:lnTo>
                  <a:lnTo>
                    <a:pt x="529" y="0"/>
                  </a:lnTo>
                  <a:close/>
                  <a:moveTo>
                    <a:pt x="441" y="600"/>
                  </a:moveTo>
                  <a:lnTo>
                    <a:pt x="457" y="600"/>
                  </a:lnTo>
                  <a:lnTo>
                    <a:pt x="473" y="596"/>
                  </a:lnTo>
                  <a:lnTo>
                    <a:pt x="488" y="593"/>
                  </a:lnTo>
                  <a:lnTo>
                    <a:pt x="503" y="588"/>
                  </a:lnTo>
                  <a:lnTo>
                    <a:pt x="516" y="581"/>
                  </a:lnTo>
                  <a:lnTo>
                    <a:pt x="530" y="573"/>
                  </a:lnTo>
                  <a:lnTo>
                    <a:pt x="542" y="564"/>
                  </a:lnTo>
                  <a:lnTo>
                    <a:pt x="553" y="553"/>
                  </a:lnTo>
                  <a:lnTo>
                    <a:pt x="564" y="542"/>
                  </a:lnTo>
                  <a:lnTo>
                    <a:pt x="573" y="529"/>
                  </a:lnTo>
                  <a:lnTo>
                    <a:pt x="581" y="516"/>
                  </a:lnTo>
                  <a:lnTo>
                    <a:pt x="588" y="503"/>
                  </a:lnTo>
                  <a:lnTo>
                    <a:pt x="593" y="488"/>
                  </a:lnTo>
                  <a:lnTo>
                    <a:pt x="596" y="473"/>
                  </a:lnTo>
                  <a:lnTo>
                    <a:pt x="600" y="457"/>
                  </a:lnTo>
                  <a:lnTo>
                    <a:pt x="600" y="441"/>
                  </a:lnTo>
                  <a:lnTo>
                    <a:pt x="600" y="425"/>
                  </a:lnTo>
                  <a:lnTo>
                    <a:pt x="596" y="410"/>
                  </a:lnTo>
                  <a:lnTo>
                    <a:pt x="593" y="394"/>
                  </a:lnTo>
                  <a:lnTo>
                    <a:pt x="588" y="379"/>
                  </a:lnTo>
                  <a:lnTo>
                    <a:pt x="581" y="365"/>
                  </a:lnTo>
                  <a:lnTo>
                    <a:pt x="573" y="352"/>
                  </a:lnTo>
                  <a:lnTo>
                    <a:pt x="564" y="340"/>
                  </a:lnTo>
                  <a:lnTo>
                    <a:pt x="553" y="329"/>
                  </a:lnTo>
                  <a:lnTo>
                    <a:pt x="542" y="319"/>
                  </a:lnTo>
                  <a:lnTo>
                    <a:pt x="530" y="310"/>
                  </a:lnTo>
                  <a:lnTo>
                    <a:pt x="516" y="302"/>
                  </a:lnTo>
                  <a:lnTo>
                    <a:pt x="503" y="295"/>
                  </a:lnTo>
                  <a:lnTo>
                    <a:pt x="488" y="290"/>
                  </a:lnTo>
                  <a:lnTo>
                    <a:pt x="473" y="285"/>
                  </a:lnTo>
                  <a:lnTo>
                    <a:pt x="457" y="283"/>
                  </a:lnTo>
                  <a:lnTo>
                    <a:pt x="441" y="282"/>
                  </a:lnTo>
                  <a:lnTo>
                    <a:pt x="425" y="283"/>
                  </a:lnTo>
                  <a:lnTo>
                    <a:pt x="409" y="285"/>
                  </a:lnTo>
                  <a:lnTo>
                    <a:pt x="394" y="290"/>
                  </a:lnTo>
                  <a:lnTo>
                    <a:pt x="379" y="295"/>
                  </a:lnTo>
                  <a:lnTo>
                    <a:pt x="366" y="302"/>
                  </a:lnTo>
                  <a:lnTo>
                    <a:pt x="352" y="310"/>
                  </a:lnTo>
                  <a:lnTo>
                    <a:pt x="340" y="319"/>
                  </a:lnTo>
                  <a:lnTo>
                    <a:pt x="329" y="329"/>
                  </a:lnTo>
                  <a:lnTo>
                    <a:pt x="319" y="340"/>
                  </a:lnTo>
                  <a:lnTo>
                    <a:pt x="310" y="352"/>
                  </a:lnTo>
                  <a:lnTo>
                    <a:pt x="301" y="365"/>
                  </a:lnTo>
                  <a:lnTo>
                    <a:pt x="295" y="379"/>
                  </a:lnTo>
                  <a:lnTo>
                    <a:pt x="290" y="394"/>
                  </a:lnTo>
                  <a:lnTo>
                    <a:pt x="286" y="410"/>
                  </a:lnTo>
                  <a:lnTo>
                    <a:pt x="283" y="425"/>
                  </a:lnTo>
                  <a:lnTo>
                    <a:pt x="283" y="441"/>
                  </a:lnTo>
                  <a:lnTo>
                    <a:pt x="283" y="457"/>
                  </a:lnTo>
                  <a:lnTo>
                    <a:pt x="286" y="473"/>
                  </a:lnTo>
                  <a:lnTo>
                    <a:pt x="290" y="488"/>
                  </a:lnTo>
                  <a:lnTo>
                    <a:pt x="295" y="503"/>
                  </a:lnTo>
                  <a:lnTo>
                    <a:pt x="301" y="516"/>
                  </a:lnTo>
                  <a:lnTo>
                    <a:pt x="310" y="529"/>
                  </a:lnTo>
                  <a:lnTo>
                    <a:pt x="319" y="542"/>
                  </a:lnTo>
                  <a:lnTo>
                    <a:pt x="329" y="553"/>
                  </a:lnTo>
                  <a:lnTo>
                    <a:pt x="340" y="564"/>
                  </a:lnTo>
                  <a:lnTo>
                    <a:pt x="352" y="573"/>
                  </a:lnTo>
                  <a:lnTo>
                    <a:pt x="366" y="581"/>
                  </a:lnTo>
                  <a:lnTo>
                    <a:pt x="379" y="588"/>
                  </a:lnTo>
                  <a:lnTo>
                    <a:pt x="394" y="593"/>
                  </a:lnTo>
                  <a:lnTo>
                    <a:pt x="409" y="596"/>
                  </a:lnTo>
                  <a:lnTo>
                    <a:pt x="425" y="600"/>
                  </a:lnTo>
                  <a:lnTo>
                    <a:pt x="441" y="600"/>
                  </a:lnTo>
                  <a:lnTo>
                    <a:pt x="441" y="600"/>
                  </a:lnTo>
                  <a:close/>
                  <a:moveTo>
                    <a:pt x="494" y="36"/>
                  </a:moveTo>
                  <a:lnTo>
                    <a:pt x="494" y="94"/>
                  </a:lnTo>
                  <a:lnTo>
                    <a:pt x="494" y="121"/>
                  </a:lnTo>
                  <a:lnTo>
                    <a:pt x="521" y="129"/>
                  </a:lnTo>
                  <a:lnTo>
                    <a:pt x="542" y="135"/>
                  </a:lnTo>
                  <a:lnTo>
                    <a:pt x="564" y="143"/>
                  </a:lnTo>
                  <a:lnTo>
                    <a:pt x="585" y="152"/>
                  </a:lnTo>
                  <a:lnTo>
                    <a:pt x="606" y="164"/>
                  </a:lnTo>
                  <a:lnTo>
                    <a:pt x="629" y="178"/>
                  </a:lnTo>
                  <a:lnTo>
                    <a:pt x="649" y="159"/>
                  </a:lnTo>
                  <a:lnTo>
                    <a:pt x="690" y="117"/>
                  </a:lnTo>
                  <a:lnTo>
                    <a:pt x="766" y="191"/>
                  </a:lnTo>
                  <a:lnTo>
                    <a:pt x="723" y="236"/>
                  </a:lnTo>
                  <a:lnTo>
                    <a:pt x="703" y="254"/>
                  </a:lnTo>
                  <a:lnTo>
                    <a:pt x="716" y="278"/>
                  </a:lnTo>
                  <a:lnTo>
                    <a:pt x="727" y="297"/>
                  </a:lnTo>
                  <a:lnTo>
                    <a:pt x="736" y="318"/>
                  </a:lnTo>
                  <a:lnTo>
                    <a:pt x="743" y="339"/>
                  </a:lnTo>
                  <a:lnTo>
                    <a:pt x="750" y="361"/>
                  </a:lnTo>
                  <a:lnTo>
                    <a:pt x="756" y="388"/>
                  </a:lnTo>
                  <a:lnTo>
                    <a:pt x="784" y="388"/>
                  </a:lnTo>
                  <a:lnTo>
                    <a:pt x="847" y="388"/>
                  </a:lnTo>
                  <a:lnTo>
                    <a:pt x="847" y="494"/>
                  </a:lnTo>
                  <a:lnTo>
                    <a:pt x="781" y="494"/>
                  </a:lnTo>
                  <a:lnTo>
                    <a:pt x="754" y="494"/>
                  </a:lnTo>
                  <a:lnTo>
                    <a:pt x="746" y="520"/>
                  </a:lnTo>
                  <a:lnTo>
                    <a:pt x="740" y="540"/>
                  </a:lnTo>
                  <a:lnTo>
                    <a:pt x="732" y="561"/>
                  </a:lnTo>
                  <a:lnTo>
                    <a:pt x="724" y="580"/>
                  </a:lnTo>
                  <a:lnTo>
                    <a:pt x="713" y="600"/>
                  </a:lnTo>
                  <a:lnTo>
                    <a:pt x="698" y="623"/>
                  </a:lnTo>
                  <a:lnTo>
                    <a:pt x="717" y="643"/>
                  </a:lnTo>
                  <a:lnTo>
                    <a:pt x="766" y="690"/>
                  </a:lnTo>
                  <a:lnTo>
                    <a:pt x="690" y="766"/>
                  </a:lnTo>
                  <a:lnTo>
                    <a:pt x="642" y="716"/>
                  </a:lnTo>
                  <a:lnTo>
                    <a:pt x="622" y="697"/>
                  </a:lnTo>
                  <a:lnTo>
                    <a:pt x="600" y="711"/>
                  </a:lnTo>
                  <a:lnTo>
                    <a:pt x="580" y="721"/>
                  </a:lnTo>
                  <a:lnTo>
                    <a:pt x="561" y="729"/>
                  </a:lnTo>
                  <a:lnTo>
                    <a:pt x="541" y="737"/>
                  </a:lnTo>
                  <a:lnTo>
                    <a:pt x="521" y="742"/>
                  </a:lnTo>
                  <a:lnTo>
                    <a:pt x="494" y="749"/>
                  </a:lnTo>
                  <a:lnTo>
                    <a:pt x="494" y="777"/>
                  </a:lnTo>
                  <a:lnTo>
                    <a:pt x="494" y="847"/>
                  </a:lnTo>
                  <a:lnTo>
                    <a:pt x="389" y="847"/>
                  </a:lnTo>
                  <a:lnTo>
                    <a:pt x="389" y="777"/>
                  </a:lnTo>
                  <a:lnTo>
                    <a:pt x="389" y="749"/>
                  </a:lnTo>
                  <a:lnTo>
                    <a:pt x="362" y="742"/>
                  </a:lnTo>
                  <a:lnTo>
                    <a:pt x="341" y="737"/>
                  </a:lnTo>
                  <a:lnTo>
                    <a:pt x="322" y="729"/>
                  </a:lnTo>
                  <a:lnTo>
                    <a:pt x="302" y="721"/>
                  </a:lnTo>
                  <a:lnTo>
                    <a:pt x="283" y="711"/>
                  </a:lnTo>
                  <a:lnTo>
                    <a:pt x="260" y="697"/>
                  </a:lnTo>
                  <a:lnTo>
                    <a:pt x="241" y="716"/>
                  </a:lnTo>
                  <a:lnTo>
                    <a:pt x="192" y="766"/>
                  </a:lnTo>
                  <a:lnTo>
                    <a:pt x="117" y="690"/>
                  </a:lnTo>
                  <a:lnTo>
                    <a:pt x="165" y="643"/>
                  </a:lnTo>
                  <a:lnTo>
                    <a:pt x="185" y="623"/>
                  </a:lnTo>
                  <a:lnTo>
                    <a:pt x="170" y="600"/>
                  </a:lnTo>
                  <a:lnTo>
                    <a:pt x="159" y="580"/>
                  </a:lnTo>
                  <a:lnTo>
                    <a:pt x="150" y="561"/>
                  </a:lnTo>
                  <a:lnTo>
                    <a:pt x="143" y="540"/>
                  </a:lnTo>
                  <a:lnTo>
                    <a:pt x="135" y="520"/>
                  </a:lnTo>
                  <a:lnTo>
                    <a:pt x="129" y="494"/>
                  </a:lnTo>
                  <a:lnTo>
                    <a:pt x="102" y="494"/>
                  </a:lnTo>
                  <a:lnTo>
                    <a:pt x="36" y="494"/>
                  </a:lnTo>
                  <a:lnTo>
                    <a:pt x="36" y="388"/>
                  </a:lnTo>
                  <a:lnTo>
                    <a:pt x="98" y="388"/>
                  </a:lnTo>
                  <a:lnTo>
                    <a:pt x="126" y="388"/>
                  </a:lnTo>
                  <a:lnTo>
                    <a:pt x="133" y="361"/>
                  </a:lnTo>
                  <a:lnTo>
                    <a:pt x="139" y="339"/>
                  </a:lnTo>
                  <a:lnTo>
                    <a:pt x="147" y="318"/>
                  </a:lnTo>
                  <a:lnTo>
                    <a:pt x="156" y="297"/>
                  </a:lnTo>
                  <a:lnTo>
                    <a:pt x="166" y="278"/>
                  </a:lnTo>
                  <a:lnTo>
                    <a:pt x="179" y="254"/>
                  </a:lnTo>
                  <a:lnTo>
                    <a:pt x="160" y="236"/>
                  </a:lnTo>
                  <a:lnTo>
                    <a:pt x="117" y="191"/>
                  </a:lnTo>
                  <a:lnTo>
                    <a:pt x="192" y="117"/>
                  </a:lnTo>
                  <a:lnTo>
                    <a:pt x="233" y="159"/>
                  </a:lnTo>
                  <a:lnTo>
                    <a:pt x="254" y="178"/>
                  </a:lnTo>
                  <a:lnTo>
                    <a:pt x="277" y="164"/>
                  </a:lnTo>
                  <a:lnTo>
                    <a:pt x="297" y="152"/>
                  </a:lnTo>
                  <a:lnTo>
                    <a:pt x="318" y="143"/>
                  </a:lnTo>
                  <a:lnTo>
                    <a:pt x="339" y="135"/>
                  </a:lnTo>
                  <a:lnTo>
                    <a:pt x="362" y="129"/>
                  </a:lnTo>
                  <a:lnTo>
                    <a:pt x="389" y="121"/>
                  </a:lnTo>
                  <a:lnTo>
                    <a:pt x="389" y="94"/>
                  </a:lnTo>
                  <a:lnTo>
                    <a:pt x="389" y="36"/>
                  </a:lnTo>
                  <a:lnTo>
                    <a:pt x="494" y="3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Freeform 79"/>
            <p:cNvSpPr>
              <a:spLocks noEditPoints="1"/>
            </p:cNvSpPr>
            <p:nvPr/>
          </p:nvSpPr>
          <p:spPr bwMode="auto">
            <a:xfrm>
              <a:off x="5195939" y="4554798"/>
              <a:ext cx="411063" cy="597910"/>
            </a:xfrm>
            <a:custGeom>
              <a:avLst/>
              <a:gdLst>
                <a:gd name="T0" fmla="*/ 520 w 705"/>
                <a:gd name="T1" fmla="*/ 626 h 1023"/>
                <a:gd name="T2" fmla="*/ 480 w 705"/>
                <a:gd name="T3" fmla="*/ 682 h 1023"/>
                <a:gd name="T4" fmla="*/ 459 w 705"/>
                <a:gd name="T5" fmla="*/ 760 h 1023"/>
                <a:gd name="T6" fmla="*/ 392 w 705"/>
                <a:gd name="T7" fmla="*/ 411 h 1023"/>
                <a:gd name="T8" fmla="*/ 424 w 705"/>
                <a:gd name="T9" fmla="*/ 352 h 1023"/>
                <a:gd name="T10" fmla="*/ 412 w 705"/>
                <a:gd name="T11" fmla="*/ 313 h 1023"/>
                <a:gd name="T12" fmla="*/ 380 w 705"/>
                <a:gd name="T13" fmla="*/ 287 h 1023"/>
                <a:gd name="T14" fmla="*/ 339 w 705"/>
                <a:gd name="T15" fmla="*/ 283 h 1023"/>
                <a:gd name="T16" fmla="*/ 304 w 705"/>
                <a:gd name="T17" fmla="*/ 302 h 1023"/>
                <a:gd name="T18" fmla="*/ 284 w 705"/>
                <a:gd name="T19" fmla="*/ 338 h 1023"/>
                <a:gd name="T20" fmla="*/ 297 w 705"/>
                <a:gd name="T21" fmla="*/ 396 h 1023"/>
                <a:gd name="T22" fmla="*/ 247 w 705"/>
                <a:gd name="T23" fmla="*/ 847 h 1023"/>
                <a:gd name="T24" fmla="*/ 237 w 705"/>
                <a:gd name="T25" fmla="*/ 709 h 1023"/>
                <a:gd name="T26" fmla="*/ 202 w 705"/>
                <a:gd name="T27" fmla="*/ 646 h 1023"/>
                <a:gd name="T28" fmla="*/ 165 w 705"/>
                <a:gd name="T29" fmla="*/ 608 h 1023"/>
                <a:gd name="T30" fmla="*/ 120 w 705"/>
                <a:gd name="T31" fmla="*/ 568 h 1023"/>
                <a:gd name="T32" fmla="*/ 61 w 705"/>
                <a:gd name="T33" fmla="*/ 477 h 1023"/>
                <a:gd name="T34" fmla="*/ 36 w 705"/>
                <a:gd name="T35" fmla="*/ 371 h 1023"/>
                <a:gd name="T36" fmla="*/ 46 w 705"/>
                <a:gd name="T37" fmla="*/ 273 h 1023"/>
                <a:gd name="T38" fmla="*/ 82 w 705"/>
                <a:gd name="T39" fmla="*/ 188 h 1023"/>
                <a:gd name="T40" fmla="*/ 139 w 705"/>
                <a:gd name="T41" fmla="*/ 118 h 1023"/>
                <a:gd name="T42" fmla="*/ 216 w 705"/>
                <a:gd name="T43" fmla="*/ 67 h 1023"/>
                <a:gd name="T44" fmla="*/ 305 w 705"/>
                <a:gd name="T45" fmla="*/ 39 h 1023"/>
                <a:gd name="T46" fmla="*/ 402 w 705"/>
                <a:gd name="T47" fmla="*/ 39 h 1023"/>
                <a:gd name="T48" fmla="*/ 491 w 705"/>
                <a:gd name="T49" fmla="*/ 67 h 1023"/>
                <a:gd name="T50" fmla="*/ 566 w 705"/>
                <a:gd name="T51" fmla="*/ 118 h 1023"/>
                <a:gd name="T52" fmla="*/ 624 w 705"/>
                <a:gd name="T53" fmla="*/ 188 h 1023"/>
                <a:gd name="T54" fmla="*/ 660 w 705"/>
                <a:gd name="T55" fmla="*/ 273 h 1023"/>
                <a:gd name="T56" fmla="*/ 670 w 705"/>
                <a:gd name="T57" fmla="*/ 371 h 1023"/>
                <a:gd name="T58" fmla="*/ 645 w 705"/>
                <a:gd name="T59" fmla="*/ 477 h 1023"/>
                <a:gd name="T60" fmla="*/ 586 w 705"/>
                <a:gd name="T61" fmla="*/ 569 h 1023"/>
                <a:gd name="T62" fmla="*/ 339 w 705"/>
                <a:gd name="T63" fmla="*/ 385 h 1023"/>
                <a:gd name="T64" fmla="*/ 318 w 705"/>
                <a:gd name="T65" fmla="*/ 352 h 1023"/>
                <a:gd name="T66" fmla="*/ 339 w 705"/>
                <a:gd name="T67" fmla="*/ 320 h 1023"/>
                <a:gd name="T68" fmla="*/ 378 w 705"/>
                <a:gd name="T69" fmla="*/ 327 h 1023"/>
                <a:gd name="T70" fmla="*/ 386 w 705"/>
                <a:gd name="T71" fmla="*/ 366 h 1023"/>
                <a:gd name="T72" fmla="*/ 353 w 705"/>
                <a:gd name="T73" fmla="*/ 388 h 1023"/>
                <a:gd name="T74" fmla="*/ 705 w 705"/>
                <a:gd name="T75" fmla="*/ 352 h 1023"/>
                <a:gd name="T76" fmla="*/ 690 w 705"/>
                <a:gd name="T77" fmla="*/ 247 h 1023"/>
                <a:gd name="T78" fmla="*/ 646 w 705"/>
                <a:gd name="T79" fmla="*/ 155 h 1023"/>
                <a:gd name="T80" fmla="*/ 578 w 705"/>
                <a:gd name="T81" fmla="*/ 80 h 1023"/>
                <a:gd name="T82" fmla="*/ 491 w 705"/>
                <a:gd name="T83" fmla="*/ 28 h 1023"/>
                <a:gd name="T84" fmla="*/ 389 w 705"/>
                <a:gd name="T85" fmla="*/ 2 h 1023"/>
                <a:gd name="T86" fmla="*/ 282 w 705"/>
                <a:gd name="T87" fmla="*/ 7 h 1023"/>
                <a:gd name="T88" fmla="*/ 185 w 705"/>
                <a:gd name="T89" fmla="*/ 42 h 1023"/>
                <a:gd name="T90" fmla="*/ 104 w 705"/>
                <a:gd name="T91" fmla="*/ 104 h 1023"/>
                <a:gd name="T92" fmla="*/ 43 w 705"/>
                <a:gd name="T93" fmla="*/ 185 h 1023"/>
                <a:gd name="T94" fmla="*/ 8 w 705"/>
                <a:gd name="T95" fmla="*/ 282 h 1023"/>
                <a:gd name="T96" fmla="*/ 3 w 705"/>
                <a:gd name="T97" fmla="*/ 395 h 1023"/>
                <a:gd name="T98" fmla="*/ 39 w 705"/>
                <a:gd name="T99" fmla="*/ 512 h 1023"/>
                <a:gd name="T100" fmla="*/ 110 w 705"/>
                <a:gd name="T101" fmla="*/ 607 h 1023"/>
                <a:gd name="T102" fmla="*/ 145 w 705"/>
                <a:gd name="T103" fmla="*/ 637 h 1023"/>
                <a:gd name="T104" fmla="*/ 193 w 705"/>
                <a:gd name="T105" fmla="*/ 699 h 1023"/>
                <a:gd name="T106" fmla="*/ 212 w 705"/>
                <a:gd name="T107" fmla="*/ 763 h 1023"/>
                <a:gd name="T108" fmla="*/ 496 w 705"/>
                <a:gd name="T109" fmla="*/ 750 h 1023"/>
                <a:gd name="T110" fmla="*/ 519 w 705"/>
                <a:gd name="T111" fmla="*/ 686 h 1023"/>
                <a:gd name="T112" fmla="*/ 580 w 705"/>
                <a:gd name="T113" fmla="*/ 622 h 1023"/>
                <a:gd name="T114" fmla="*/ 658 w 705"/>
                <a:gd name="T115" fmla="*/ 530 h 1023"/>
                <a:gd name="T116" fmla="*/ 700 w 705"/>
                <a:gd name="T117" fmla="*/ 416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5" h="1023">
                  <a:moveTo>
                    <a:pt x="543" y="606"/>
                  </a:moveTo>
                  <a:lnTo>
                    <a:pt x="542" y="607"/>
                  </a:lnTo>
                  <a:lnTo>
                    <a:pt x="542" y="607"/>
                  </a:lnTo>
                  <a:lnTo>
                    <a:pt x="535" y="612"/>
                  </a:lnTo>
                  <a:lnTo>
                    <a:pt x="527" y="619"/>
                  </a:lnTo>
                  <a:lnTo>
                    <a:pt x="520" y="626"/>
                  </a:lnTo>
                  <a:lnTo>
                    <a:pt x="513" y="634"/>
                  </a:lnTo>
                  <a:lnTo>
                    <a:pt x="506" y="642"/>
                  </a:lnTo>
                  <a:lnTo>
                    <a:pt x="499" y="651"/>
                  </a:lnTo>
                  <a:lnTo>
                    <a:pt x="492" y="661"/>
                  </a:lnTo>
                  <a:lnTo>
                    <a:pt x="486" y="672"/>
                  </a:lnTo>
                  <a:lnTo>
                    <a:pt x="480" y="682"/>
                  </a:lnTo>
                  <a:lnTo>
                    <a:pt x="475" y="694"/>
                  </a:lnTo>
                  <a:lnTo>
                    <a:pt x="470" y="706"/>
                  </a:lnTo>
                  <a:lnTo>
                    <a:pt x="467" y="719"/>
                  </a:lnTo>
                  <a:lnTo>
                    <a:pt x="464" y="732"/>
                  </a:lnTo>
                  <a:lnTo>
                    <a:pt x="461" y="746"/>
                  </a:lnTo>
                  <a:lnTo>
                    <a:pt x="459" y="760"/>
                  </a:lnTo>
                  <a:lnTo>
                    <a:pt x="459" y="775"/>
                  </a:lnTo>
                  <a:lnTo>
                    <a:pt x="459" y="847"/>
                  </a:lnTo>
                  <a:lnTo>
                    <a:pt x="371" y="847"/>
                  </a:lnTo>
                  <a:lnTo>
                    <a:pt x="371" y="420"/>
                  </a:lnTo>
                  <a:lnTo>
                    <a:pt x="381" y="417"/>
                  </a:lnTo>
                  <a:lnTo>
                    <a:pt x="392" y="411"/>
                  </a:lnTo>
                  <a:lnTo>
                    <a:pt x="401" y="404"/>
                  </a:lnTo>
                  <a:lnTo>
                    <a:pt x="408" y="396"/>
                  </a:lnTo>
                  <a:lnTo>
                    <a:pt x="415" y="386"/>
                  </a:lnTo>
                  <a:lnTo>
                    <a:pt x="419" y="376"/>
                  </a:lnTo>
                  <a:lnTo>
                    <a:pt x="422" y="365"/>
                  </a:lnTo>
                  <a:lnTo>
                    <a:pt x="424" y="352"/>
                  </a:lnTo>
                  <a:lnTo>
                    <a:pt x="424" y="345"/>
                  </a:lnTo>
                  <a:lnTo>
                    <a:pt x="422" y="338"/>
                  </a:lnTo>
                  <a:lnTo>
                    <a:pt x="420" y="331"/>
                  </a:lnTo>
                  <a:lnTo>
                    <a:pt x="418" y="325"/>
                  </a:lnTo>
                  <a:lnTo>
                    <a:pt x="415" y="318"/>
                  </a:lnTo>
                  <a:lnTo>
                    <a:pt x="412" y="313"/>
                  </a:lnTo>
                  <a:lnTo>
                    <a:pt x="407" y="308"/>
                  </a:lnTo>
                  <a:lnTo>
                    <a:pt x="403" y="302"/>
                  </a:lnTo>
                  <a:lnTo>
                    <a:pt x="398" y="298"/>
                  </a:lnTo>
                  <a:lnTo>
                    <a:pt x="392" y="294"/>
                  </a:lnTo>
                  <a:lnTo>
                    <a:pt x="387" y="290"/>
                  </a:lnTo>
                  <a:lnTo>
                    <a:pt x="380" y="287"/>
                  </a:lnTo>
                  <a:lnTo>
                    <a:pt x="374" y="285"/>
                  </a:lnTo>
                  <a:lnTo>
                    <a:pt x="367" y="283"/>
                  </a:lnTo>
                  <a:lnTo>
                    <a:pt x="361" y="282"/>
                  </a:lnTo>
                  <a:lnTo>
                    <a:pt x="353" y="282"/>
                  </a:lnTo>
                  <a:lnTo>
                    <a:pt x="346" y="282"/>
                  </a:lnTo>
                  <a:lnTo>
                    <a:pt x="339" y="283"/>
                  </a:lnTo>
                  <a:lnTo>
                    <a:pt x="332" y="285"/>
                  </a:lnTo>
                  <a:lnTo>
                    <a:pt x="325" y="287"/>
                  </a:lnTo>
                  <a:lnTo>
                    <a:pt x="320" y="290"/>
                  </a:lnTo>
                  <a:lnTo>
                    <a:pt x="313" y="294"/>
                  </a:lnTo>
                  <a:lnTo>
                    <a:pt x="308" y="298"/>
                  </a:lnTo>
                  <a:lnTo>
                    <a:pt x="304" y="302"/>
                  </a:lnTo>
                  <a:lnTo>
                    <a:pt x="298" y="308"/>
                  </a:lnTo>
                  <a:lnTo>
                    <a:pt x="295" y="313"/>
                  </a:lnTo>
                  <a:lnTo>
                    <a:pt x="291" y="318"/>
                  </a:lnTo>
                  <a:lnTo>
                    <a:pt x="289" y="325"/>
                  </a:lnTo>
                  <a:lnTo>
                    <a:pt x="285" y="331"/>
                  </a:lnTo>
                  <a:lnTo>
                    <a:pt x="284" y="338"/>
                  </a:lnTo>
                  <a:lnTo>
                    <a:pt x="283" y="345"/>
                  </a:lnTo>
                  <a:lnTo>
                    <a:pt x="283" y="352"/>
                  </a:lnTo>
                  <a:lnTo>
                    <a:pt x="283" y="365"/>
                  </a:lnTo>
                  <a:lnTo>
                    <a:pt x="286" y="376"/>
                  </a:lnTo>
                  <a:lnTo>
                    <a:pt x="292" y="386"/>
                  </a:lnTo>
                  <a:lnTo>
                    <a:pt x="297" y="396"/>
                  </a:lnTo>
                  <a:lnTo>
                    <a:pt x="306" y="404"/>
                  </a:lnTo>
                  <a:lnTo>
                    <a:pt x="314" y="411"/>
                  </a:lnTo>
                  <a:lnTo>
                    <a:pt x="324" y="417"/>
                  </a:lnTo>
                  <a:lnTo>
                    <a:pt x="335" y="420"/>
                  </a:lnTo>
                  <a:lnTo>
                    <a:pt x="336" y="847"/>
                  </a:lnTo>
                  <a:lnTo>
                    <a:pt x="247" y="847"/>
                  </a:lnTo>
                  <a:lnTo>
                    <a:pt x="247" y="775"/>
                  </a:lnTo>
                  <a:lnTo>
                    <a:pt x="246" y="761"/>
                  </a:lnTo>
                  <a:lnTo>
                    <a:pt x="245" y="748"/>
                  </a:lnTo>
                  <a:lnTo>
                    <a:pt x="243" y="734"/>
                  </a:lnTo>
                  <a:lnTo>
                    <a:pt x="240" y="721"/>
                  </a:lnTo>
                  <a:lnTo>
                    <a:pt x="237" y="709"/>
                  </a:lnTo>
                  <a:lnTo>
                    <a:pt x="231" y="698"/>
                  </a:lnTo>
                  <a:lnTo>
                    <a:pt x="227" y="686"/>
                  </a:lnTo>
                  <a:lnTo>
                    <a:pt x="222" y="675"/>
                  </a:lnTo>
                  <a:lnTo>
                    <a:pt x="215" y="665"/>
                  </a:lnTo>
                  <a:lnTo>
                    <a:pt x="209" y="655"/>
                  </a:lnTo>
                  <a:lnTo>
                    <a:pt x="202" y="646"/>
                  </a:lnTo>
                  <a:lnTo>
                    <a:pt x="196" y="637"/>
                  </a:lnTo>
                  <a:lnTo>
                    <a:pt x="182" y="622"/>
                  </a:lnTo>
                  <a:lnTo>
                    <a:pt x="168" y="610"/>
                  </a:lnTo>
                  <a:lnTo>
                    <a:pt x="168" y="609"/>
                  </a:lnTo>
                  <a:lnTo>
                    <a:pt x="166" y="609"/>
                  </a:lnTo>
                  <a:lnTo>
                    <a:pt x="165" y="608"/>
                  </a:lnTo>
                  <a:lnTo>
                    <a:pt x="163" y="607"/>
                  </a:lnTo>
                  <a:lnTo>
                    <a:pt x="162" y="606"/>
                  </a:lnTo>
                  <a:lnTo>
                    <a:pt x="161" y="605"/>
                  </a:lnTo>
                  <a:lnTo>
                    <a:pt x="147" y="593"/>
                  </a:lnTo>
                  <a:lnTo>
                    <a:pt x="133" y="581"/>
                  </a:lnTo>
                  <a:lnTo>
                    <a:pt x="120" y="568"/>
                  </a:lnTo>
                  <a:lnTo>
                    <a:pt x="108" y="554"/>
                  </a:lnTo>
                  <a:lnTo>
                    <a:pt x="97" y="540"/>
                  </a:lnTo>
                  <a:lnTo>
                    <a:pt x="87" y="525"/>
                  </a:lnTo>
                  <a:lnTo>
                    <a:pt x="77" y="510"/>
                  </a:lnTo>
                  <a:lnTo>
                    <a:pt x="68" y="493"/>
                  </a:lnTo>
                  <a:lnTo>
                    <a:pt x="61" y="477"/>
                  </a:lnTo>
                  <a:lnTo>
                    <a:pt x="54" y="460"/>
                  </a:lnTo>
                  <a:lnTo>
                    <a:pt x="49" y="443"/>
                  </a:lnTo>
                  <a:lnTo>
                    <a:pt x="44" y="425"/>
                  </a:lnTo>
                  <a:lnTo>
                    <a:pt x="40" y="408"/>
                  </a:lnTo>
                  <a:lnTo>
                    <a:pt x="38" y="390"/>
                  </a:lnTo>
                  <a:lnTo>
                    <a:pt x="36" y="371"/>
                  </a:lnTo>
                  <a:lnTo>
                    <a:pt x="36" y="352"/>
                  </a:lnTo>
                  <a:lnTo>
                    <a:pt x="36" y="336"/>
                  </a:lnTo>
                  <a:lnTo>
                    <a:pt x="37" y="320"/>
                  </a:lnTo>
                  <a:lnTo>
                    <a:pt x="39" y="304"/>
                  </a:lnTo>
                  <a:lnTo>
                    <a:pt x="42" y="288"/>
                  </a:lnTo>
                  <a:lnTo>
                    <a:pt x="46" y="273"/>
                  </a:lnTo>
                  <a:lnTo>
                    <a:pt x="50" y="258"/>
                  </a:lnTo>
                  <a:lnTo>
                    <a:pt x="55" y="243"/>
                  </a:lnTo>
                  <a:lnTo>
                    <a:pt x="61" y="229"/>
                  </a:lnTo>
                  <a:lnTo>
                    <a:pt x="67" y="215"/>
                  </a:lnTo>
                  <a:lnTo>
                    <a:pt x="74" y="201"/>
                  </a:lnTo>
                  <a:lnTo>
                    <a:pt x="82" y="188"/>
                  </a:lnTo>
                  <a:lnTo>
                    <a:pt x="90" y="175"/>
                  </a:lnTo>
                  <a:lnTo>
                    <a:pt x="98" y="163"/>
                  </a:lnTo>
                  <a:lnTo>
                    <a:pt x="108" y="151"/>
                  </a:lnTo>
                  <a:lnTo>
                    <a:pt x="118" y="139"/>
                  </a:lnTo>
                  <a:lnTo>
                    <a:pt x="129" y="128"/>
                  </a:lnTo>
                  <a:lnTo>
                    <a:pt x="139" y="118"/>
                  </a:lnTo>
                  <a:lnTo>
                    <a:pt x="151" y="108"/>
                  </a:lnTo>
                  <a:lnTo>
                    <a:pt x="163" y="98"/>
                  </a:lnTo>
                  <a:lnTo>
                    <a:pt x="176" y="89"/>
                  </a:lnTo>
                  <a:lnTo>
                    <a:pt x="189" y="81"/>
                  </a:lnTo>
                  <a:lnTo>
                    <a:pt x="202" y="73"/>
                  </a:lnTo>
                  <a:lnTo>
                    <a:pt x="216" y="67"/>
                  </a:lnTo>
                  <a:lnTo>
                    <a:pt x="230" y="60"/>
                  </a:lnTo>
                  <a:lnTo>
                    <a:pt x="244" y="54"/>
                  </a:lnTo>
                  <a:lnTo>
                    <a:pt x="259" y="50"/>
                  </a:lnTo>
                  <a:lnTo>
                    <a:pt x="273" y="45"/>
                  </a:lnTo>
                  <a:lnTo>
                    <a:pt x="290" y="42"/>
                  </a:lnTo>
                  <a:lnTo>
                    <a:pt x="305" y="39"/>
                  </a:lnTo>
                  <a:lnTo>
                    <a:pt x="321" y="37"/>
                  </a:lnTo>
                  <a:lnTo>
                    <a:pt x="337" y="35"/>
                  </a:lnTo>
                  <a:lnTo>
                    <a:pt x="353" y="35"/>
                  </a:lnTo>
                  <a:lnTo>
                    <a:pt x="370" y="35"/>
                  </a:lnTo>
                  <a:lnTo>
                    <a:pt x="386" y="37"/>
                  </a:lnTo>
                  <a:lnTo>
                    <a:pt x="402" y="39"/>
                  </a:lnTo>
                  <a:lnTo>
                    <a:pt x="417" y="42"/>
                  </a:lnTo>
                  <a:lnTo>
                    <a:pt x="432" y="45"/>
                  </a:lnTo>
                  <a:lnTo>
                    <a:pt x="447" y="50"/>
                  </a:lnTo>
                  <a:lnTo>
                    <a:pt x="462" y="54"/>
                  </a:lnTo>
                  <a:lnTo>
                    <a:pt x="476" y="60"/>
                  </a:lnTo>
                  <a:lnTo>
                    <a:pt x="491" y="67"/>
                  </a:lnTo>
                  <a:lnTo>
                    <a:pt x="505" y="73"/>
                  </a:lnTo>
                  <a:lnTo>
                    <a:pt x="518" y="81"/>
                  </a:lnTo>
                  <a:lnTo>
                    <a:pt x="530" y="89"/>
                  </a:lnTo>
                  <a:lnTo>
                    <a:pt x="543" y="98"/>
                  </a:lnTo>
                  <a:lnTo>
                    <a:pt x="555" y="108"/>
                  </a:lnTo>
                  <a:lnTo>
                    <a:pt x="566" y="118"/>
                  </a:lnTo>
                  <a:lnTo>
                    <a:pt x="578" y="128"/>
                  </a:lnTo>
                  <a:lnTo>
                    <a:pt x="588" y="139"/>
                  </a:lnTo>
                  <a:lnTo>
                    <a:pt x="599" y="151"/>
                  </a:lnTo>
                  <a:lnTo>
                    <a:pt x="607" y="163"/>
                  </a:lnTo>
                  <a:lnTo>
                    <a:pt x="616" y="175"/>
                  </a:lnTo>
                  <a:lnTo>
                    <a:pt x="624" y="188"/>
                  </a:lnTo>
                  <a:lnTo>
                    <a:pt x="632" y="201"/>
                  </a:lnTo>
                  <a:lnTo>
                    <a:pt x="640" y="215"/>
                  </a:lnTo>
                  <a:lnTo>
                    <a:pt x="646" y="229"/>
                  </a:lnTo>
                  <a:lnTo>
                    <a:pt x="651" y="243"/>
                  </a:lnTo>
                  <a:lnTo>
                    <a:pt x="656" y="258"/>
                  </a:lnTo>
                  <a:lnTo>
                    <a:pt x="660" y="273"/>
                  </a:lnTo>
                  <a:lnTo>
                    <a:pt x="664" y="288"/>
                  </a:lnTo>
                  <a:lnTo>
                    <a:pt x="667" y="304"/>
                  </a:lnTo>
                  <a:lnTo>
                    <a:pt x="669" y="320"/>
                  </a:lnTo>
                  <a:lnTo>
                    <a:pt x="670" y="336"/>
                  </a:lnTo>
                  <a:lnTo>
                    <a:pt x="671" y="352"/>
                  </a:lnTo>
                  <a:lnTo>
                    <a:pt x="670" y="371"/>
                  </a:lnTo>
                  <a:lnTo>
                    <a:pt x="669" y="390"/>
                  </a:lnTo>
                  <a:lnTo>
                    <a:pt x="665" y="408"/>
                  </a:lnTo>
                  <a:lnTo>
                    <a:pt x="662" y="426"/>
                  </a:lnTo>
                  <a:lnTo>
                    <a:pt x="657" y="444"/>
                  </a:lnTo>
                  <a:lnTo>
                    <a:pt x="651" y="461"/>
                  </a:lnTo>
                  <a:lnTo>
                    <a:pt x="645" y="477"/>
                  </a:lnTo>
                  <a:lnTo>
                    <a:pt x="637" y="494"/>
                  </a:lnTo>
                  <a:lnTo>
                    <a:pt x="629" y="510"/>
                  </a:lnTo>
                  <a:lnTo>
                    <a:pt x="619" y="526"/>
                  </a:lnTo>
                  <a:lnTo>
                    <a:pt x="608" y="541"/>
                  </a:lnTo>
                  <a:lnTo>
                    <a:pt x="597" y="555"/>
                  </a:lnTo>
                  <a:lnTo>
                    <a:pt x="586" y="569"/>
                  </a:lnTo>
                  <a:lnTo>
                    <a:pt x="573" y="582"/>
                  </a:lnTo>
                  <a:lnTo>
                    <a:pt x="559" y="594"/>
                  </a:lnTo>
                  <a:lnTo>
                    <a:pt x="543" y="606"/>
                  </a:lnTo>
                  <a:close/>
                  <a:moveTo>
                    <a:pt x="353" y="388"/>
                  </a:moveTo>
                  <a:lnTo>
                    <a:pt x="346" y="386"/>
                  </a:lnTo>
                  <a:lnTo>
                    <a:pt x="339" y="385"/>
                  </a:lnTo>
                  <a:lnTo>
                    <a:pt x="334" y="381"/>
                  </a:lnTo>
                  <a:lnTo>
                    <a:pt x="328" y="378"/>
                  </a:lnTo>
                  <a:lnTo>
                    <a:pt x="324" y="372"/>
                  </a:lnTo>
                  <a:lnTo>
                    <a:pt x="321" y="366"/>
                  </a:lnTo>
                  <a:lnTo>
                    <a:pt x="319" y="359"/>
                  </a:lnTo>
                  <a:lnTo>
                    <a:pt x="318" y="352"/>
                  </a:lnTo>
                  <a:lnTo>
                    <a:pt x="319" y="345"/>
                  </a:lnTo>
                  <a:lnTo>
                    <a:pt x="321" y="339"/>
                  </a:lnTo>
                  <a:lnTo>
                    <a:pt x="324" y="332"/>
                  </a:lnTo>
                  <a:lnTo>
                    <a:pt x="328" y="327"/>
                  </a:lnTo>
                  <a:lnTo>
                    <a:pt x="334" y="323"/>
                  </a:lnTo>
                  <a:lnTo>
                    <a:pt x="339" y="320"/>
                  </a:lnTo>
                  <a:lnTo>
                    <a:pt x="346" y="317"/>
                  </a:lnTo>
                  <a:lnTo>
                    <a:pt x="353" y="317"/>
                  </a:lnTo>
                  <a:lnTo>
                    <a:pt x="360" y="317"/>
                  </a:lnTo>
                  <a:lnTo>
                    <a:pt x="367" y="320"/>
                  </a:lnTo>
                  <a:lnTo>
                    <a:pt x="373" y="323"/>
                  </a:lnTo>
                  <a:lnTo>
                    <a:pt x="378" y="327"/>
                  </a:lnTo>
                  <a:lnTo>
                    <a:pt x="383" y="332"/>
                  </a:lnTo>
                  <a:lnTo>
                    <a:pt x="386" y="339"/>
                  </a:lnTo>
                  <a:lnTo>
                    <a:pt x="388" y="345"/>
                  </a:lnTo>
                  <a:lnTo>
                    <a:pt x="388" y="352"/>
                  </a:lnTo>
                  <a:lnTo>
                    <a:pt x="388" y="359"/>
                  </a:lnTo>
                  <a:lnTo>
                    <a:pt x="386" y="366"/>
                  </a:lnTo>
                  <a:lnTo>
                    <a:pt x="383" y="372"/>
                  </a:lnTo>
                  <a:lnTo>
                    <a:pt x="378" y="378"/>
                  </a:lnTo>
                  <a:lnTo>
                    <a:pt x="373" y="381"/>
                  </a:lnTo>
                  <a:lnTo>
                    <a:pt x="367" y="385"/>
                  </a:lnTo>
                  <a:lnTo>
                    <a:pt x="360" y="386"/>
                  </a:lnTo>
                  <a:lnTo>
                    <a:pt x="353" y="388"/>
                  </a:lnTo>
                  <a:close/>
                  <a:moveTo>
                    <a:pt x="247" y="988"/>
                  </a:moveTo>
                  <a:lnTo>
                    <a:pt x="247" y="881"/>
                  </a:lnTo>
                  <a:lnTo>
                    <a:pt x="459" y="881"/>
                  </a:lnTo>
                  <a:lnTo>
                    <a:pt x="459" y="988"/>
                  </a:lnTo>
                  <a:lnTo>
                    <a:pt x="247" y="988"/>
                  </a:lnTo>
                  <a:close/>
                  <a:moveTo>
                    <a:pt x="705" y="352"/>
                  </a:moveTo>
                  <a:lnTo>
                    <a:pt x="705" y="335"/>
                  </a:lnTo>
                  <a:lnTo>
                    <a:pt x="704" y="316"/>
                  </a:lnTo>
                  <a:lnTo>
                    <a:pt x="702" y="299"/>
                  </a:lnTo>
                  <a:lnTo>
                    <a:pt x="699" y="282"/>
                  </a:lnTo>
                  <a:lnTo>
                    <a:pt x="695" y="264"/>
                  </a:lnTo>
                  <a:lnTo>
                    <a:pt x="690" y="247"/>
                  </a:lnTo>
                  <a:lnTo>
                    <a:pt x="685" y="231"/>
                  </a:lnTo>
                  <a:lnTo>
                    <a:pt x="678" y="215"/>
                  </a:lnTo>
                  <a:lnTo>
                    <a:pt x="671" y="200"/>
                  </a:lnTo>
                  <a:lnTo>
                    <a:pt x="663" y="185"/>
                  </a:lnTo>
                  <a:lnTo>
                    <a:pt x="655" y="169"/>
                  </a:lnTo>
                  <a:lnTo>
                    <a:pt x="646" y="155"/>
                  </a:lnTo>
                  <a:lnTo>
                    <a:pt x="635" y="141"/>
                  </a:lnTo>
                  <a:lnTo>
                    <a:pt x="626" y="128"/>
                  </a:lnTo>
                  <a:lnTo>
                    <a:pt x="615" y="115"/>
                  </a:lnTo>
                  <a:lnTo>
                    <a:pt x="603" y="104"/>
                  </a:lnTo>
                  <a:lnTo>
                    <a:pt x="590" y="92"/>
                  </a:lnTo>
                  <a:lnTo>
                    <a:pt x="578" y="80"/>
                  </a:lnTo>
                  <a:lnTo>
                    <a:pt x="564" y="70"/>
                  </a:lnTo>
                  <a:lnTo>
                    <a:pt x="550" y="60"/>
                  </a:lnTo>
                  <a:lnTo>
                    <a:pt x="536" y="51"/>
                  </a:lnTo>
                  <a:lnTo>
                    <a:pt x="521" y="42"/>
                  </a:lnTo>
                  <a:lnTo>
                    <a:pt x="506" y="34"/>
                  </a:lnTo>
                  <a:lnTo>
                    <a:pt x="491" y="28"/>
                  </a:lnTo>
                  <a:lnTo>
                    <a:pt x="474" y="21"/>
                  </a:lnTo>
                  <a:lnTo>
                    <a:pt x="458" y="16"/>
                  </a:lnTo>
                  <a:lnTo>
                    <a:pt x="441" y="11"/>
                  </a:lnTo>
                  <a:lnTo>
                    <a:pt x="425" y="7"/>
                  </a:lnTo>
                  <a:lnTo>
                    <a:pt x="407" y="4"/>
                  </a:lnTo>
                  <a:lnTo>
                    <a:pt x="389" y="2"/>
                  </a:lnTo>
                  <a:lnTo>
                    <a:pt x="372" y="0"/>
                  </a:lnTo>
                  <a:lnTo>
                    <a:pt x="353" y="0"/>
                  </a:lnTo>
                  <a:lnTo>
                    <a:pt x="335" y="0"/>
                  </a:lnTo>
                  <a:lnTo>
                    <a:pt x="317" y="2"/>
                  </a:lnTo>
                  <a:lnTo>
                    <a:pt x="299" y="4"/>
                  </a:lnTo>
                  <a:lnTo>
                    <a:pt x="282" y="7"/>
                  </a:lnTo>
                  <a:lnTo>
                    <a:pt x="265" y="11"/>
                  </a:lnTo>
                  <a:lnTo>
                    <a:pt x="249" y="16"/>
                  </a:lnTo>
                  <a:lnTo>
                    <a:pt x="232" y="21"/>
                  </a:lnTo>
                  <a:lnTo>
                    <a:pt x="216" y="28"/>
                  </a:lnTo>
                  <a:lnTo>
                    <a:pt x="200" y="34"/>
                  </a:lnTo>
                  <a:lnTo>
                    <a:pt x="185" y="42"/>
                  </a:lnTo>
                  <a:lnTo>
                    <a:pt x="170" y="51"/>
                  </a:lnTo>
                  <a:lnTo>
                    <a:pt x="156" y="60"/>
                  </a:lnTo>
                  <a:lnTo>
                    <a:pt x="142" y="70"/>
                  </a:lnTo>
                  <a:lnTo>
                    <a:pt x="129" y="80"/>
                  </a:lnTo>
                  <a:lnTo>
                    <a:pt x="116" y="92"/>
                  </a:lnTo>
                  <a:lnTo>
                    <a:pt x="104" y="104"/>
                  </a:lnTo>
                  <a:lnTo>
                    <a:pt x="92" y="115"/>
                  </a:lnTo>
                  <a:lnTo>
                    <a:pt x="81" y="128"/>
                  </a:lnTo>
                  <a:lnTo>
                    <a:pt x="70" y="141"/>
                  </a:lnTo>
                  <a:lnTo>
                    <a:pt x="61" y="155"/>
                  </a:lnTo>
                  <a:lnTo>
                    <a:pt x="52" y="169"/>
                  </a:lnTo>
                  <a:lnTo>
                    <a:pt x="43" y="185"/>
                  </a:lnTo>
                  <a:lnTo>
                    <a:pt x="35" y="200"/>
                  </a:lnTo>
                  <a:lnTo>
                    <a:pt x="28" y="215"/>
                  </a:lnTo>
                  <a:lnTo>
                    <a:pt x="22" y="231"/>
                  </a:lnTo>
                  <a:lnTo>
                    <a:pt x="16" y="247"/>
                  </a:lnTo>
                  <a:lnTo>
                    <a:pt x="12" y="264"/>
                  </a:lnTo>
                  <a:lnTo>
                    <a:pt x="8" y="282"/>
                  </a:lnTo>
                  <a:lnTo>
                    <a:pt x="4" y="299"/>
                  </a:lnTo>
                  <a:lnTo>
                    <a:pt x="2" y="316"/>
                  </a:lnTo>
                  <a:lnTo>
                    <a:pt x="1" y="335"/>
                  </a:lnTo>
                  <a:lnTo>
                    <a:pt x="0" y="352"/>
                  </a:lnTo>
                  <a:lnTo>
                    <a:pt x="1" y="374"/>
                  </a:lnTo>
                  <a:lnTo>
                    <a:pt x="3" y="395"/>
                  </a:lnTo>
                  <a:lnTo>
                    <a:pt x="7" y="416"/>
                  </a:lnTo>
                  <a:lnTo>
                    <a:pt x="10" y="435"/>
                  </a:lnTo>
                  <a:lnTo>
                    <a:pt x="15" y="456"/>
                  </a:lnTo>
                  <a:lnTo>
                    <a:pt x="23" y="475"/>
                  </a:lnTo>
                  <a:lnTo>
                    <a:pt x="30" y="493"/>
                  </a:lnTo>
                  <a:lnTo>
                    <a:pt x="39" y="512"/>
                  </a:lnTo>
                  <a:lnTo>
                    <a:pt x="48" y="529"/>
                  </a:lnTo>
                  <a:lnTo>
                    <a:pt x="58" y="546"/>
                  </a:lnTo>
                  <a:lnTo>
                    <a:pt x="70" y="563"/>
                  </a:lnTo>
                  <a:lnTo>
                    <a:pt x="82" y="579"/>
                  </a:lnTo>
                  <a:lnTo>
                    <a:pt x="96" y="593"/>
                  </a:lnTo>
                  <a:lnTo>
                    <a:pt x="110" y="607"/>
                  </a:lnTo>
                  <a:lnTo>
                    <a:pt x="124" y="621"/>
                  </a:lnTo>
                  <a:lnTo>
                    <a:pt x="141" y="633"/>
                  </a:lnTo>
                  <a:lnTo>
                    <a:pt x="141" y="633"/>
                  </a:lnTo>
                  <a:lnTo>
                    <a:pt x="143" y="635"/>
                  </a:lnTo>
                  <a:lnTo>
                    <a:pt x="145" y="637"/>
                  </a:lnTo>
                  <a:lnTo>
                    <a:pt x="145" y="637"/>
                  </a:lnTo>
                  <a:lnTo>
                    <a:pt x="146" y="637"/>
                  </a:lnTo>
                  <a:lnTo>
                    <a:pt x="157" y="647"/>
                  </a:lnTo>
                  <a:lnTo>
                    <a:pt x="168" y="659"/>
                  </a:lnTo>
                  <a:lnTo>
                    <a:pt x="178" y="673"/>
                  </a:lnTo>
                  <a:lnTo>
                    <a:pt x="189" y="690"/>
                  </a:lnTo>
                  <a:lnTo>
                    <a:pt x="193" y="699"/>
                  </a:lnTo>
                  <a:lnTo>
                    <a:pt x="198" y="708"/>
                  </a:lnTo>
                  <a:lnTo>
                    <a:pt x="202" y="718"/>
                  </a:lnTo>
                  <a:lnTo>
                    <a:pt x="205" y="729"/>
                  </a:lnTo>
                  <a:lnTo>
                    <a:pt x="209" y="740"/>
                  </a:lnTo>
                  <a:lnTo>
                    <a:pt x="211" y="752"/>
                  </a:lnTo>
                  <a:lnTo>
                    <a:pt x="212" y="763"/>
                  </a:lnTo>
                  <a:lnTo>
                    <a:pt x="212" y="775"/>
                  </a:lnTo>
                  <a:lnTo>
                    <a:pt x="212" y="1023"/>
                  </a:lnTo>
                  <a:lnTo>
                    <a:pt x="494" y="1023"/>
                  </a:lnTo>
                  <a:lnTo>
                    <a:pt x="494" y="775"/>
                  </a:lnTo>
                  <a:lnTo>
                    <a:pt x="495" y="762"/>
                  </a:lnTo>
                  <a:lnTo>
                    <a:pt x="496" y="750"/>
                  </a:lnTo>
                  <a:lnTo>
                    <a:pt x="498" y="739"/>
                  </a:lnTo>
                  <a:lnTo>
                    <a:pt x="501" y="727"/>
                  </a:lnTo>
                  <a:lnTo>
                    <a:pt x="505" y="716"/>
                  </a:lnTo>
                  <a:lnTo>
                    <a:pt x="509" y="705"/>
                  </a:lnTo>
                  <a:lnTo>
                    <a:pt x="513" y="695"/>
                  </a:lnTo>
                  <a:lnTo>
                    <a:pt x="519" y="686"/>
                  </a:lnTo>
                  <a:lnTo>
                    <a:pt x="529" y="669"/>
                  </a:lnTo>
                  <a:lnTo>
                    <a:pt x="541" y="655"/>
                  </a:lnTo>
                  <a:lnTo>
                    <a:pt x="553" y="644"/>
                  </a:lnTo>
                  <a:lnTo>
                    <a:pt x="565" y="634"/>
                  </a:lnTo>
                  <a:lnTo>
                    <a:pt x="565" y="634"/>
                  </a:lnTo>
                  <a:lnTo>
                    <a:pt x="580" y="622"/>
                  </a:lnTo>
                  <a:lnTo>
                    <a:pt x="595" y="608"/>
                  </a:lnTo>
                  <a:lnTo>
                    <a:pt x="609" y="594"/>
                  </a:lnTo>
                  <a:lnTo>
                    <a:pt x="623" y="579"/>
                  </a:lnTo>
                  <a:lnTo>
                    <a:pt x="635" y="564"/>
                  </a:lnTo>
                  <a:lnTo>
                    <a:pt x="647" y="547"/>
                  </a:lnTo>
                  <a:lnTo>
                    <a:pt x="658" y="530"/>
                  </a:lnTo>
                  <a:lnTo>
                    <a:pt x="668" y="513"/>
                  </a:lnTo>
                  <a:lnTo>
                    <a:pt x="676" y="494"/>
                  </a:lnTo>
                  <a:lnTo>
                    <a:pt x="684" y="475"/>
                  </a:lnTo>
                  <a:lnTo>
                    <a:pt x="690" y="456"/>
                  </a:lnTo>
                  <a:lnTo>
                    <a:pt x="696" y="436"/>
                  </a:lnTo>
                  <a:lnTo>
                    <a:pt x="700" y="416"/>
                  </a:lnTo>
                  <a:lnTo>
                    <a:pt x="703" y="395"/>
                  </a:lnTo>
                  <a:lnTo>
                    <a:pt x="705" y="374"/>
                  </a:lnTo>
                  <a:lnTo>
                    <a:pt x="705" y="352"/>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0" name="Freeform 102"/>
            <p:cNvSpPr>
              <a:spLocks noEditPoints="1"/>
            </p:cNvSpPr>
            <p:nvPr/>
          </p:nvSpPr>
          <p:spPr bwMode="auto">
            <a:xfrm>
              <a:off x="6002081" y="3345959"/>
              <a:ext cx="551198" cy="553535"/>
            </a:xfrm>
            <a:custGeom>
              <a:avLst/>
              <a:gdLst>
                <a:gd name="T0" fmla="*/ 848 w 946"/>
                <a:gd name="T1" fmla="*/ 911 h 948"/>
                <a:gd name="T2" fmla="*/ 896 w 946"/>
                <a:gd name="T3" fmla="*/ 821 h 948"/>
                <a:gd name="T4" fmla="*/ 907 w 946"/>
                <a:gd name="T5" fmla="*/ 878 h 948"/>
                <a:gd name="T6" fmla="*/ 333 w 946"/>
                <a:gd name="T7" fmla="*/ 720 h 948"/>
                <a:gd name="T8" fmla="*/ 330 w 946"/>
                <a:gd name="T9" fmla="*/ 786 h 948"/>
                <a:gd name="T10" fmla="*/ 298 w 946"/>
                <a:gd name="T11" fmla="*/ 844 h 948"/>
                <a:gd name="T12" fmla="*/ 229 w 946"/>
                <a:gd name="T13" fmla="*/ 890 h 948"/>
                <a:gd name="T14" fmla="*/ 160 w 946"/>
                <a:gd name="T15" fmla="*/ 895 h 948"/>
                <a:gd name="T16" fmla="*/ 37 w 946"/>
                <a:gd name="T17" fmla="*/ 771 h 948"/>
                <a:gd name="T18" fmla="*/ 38 w 946"/>
                <a:gd name="T19" fmla="*/ 715 h 948"/>
                <a:gd name="T20" fmla="*/ 61 w 946"/>
                <a:gd name="T21" fmla="*/ 663 h 948"/>
                <a:gd name="T22" fmla="*/ 115 w 946"/>
                <a:gd name="T23" fmla="*/ 614 h 948"/>
                <a:gd name="T24" fmla="*/ 200 w 946"/>
                <a:gd name="T25" fmla="*/ 598 h 948"/>
                <a:gd name="T26" fmla="*/ 608 w 946"/>
                <a:gd name="T27" fmla="*/ 244 h 948"/>
                <a:gd name="T28" fmla="*/ 596 w 946"/>
                <a:gd name="T29" fmla="*/ 180 h 948"/>
                <a:gd name="T30" fmla="*/ 614 w 946"/>
                <a:gd name="T31" fmla="*/ 116 h 948"/>
                <a:gd name="T32" fmla="*/ 663 w 946"/>
                <a:gd name="T33" fmla="*/ 61 h 948"/>
                <a:gd name="T34" fmla="*/ 745 w 946"/>
                <a:gd name="T35" fmla="*/ 36 h 948"/>
                <a:gd name="T36" fmla="*/ 725 w 946"/>
                <a:gd name="T37" fmla="*/ 206 h 948"/>
                <a:gd name="T38" fmla="*/ 896 w 946"/>
                <a:gd name="T39" fmla="*/ 189 h 948"/>
                <a:gd name="T40" fmla="*/ 884 w 946"/>
                <a:gd name="T41" fmla="*/ 244 h 948"/>
                <a:gd name="T42" fmla="*/ 852 w 946"/>
                <a:gd name="T43" fmla="*/ 292 h 948"/>
                <a:gd name="T44" fmla="*/ 776 w 946"/>
                <a:gd name="T45" fmla="*/ 332 h 948"/>
                <a:gd name="T46" fmla="*/ 687 w 946"/>
                <a:gd name="T47" fmla="*/ 323 h 948"/>
                <a:gd name="T48" fmla="*/ 185 w 946"/>
                <a:gd name="T49" fmla="*/ 160 h 948"/>
                <a:gd name="T50" fmla="*/ 734 w 946"/>
                <a:gd name="T51" fmla="*/ 560 h 948"/>
                <a:gd name="T52" fmla="*/ 730 w 946"/>
                <a:gd name="T53" fmla="*/ 370 h 948"/>
                <a:gd name="T54" fmla="*/ 833 w 946"/>
                <a:gd name="T55" fmla="*/ 349 h 948"/>
                <a:gd name="T56" fmla="*/ 903 w 946"/>
                <a:gd name="T57" fmla="*/ 283 h 948"/>
                <a:gd name="T58" fmla="*/ 930 w 946"/>
                <a:gd name="T59" fmla="*/ 207 h 948"/>
                <a:gd name="T60" fmla="*/ 922 w 946"/>
                <a:gd name="T61" fmla="*/ 126 h 948"/>
                <a:gd name="T62" fmla="*/ 844 w 946"/>
                <a:gd name="T63" fmla="*/ 26 h 948"/>
                <a:gd name="T64" fmla="*/ 727 w 946"/>
                <a:gd name="T65" fmla="*/ 1 h 948"/>
                <a:gd name="T66" fmla="*/ 629 w 946"/>
                <a:gd name="T67" fmla="*/ 42 h 948"/>
                <a:gd name="T68" fmla="*/ 577 w 946"/>
                <a:gd name="T69" fmla="*/ 108 h 948"/>
                <a:gd name="T70" fmla="*/ 561 w 946"/>
                <a:gd name="T71" fmla="*/ 183 h 948"/>
                <a:gd name="T72" fmla="*/ 421 w 946"/>
                <a:gd name="T73" fmla="*/ 398 h 948"/>
                <a:gd name="T74" fmla="*/ 185 w 946"/>
                <a:gd name="T75" fmla="*/ 211 h 948"/>
                <a:gd name="T76" fmla="*/ 185 w 946"/>
                <a:gd name="T77" fmla="*/ 562 h 948"/>
                <a:gd name="T78" fmla="*/ 82 w 946"/>
                <a:gd name="T79" fmla="*/ 592 h 948"/>
                <a:gd name="T80" fmla="*/ 21 w 946"/>
                <a:gd name="T81" fmla="*/ 660 h 948"/>
                <a:gd name="T82" fmla="*/ 0 w 946"/>
                <a:gd name="T83" fmla="*/ 739 h 948"/>
                <a:gd name="T84" fmla="*/ 15 w 946"/>
                <a:gd name="T85" fmla="*/ 820 h 948"/>
                <a:gd name="T86" fmla="*/ 111 w 946"/>
                <a:gd name="T87" fmla="*/ 916 h 948"/>
                <a:gd name="T88" fmla="*/ 222 w 946"/>
                <a:gd name="T89" fmla="*/ 928 h 948"/>
                <a:gd name="T90" fmla="*/ 316 w 946"/>
                <a:gd name="T91" fmla="*/ 877 h 948"/>
                <a:gd name="T92" fmla="*/ 359 w 946"/>
                <a:gd name="T93" fmla="*/ 811 h 948"/>
                <a:gd name="T94" fmla="*/ 370 w 946"/>
                <a:gd name="T95" fmla="*/ 736 h 948"/>
                <a:gd name="T96" fmla="*/ 634 w 946"/>
                <a:gd name="T97" fmla="*/ 659 h 948"/>
                <a:gd name="T98" fmla="*/ 809 w 946"/>
                <a:gd name="T99" fmla="*/ 932 h 948"/>
                <a:gd name="T100" fmla="*/ 859 w 946"/>
                <a:gd name="T101" fmla="*/ 948 h 948"/>
                <a:gd name="T102" fmla="*/ 907 w 946"/>
                <a:gd name="T103" fmla="*/ 932 h 948"/>
                <a:gd name="T104" fmla="*/ 940 w 946"/>
                <a:gd name="T105" fmla="*/ 892 h 948"/>
                <a:gd name="T106" fmla="*/ 945 w 946"/>
                <a:gd name="T107" fmla="*/ 842 h 948"/>
                <a:gd name="T108" fmla="*/ 920 w 946"/>
                <a:gd name="T109" fmla="*/ 79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6" h="948">
                  <a:moveTo>
                    <a:pt x="896" y="896"/>
                  </a:moveTo>
                  <a:lnTo>
                    <a:pt x="888" y="903"/>
                  </a:lnTo>
                  <a:lnTo>
                    <a:pt x="878" y="908"/>
                  </a:lnTo>
                  <a:lnTo>
                    <a:pt x="869" y="911"/>
                  </a:lnTo>
                  <a:lnTo>
                    <a:pt x="859" y="912"/>
                  </a:lnTo>
                  <a:lnTo>
                    <a:pt x="848" y="911"/>
                  </a:lnTo>
                  <a:lnTo>
                    <a:pt x="838" y="908"/>
                  </a:lnTo>
                  <a:lnTo>
                    <a:pt x="829" y="903"/>
                  </a:lnTo>
                  <a:lnTo>
                    <a:pt x="821" y="896"/>
                  </a:lnTo>
                  <a:lnTo>
                    <a:pt x="634" y="709"/>
                  </a:lnTo>
                  <a:lnTo>
                    <a:pt x="709" y="634"/>
                  </a:lnTo>
                  <a:lnTo>
                    <a:pt x="896" y="821"/>
                  </a:lnTo>
                  <a:lnTo>
                    <a:pt x="902" y="830"/>
                  </a:lnTo>
                  <a:lnTo>
                    <a:pt x="907" y="838"/>
                  </a:lnTo>
                  <a:lnTo>
                    <a:pt x="911" y="849"/>
                  </a:lnTo>
                  <a:lnTo>
                    <a:pt x="911" y="859"/>
                  </a:lnTo>
                  <a:lnTo>
                    <a:pt x="911" y="869"/>
                  </a:lnTo>
                  <a:lnTo>
                    <a:pt x="907" y="878"/>
                  </a:lnTo>
                  <a:lnTo>
                    <a:pt x="902" y="888"/>
                  </a:lnTo>
                  <a:lnTo>
                    <a:pt x="896" y="896"/>
                  </a:lnTo>
                  <a:close/>
                  <a:moveTo>
                    <a:pt x="322" y="687"/>
                  </a:moveTo>
                  <a:lnTo>
                    <a:pt x="326" y="698"/>
                  </a:lnTo>
                  <a:lnTo>
                    <a:pt x="330" y="709"/>
                  </a:lnTo>
                  <a:lnTo>
                    <a:pt x="333" y="720"/>
                  </a:lnTo>
                  <a:lnTo>
                    <a:pt x="334" y="730"/>
                  </a:lnTo>
                  <a:lnTo>
                    <a:pt x="335" y="742"/>
                  </a:lnTo>
                  <a:lnTo>
                    <a:pt x="335" y="753"/>
                  </a:lnTo>
                  <a:lnTo>
                    <a:pt x="334" y="764"/>
                  </a:lnTo>
                  <a:lnTo>
                    <a:pt x="332" y="775"/>
                  </a:lnTo>
                  <a:lnTo>
                    <a:pt x="330" y="786"/>
                  </a:lnTo>
                  <a:lnTo>
                    <a:pt x="326" y="796"/>
                  </a:lnTo>
                  <a:lnTo>
                    <a:pt x="322" y="806"/>
                  </a:lnTo>
                  <a:lnTo>
                    <a:pt x="318" y="816"/>
                  </a:lnTo>
                  <a:lnTo>
                    <a:pt x="312" y="825"/>
                  </a:lnTo>
                  <a:lnTo>
                    <a:pt x="306" y="835"/>
                  </a:lnTo>
                  <a:lnTo>
                    <a:pt x="298" y="844"/>
                  </a:lnTo>
                  <a:lnTo>
                    <a:pt x="291" y="852"/>
                  </a:lnTo>
                  <a:lnTo>
                    <a:pt x="280" y="862"/>
                  </a:lnTo>
                  <a:lnTo>
                    <a:pt x="268" y="871"/>
                  </a:lnTo>
                  <a:lnTo>
                    <a:pt x="255" y="878"/>
                  </a:lnTo>
                  <a:lnTo>
                    <a:pt x="242" y="885"/>
                  </a:lnTo>
                  <a:lnTo>
                    <a:pt x="229" y="890"/>
                  </a:lnTo>
                  <a:lnTo>
                    <a:pt x="214" y="894"/>
                  </a:lnTo>
                  <a:lnTo>
                    <a:pt x="200" y="896"/>
                  </a:lnTo>
                  <a:lnTo>
                    <a:pt x="185" y="897"/>
                  </a:lnTo>
                  <a:lnTo>
                    <a:pt x="176" y="896"/>
                  </a:lnTo>
                  <a:lnTo>
                    <a:pt x="168" y="896"/>
                  </a:lnTo>
                  <a:lnTo>
                    <a:pt x="160" y="895"/>
                  </a:lnTo>
                  <a:lnTo>
                    <a:pt x="151" y="892"/>
                  </a:lnTo>
                  <a:lnTo>
                    <a:pt x="203" y="841"/>
                  </a:lnTo>
                  <a:lnTo>
                    <a:pt x="204" y="725"/>
                  </a:lnTo>
                  <a:lnTo>
                    <a:pt x="92" y="727"/>
                  </a:lnTo>
                  <a:lnTo>
                    <a:pt x="39" y="780"/>
                  </a:lnTo>
                  <a:lnTo>
                    <a:pt x="37" y="771"/>
                  </a:lnTo>
                  <a:lnTo>
                    <a:pt x="36" y="762"/>
                  </a:lnTo>
                  <a:lnTo>
                    <a:pt x="35" y="752"/>
                  </a:lnTo>
                  <a:lnTo>
                    <a:pt x="35" y="742"/>
                  </a:lnTo>
                  <a:lnTo>
                    <a:pt x="36" y="734"/>
                  </a:lnTo>
                  <a:lnTo>
                    <a:pt x="37" y="724"/>
                  </a:lnTo>
                  <a:lnTo>
                    <a:pt x="38" y="715"/>
                  </a:lnTo>
                  <a:lnTo>
                    <a:pt x="40" y="706"/>
                  </a:lnTo>
                  <a:lnTo>
                    <a:pt x="43" y="697"/>
                  </a:lnTo>
                  <a:lnTo>
                    <a:pt x="47" y="688"/>
                  </a:lnTo>
                  <a:lnTo>
                    <a:pt x="51" y="680"/>
                  </a:lnTo>
                  <a:lnTo>
                    <a:pt x="55" y="671"/>
                  </a:lnTo>
                  <a:lnTo>
                    <a:pt x="61" y="663"/>
                  </a:lnTo>
                  <a:lnTo>
                    <a:pt x="66" y="655"/>
                  </a:lnTo>
                  <a:lnTo>
                    <a:pt x="73" y="647"/>
                  </a:lnTo>
                  <a:lnTo>
                    <a:pt x="79" y="641"/>
                  </a:lnTo>
                  <a:lnTo>
                    <a:pt x="90" y="631"/>
                  </a:lnTo>
                  <a:lnTo>
                    <a:pt x="102" y="621"/>
                  </a:lnTo>
                  <a:lnTo>
                    <a:pt x="115" y="614"/>
                  </a:lnTo>
                  <a:lnTo>
                    <a:pt x="128" y="608"/>
                  </a:lnTo>
                  <a:lnTo>
                    <a:pt x="141" y="603"/>
                  </a:lnTo>
                  <a:lnTo>
                    <a:pt x="156" y="600"/>
                  </a:lnTo>
                  <a:lnTo>
                    <a:pt x="170" y="598"/>
                  </a:lnTo>
                  <a:lnTo>
                    <a:pt x="185" y="597"/>
                  </a:lnTo>
                  <a:lnTo>
                    <a:pt x="200" y="598"/>
                  </a:lnTo>
                  <a:lnTo>
                    <a:pt x="215" y="600"/>
                  </a:lnTo>
                  <a:lnTo>
                    <a:pt x="230" y="604"/>
                  </a:lnTo>
                  <a:lnTo>
                    <a:pt x="244" y="609"/>
                  </a:lnTo>
                  <a:lnTo>
                    <a:pt x="255" y="614"/>
                  </a:lnTo>
                  <a:lnTo>
                    <a:pt x="614" y="256"/>
                  </a:lnTo>
                  <a:lnTo>
                    <a:pt x="608" y="244"/>
                  </a:lnTo>
                  <a:lnTo>
                    <a:pt x="604" y="235"/>
                  </a:lnTo>
                  <a:lnTo>
                    <a:pt x="601" y="223"/>
                  </a:lnTo>
                  <a:lnTo>
                    <a:pt x="599" y="212"/>
                  </a:lnTo>
                  <a:lnTo>
                    <a:pt x="597" y="201"/>
                  </a:lnTo>
                  <a:lnTo>
                    <a:pt x="596" y="190"/>
                  </a:lnTo>
                  <a:lnTo>
                    <a:pt x="596" y="180"/>
                  </a:lnTo>
                  <a:lnTo>
                    <a:pt x="597" y="168"/>
                  </a:lnTo>
                  <a:lnTo>
                    <a:pt x="599" y="157"/>
                  </a:lnTo>
                  <a:lnTo>
                    <a:pt x="601" y="146"/>
                  </a:lnTo>
                  <a:lnTo>
                    <a:pt x="604" y="136"/>
                  </a:lnTo>
                  <a:lnTo>
                    <a:pt x="608" y="126"/>
                  </a:lnTo>
                  <a:lnTo>
                    <a:pt x="614" y="116"/>
                  </a:lnTo>
                  <a:lnTo>
                    <a:pt x="619" y="106"/>
                  </a:lnTo>
                  <a:lnTo>
                    <a:pt x="626" y="96"/>
                  </a:lnTo>
                  <a:lnTo>
                    <a:pt x="632" y="88"/>
                  </a:lnTo>
                  <a:lnTo>
                    <a:pt x="640" y="79"/>
                  </a:lnTo>
                  <a:lnTo>
                    <a:pt x="651" y="69"/>
                  </a:lnTo>
                  <a:lnTo>
                    <a:pt x="663" y="61"/>
                  </a:lnTo>
                  <a:lnTo>
                    <a:pt x="675" y="53"/>
                  </a:lnTo>
                  <a:lnTo>
                    <a:pt x="688" y="47"/>
                  </a:lnTo>
                  <a:lnTo>
                    <a:pt x="702" y="42"/>
                  </a:lnTo>
                  <a:lnTo>
                    <a:pt x="716" y="38"/>
                  </a:lnTo>
                  <a:lnTo>
                    <a:pt x="731" y="36"/>
                  </a:lnTo>
                  <a:lnTo>
                    <a:pt x="745" y="36"/>
                  </a:lnTo>
                  <a:lnTo>
                    <a:pt x="754" y="36"/>
                  </a:lnTo>
                  <a:lnTo>
                    <a:pt x="763" y="37"/>
                  </a:lnTo>
                  <a:lnTo>
                    <a:pt x="771" y="38"/>
                  </a:lnTo>
                  <a:lnTo>
                    <a:pt x="780" y="39"/>
                  </a:lnTo>
                  <a:lnTo>
                    <a:pt x="726" y="93"/>
                  </a:lnTo>
                  <a:lnTo>
                    <a:pt x="725" y="206"/>
                  </a:lnTo>
                  <a:lnTo>
                    <a:pt x="841" y="203"/>
                  </a:lnTo>
                  <a:lnTo>
                    <a:pt x="892" y="152"/>
                  </a:lnTo>
                  <a:lnTo>
                    <a:pt x="893" y="161"/>
                  </a:lnTo>
                  <a:lnTo>
                    <a:pt x="896" y="171"/>
                  </a:lnTo>
                  <a:lnTo>
                    <a:pt x="896" y="180"/>
                  </a:lnTo>
                  <a:lnTo>
                    <a:pt x="896" y="189"/>
                  </a:lnTo>
                  <a:lnTo>
                    <a:pt x="896" y="199"/>
                  </a:lnTo>
                  <a:lnTo>
                    <a:pt x="895" y="208"/>
                  </a:lnTo>
                  <a:lnTo>
                    <a:pt x="892" y="217"/>
                  </a:lnTo>
                  <a:lnTo>
                    <a:pt x="890" y="226"/>
                  </a:lnTo>
                  <a:lnTo>
                    <a:pt x="888" y="236"/>
                  </a:lnTo>
                  <a:lnTo>
                    <a:pt x="884" y="244"/>
                  </a:lnTo>
                  <a:lnTo>
                    <a:pt x="880" y="253"/>
                  </a:lnTo>
                  <a:lnTo>
                    <a:pt x="876" y="261"/>
                  </a:lnTo>
                  <a:lnTo>
                    <a:pt x="871" y="269"/>
                  </a:lnTo>
                  <a:lnTo>
                    <a:pt x="865" y="277"/>
                  </a:lnTo>
                  <a:lnTo>
                    <a:pt x="859" y="284"/>
                  </a:lnTo>
                  <a:lnTo>
                    <a:pt x="852" y="292"/>
                  </a:lnTo>
                  <a:lnTo>
                    <a:pt x="841" y="302"/>
                  </a:lnTo>
                  <a:lnTo>
                    <a:pt x="830" y="310"/>
                  </a:lnTo>
                  <a:lnTo>
                    <a:pt x="817" y="318"/>
                  </a:lnTo>
                  <a:lnTo>
                    <a:pt x="804" y="324"/>
                  </a:lnTo>
                  <a:lnTo>
                    <a:pt x="790" y="329"/>
                  </a:lnTo>
                  <a:lnTo>
                    <a:pt x="776" y="332"/>
                  </a:lnTo>
                  <a:lnTo>
                    <a:pt x="761" y="334"/>
                  </a:lnTo>
                  <a:lnTo>
                    <a:pt x="747" y="335"/>
                  </a:lnTo>
                  <a:lnTo>
                    <a:pt x="730" y="334"/>
                  </a:lnTo>
                  <a:lnTo>
                    <a:pt x="716" y="332"/>
                  </a:lnTo>
                  <a:lnTo>
                    <a:pt x="701" y="329"/>
                  </a:lnTo>
                  <a:lnTo>
                    <a:pt x="687" y="323"/>
                  </a:lnTo>
                  <a:lnTo>
                    <a:pt x="675" y="318"/>
                  </a:lnTo>
                  <a:lnTo>
                    <a:pt x="318" y="676"/>
                  </a:lnTo>
                  <a:lnTo>
                    <a:pt x="322" y="687"/>
                  </a:lnTo>
                  <a:close/>
                  <a:moveTo>
                    <a:pt x="73" y="99"/>
                  </a:moveTo>
                  <a:lnTo>
                    <a:pt x="97" y="74"/>
                  </a:lnTo>
                  <a:lnTo>
                    <a:pt x="185" y="160"/>
                  </a:lnTo>
                  <a:lnTo>
                    <a:pt x="160" y="185"/>
                  </a:lnTo>
                  <a:lnTo>
                    <a:pt x="73" y="99"/>
                  </a:lnTo>
                  <a:close/>
                  <a:moveTo>
                    <a:pt x="920" y="796"/>
                  </a:moveTo>
                  <a:lnTo>
                    <a:pt x="734" y="609"/>
                  </a:lnTo>
                  <a:lnTo>
                    <a:pt x="758" y="585"/>
                  </a:lnTo>
                  <a:lnTo>
                    <a:pt x="734" y="560"/>
                  </a:lnTo>
                  <a:lnTo>
                    <a:pt x="659" y="634"/>
                  </a:lnTo>
                  <a:lnTo>
                    <a:pt x="534" y="510"/>
                  </a:lnTo>
                  <a:lnTo>
                    <a:pt x="684" y="360"/>
                  </a:lnTo>
                  <a:lnTo>
                    <a:pt x="699" y="364"/>
                  </a:lnTo>
                  <a:lnTo>
                    <a:pt x="714" y="368"/>
                  </a:lnTo>
                  <a:lnTo>
                    <a:pt x="730" y="370"/>
                  </a:lnTo>
                  <a:lnTo>
                    <a:pt x="747" y="371"/>
                  </a:lnTo>
                  <a:lnTo>
                    <a:pt x="765" y="370"/>
                  </a:lnTo>
                  <a:lnTo>
                    <a:pt x="782" y="366"/>
                  </a:lnTo>
                  <a:lnTo>
                    <a:pt x="801" y="362"/>
                  </a:lnTo>
                  <a:lnTo>
                    <a:pt x="817" y="357"/>
                  </a:lnTo>
                  <a:lnTo>
                    <a:pt x="833" y="349"/>
                  </a:lnTo>
                  <a:lnTo>
                    <a:pt x="849" y="339"/>
                  </a:lnTo>
                  <a:lnTo>
                    <a:pt x="863" y="329"/>
                  </a:lnTo>
                  <a:lnTo>
                    <a:pt x="877" y="317"/>
                  </a:lnTo>
                  <a:lnTo>
                    <a:pt x="887" y="306"/>
                  </a:lnTo>
                  <a:lnTo>
                    <a:pt x="896" y="295"/>
                  </a:lnTo>
                  <a:lnTo>
                    <a:pt x="903" y="283"/>
                  </a:lnTo>
                  <a:lnTo>
                    <a:pt x="910" y="271"/>
                  </a:lnTo>
                  <a:lnTo>
                    <a:pt x="916" y="260"/>
                  </a:lnTo>
                  <a:lnTo>
                    <a:pt x="922" y="247"/>
                  </a:lnTo>
                  <a:lnTo>
                    <a:pt x="925" y="234"/>
                  </a:lnTo>
                  <a:lnTo>
                    <a:pt x="928" y="221"/>
                  </a:lnTo>
                  <a:lnTo>
                    <a:pt x="930" y="207"/>
                  </a:lnTo>
                  <a:lnTo>
                    <a:pt x="931" y="194"/>
                  </a:lnTo>
                  <a:lnTo>
                    <a:pt x="931" y="180"/>
                  </a:lnTo>
                  <a:lnTo>
                    <a:pt x="930" y="166"/>
                  </a:lnTo>
                  <a:lnTo>
                    <a:pt x="928" y="153"/>
                  </a:lnTo>
                  <a:lnTo>
                    <a:pt x="925" y="139"/>
                  </a:lnTo>
                  <a:lnTo>
                    <a:pt x="922" y="126"/>
                  </a:lnTo>
                  <a:lnTo>
                    <a:pt x="916" y="113"/>
                  </a:lnTo>
                  <a:lnTo>
                    <a:pt x="905" y="88"/>
                  </a:lnTo>
                  <a:lnTo>
                    <a:pt x="825" y="169"/>
                  </a:lnTo>
                  <a:lnTo>
                    <a:pt x="761" y="170"/>
                  </a:lnTo>
                  <a:lnTo>
                    <a:pt x="762" y="108"/>
                  </a:lnTo>
                  <a:lnTo>
                    <a:pt x="844" y="26"/>
                  </a:lnTo>
                  <a:lnTo>
                    <a:pt x="820" y="15"/>
                  </a:lnTo>
                  <a:lnTo>
                    <a:pt x="802" y="9"/>
                  </a:lnTo>
                  <a:lnTo>
                    <a:pt x="783" y="5"/>
                  </a:lnTo>
                  <a:lnTo>
                    <a:pt x="765" y="1"/>
                  </a:lnTo>
                  <a:lnTo>
                    <a:pt x="745" y="0"/>
                  </a:lnTo>
                  <a:lnTo>
                    <a:pt x="727" y="1"/>
                  </a:lnTo>
                  <a:lnTo>
                    <a:pt x="710" y="4"/>
                  </a:lnTo>
                  <a:lnTo>
                    <a:pt x="691" y="8"/>
                  </a:lnTo>
                  <a:lnTo>
                    <a:pt x="675" y="14"/>
                  </a:lnTo>
                  <a:lnTo>
                    <a:pt x="659" y="22"/>
                  </a:lnTo>
                  <a:lnTo>
                    <a:pt x="643" y="32"/>
                  </a:lnTo>
                  <a:lnTo>
                    <a:pt x="629" y="42"/>
                  </a:lnTo>
                  <a:lnTo>
                    <a:pt x="615" y="54"/>
                  </a:lnTo>
                  <a:lnTo>
                    <a:pt x="606" y="64"/>
                  </a:lnTo>
                  <a:lnTo>
                    <a:pt x="597" y="75"/>
                  </a:lnTo>
                  <a:lnTo>
                    <a:pt x="590" y="86"/>
                  </a:lnTo>
                  <a:lnTo>
                    <a:pt x="583" y="96"/>
                  </a:lnTo>
                  <a:lnTo>
                    <a:pt x="577" y="108"/>
                  </a:lnTo>
                  <a:lnTo>
                    <a:pt x="573" y="120"/>
                  </a:lnTo>
                  <a:lnTo>
                    <a:pt x="568" y="132"/>
                  </a:lnTo>
                  <a:lnTo>
                    <a:pt x="565" y="145"/>
                  </a:lnTo>
                  <a:lnTo>
                    <a:pt x="563" y="158"/>
                  </a:lnTo>
                  <a:lnTo>
                    <a:pt x="562" y="170"/>
                  </a:lnTo>
                  <a:lnTo>
                    <a:pt x="561" y="183"/>
                  </a:lnTo>
                  <a:lnTo>
                    <a:pt x="561" y="196"/>
                  </a:lnTo>
                  <a:lnTo>
                    <a:pt x="562" y="209"/>
                  </a:lnTo>
                  <a:lnTo>
                    <a:pt x="565" y="222"/>
                  </a:lnTo>
                  <a:lnTo>
                    <a:pt x="567" y="235"/>
                  </a:lnTo>
                  <a:lnTo>
                    <a:pt x="572" y="248"/>
                  </a:lnTo>
                  <a:lnTo>
                    <a:pt x="421" y="398"/>
                  </a:lnTo>
                  <a:lnTo>
                    <a:pt x="210" y="185"/>
                  </a:lnTo>
                  <a:lnTo>
                    <a:pt x="235" y="160"/>
                  </a:lnTo>
                  <a:lnTo>
                    <a:pt x="97" y="23"/>
                  </a:lnTo>
                  <a:lnTo>
                    <a:pt x="23" y="99"/>
                  </a:lnTo>
                  <a:lnTo>
                    <a:pt x="160" y="236"/>
                  </a:lnTo>
                  <a:lnTo>
                    <a:pt x="185" y="211"/>
                  </a:lnTo>
                  <a:lnTo>
                    <a:pt x="397" y="423"/>
                  </a:lnTo>
                  <a:lnTo>
                    <a:pt x="248" y="573"/>
                  </a:lnTo>
                  <a:lnTo>
                    <a:pt x="232" y="567"/>
                  </a:lnTo>
                  <a:lnTo>
                    <a:pt x="216" y="564"/>
                  </a:lnTo>
                  <a:lnTo>
                    <a:pt x="201" y="562"/>
                  </a:lnTo>
                  <a:lnTo>
                    <a:pt x="185" y="562"/>
                  </a:lnTo>
                  <a:lnTo>
                    <a:pt x="167" y="562"/>
                  </a:lnTo>
                  <a:lnTo>
                    <a:pt x="148" y="565"/>
                  </a:lnTo>
                  <a:lnTo>
                    <a:pt x="131" y="570"/>
                  </a:lnTo>
                  <a:lnTo>
                    <a:pt x="114" y="575"/>
                  </a:lnTo>
                  <a:lnTo>
                    <a:pt x="97" y="584"/>
                  </a:lnTo>
                  <a:lnTo>
                    <a:pt x="82" y="592"/>
                  </a:lnTo>
                  <a:lnTo>
                    <a:pt x="67" y="603"/>
                  </a:lnTo>
                  <a:lnTo>
                    <a:pt x="54" y="616"/>
                  </a:lnTo>
                  <a:lnTo>
                    <a:pt x="44" y="626"/>
                  </a:lnTo>
                  <a:lnTo>
                    <a:pt x="36" y="636"/>
                  </a:lnTo>
                  <a:lnTo>
                    <a:pt x="27" y="648"/>
                  </a:lnTo>
                  <a:lnTo>
                    <a:pt x="21" y="660"/>
                  </a:lnTo>
                  <a:lnTo>
                    <a:pt x="15" y="673"/>
                  </a:lnTo>
                  <a:lnTo>
                    <a:pt x="10" y="685"/>
                  </a:lnTo>
                  <a:lnTo>
                    <a:pt x="6" y="698"/>
                  </a:lnTo>
                  <a:lnTo>
                    <a:pt x="2" y="712"/>
                  </a:lnTo>
                  <a:lnTo>
                    <a:pt x="1" y="725"/>
                  </a:lnTo>
                  <a:lnTo>
                    <a:pt x="0" y="739"/>
                  </a:lnTo>
                  <a:lnTo>
                    <a:pt x="0" y="752"/>
                  </a:lnTo>
                  <a:lnTo>
                    <a:pt x="0" y="766"/>
                  </a:lnTo>
                  <a:lnTo>
                    <a:pt x="2" y="780"/>
                  </a:lnTo>
                  <a:lnTo>
                    <a:pt x="6" y="793"/>
                  </a:lnTo>
                  <a:lnTo>
                    <a:pt x="10" y="807"/>
                  </a:lnTo>
                  <a:lnTo>
                    <a:pt x="15" y="820"/>
                  </a:lnTo>
                  <a:lnTo>
                    <a:pt x="25" y="844"/>
                  </a:lnTo>
                  <a:lnTo>
                    <a:pt x="107" y="762"/>
                  </a:lnTo>
                  <a:lnTo>
                    <a:pt x="169" y="761"/>
                  </a:lnTo>
                  <a:lnTo>
                    <a:pt x="168" y="825"/>
                  </a:lnTo>
                  <a:lnTo>
                    <a:pt x="88" y="906"/>
                  </a:lnTo>
                  <a:lnTo>
                    <a:pt x="111" y="916"/>
                  </a:lnTo>
                  <a:lnTo>
                    <a:pt x="130" y="923"/>
                  </a:lnTo>
                  <a:lnTo>
                    <a:pt x="147" y="928"/>
                  </a:lnTo>
                  <a:lnTo>
                    <a:pt x="167" y="930"/>
                  </a:lnTo>
                  <a:lnTo>
                    <a:pt x="185" y="931"/>
                  </a:lnTo>
                  <a:lnTo>
                    <a:pt x="203" y="930"/>
                  </a:lnTo>
                  <a:lnTo>
                    <a:pt x="222" y="928"/>
                  </a:lnTo>
                  <a:lnTo>
                    <a:pt x="239" y="924"/>
                  </a:lnTo>
                  <a:lnTo>
                    <a:pt x="256" y="917"/>
                  </a:lnTo>
                  <a:lnTo>
                    <a:pt x="272" y="910"/>
                  </a:lnTo>
                  <a:lnTo>
                    <a:pt x="287" y="901"/>
                  </a:lnTo>
                  <a:lnTo>
                    <a:pt x="303" y="890"/>
                  </a:lnTo>
                  <a:lnTo>
                    <a:pt x="316" y="877"/>
                  </a:lnTo>
                  <a:lnTo>
                    <a:pt x="325" y="868"/>
                  </a:lnTo>
                  <a:lnTo>
                    <a:pt x="333" y="857"/>
                  </a:lnTo>
                  <a:lnTo>
                    <a:pt x="340" y="846"/>
                  </a:lnTo>
                  <a:lnTo>
                    <a:pt x="348" y="835"/>
                  </a:lnTo>
                  <a:lnTo>
                    <a:pt x="353" y="823"/>
                  </a:lnTo>
                  <a:lnTo>
                    <a:pt x="359" y="811"/>
                  </a:lnTo>
                  <a:lnTo>
                    <a:pt x="362" y="800"/>
                  </a:lnTo>
                  <a:lnTo>
                    <a:pt x="365" y="787"/>
                  </a:lnTo>
                  <a:lnTo>
                    <a:pt x="368" y="775"/>
                  </a:lnTo>
                  <a:lnTo>
                    <a:pt x="370" y="762"/>
                  </a:lnTo>
                  <a:lnTo>
                    <a:pt x="371" y="749"/>
                  </a:lnTo>
                  <a:lnTo>
                    <a:pt x="370" y="736"/>
                  </a:lnTo>
                  <a:lnTo>
                    <a:pt x="368" y="723"/>
                  </a:lnTo>
                  <a:lnTo>
                    <a:pt x="366" y="710"/>
                  </a:lnTo>
                  <a:lnTo>
                    <a:pt x="363" y="697"/>
                  </a:lnTo>
                  <a:lnTo>
                    <a:pt x="359" y="685"/>
                  </a:lnTo>
                  <a:lnTo>
                    <a:pt x="509" y="535"/>
                  </a:lnTo>
                  <a:lnTo>
                    <a:pt x="634" y="659"/>
                  </a:lnTo>
                  <a:lnTo>
                    <a:pt x="559" y="734"/>
                  </a:lnTo>
                  <a:lnTo>
                    <a:pt x="585" y="760"/>
                  </a:lnTo>
                  <a:lnTo>
                    <a:pt x="609" y="734"/>
                  </a:lnTo>
                  <a:lnTo>
                    <a:pt x="796" y="922"/>
                  </a:lnTo>
                  <a:lnTo>
                    <a:pt x="803" y="927"/>
                  </a:lnTo>
                  <a:lnTo>
                    <a:pt x="809" y="932"/>
                  </a:lnTo>
                  <a:lnTo>
                    <a:pt x="817" y="937"/>
                  </a:lnTo>
                  <a:lnTo>
                    <a:pt x="824" y="940"/>
                  </a:lnTo>
                  <a:lnTo>
                    <a:pt x="833" y="943"/>
                  </a:lnTo>
                  <a:lnTo>
                    <a:pt x="841" y="945"/>
                  </a:lnTo>
                  <a:lnTo>
                    <a:pt x="849" y="946"/>
                  </a:lnTo>
                  <a:lnTo>
                    <a:pt x="859" y="948"/>
                  </a:lnTo>
                  <a:lnTo>
                    <a:pt x="868" y="946"/>
                  </a:lnTo>
                  <a:lnTo>
                    <a:pt x="876" y="945"/>
                  </a:lnTo>
                  <a:lnTo>
                    <a:pt x="884" y="943"/>
                  </a:lnTo>
                  <a:lnTo>
                    <a:pt x="892" y="940"/>
                  </a:lnTo>
                  <a:lnTo>
                    <a:pt x="900" y="937"/>
                  </a:lnTo>
                  <a:lnTo>
                    <a:pt x="907" y="932"/>
                  </a:lnTo>
                  <a:lnTo>
                    <a:pt x="914" y="927"/>
                  </a:lnTo>
                  <a:lnTo>
                    <a:pt x="920" y="922"/>
                  </a:lnTo>
                  <a:lnTo>
                    <a:pt x="927" y="914"/>
                  </a:lnTo>
                  <a:lnTo>
                    <a:pt x="932" y="908"/>
                  </a:lnTo>
                  <a:lnTo>
                    <a:pt x="937" y="900"/>
                  </a:lnTo>
                  <a:lnTo>
                    <a:pt x="940" y="892"/>
                  </a:lnTo>
                  <a:lnTo>
                    <a:pt x="943" y="884"/>
                  </a:lnTo>
                  <a:lnTo>
                    <a:pt x="945" y="875"/>
                  </a:lnTo>
                  <a:lnTo>
                    <a:pt x="946" y="868"/>
                  </a:lnTo>
                  <a:lnTo>
                    <a:pt x="946" y="859"/>
                  </a:lnTo>
                  <a:lnTo>
                    <a:pt x="946" y="850"/>
                  </a:lnTo>
                  <a:lnTo>
                    <a:pt x="945" y="842"/>
                  </a:lnTo>
                  <a:lnTo>
                    <a:pt x="943" y="834"/>
                  </a:lnTo>
                  <a:lnTo>
                    <a:pt x="940" y="825"/>
                  </a:lnTo>
                  <a:lnTo>
                    <a:pt x="937" y="818"/>
                  </a:lnTo>
                  <a:lnTo>
                    <a:pt x="932" y="810"/>
                  </a:lnTo>
                  <a:lnTo>
                    <a:pt x="927" y="803"/>
                  </a:lnTo>
                  <a:lnTo>
                    <a:pt x="920" y="7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1" name="Rectangle 40"/>
            <p:cNvSpPr/>
            <p:nvPr/>
          </p:nvSpPr>
          <p:spPr>
            <a:xfrm>
              <a:off x="1243245" y="3965072"/>
              <a:ext cx="2549762" cy="553998"/>
            </a:xfrm>
            <a:prstGeom prst="rect">
              <a:avLst/>
            </a:prstGeom>
          </p:spPr>
          <p:txBody>
            <a:bodyPr wrap="square">
              <a:spAutoFit/>
            </a:bodyPr>
            <a:lstStyle/>
            <a:p>
              <a:pPr algn="r">
                <a:buClr>
                  <a:srgbClr val="E24848"/>
                </a:buClr>
                <a:defRPr/>
              </a:pPr>
              <a:r>
                <a:rPr lang="en-US" sz="10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ermentuLorem</a:t>
              </a:r>
            </a:p>
          </p:txBody>
        </p:sp>
        <p:sp>
          <p:nvSpPr>
            <p:cNvPr id="42" name="Rectangle 41"/>
            <p:cNvSpPr/>
            <p:nvPr/>
          </p:nvSpPr>
          <p:spPr>
            <a:xfrm>
              <a:off x="2079647" y="3679635"/>
              <a:ext cx="1713359" cy="276999"/>
            </a:xfrm>
            <a:prstGeom prst="rect">
              <a:avLst/>
            </a:prstGeom>
            <a:noFill/>
          </p:spPr>
          <p:txBody>
            <a:bodyPr wrap="square">
              <a:spAutoFit/>
            </a:bodyPr>
            <a:lstStyle/>
            <a:p>
              <a:pPr algn="r"/>
              <a:r>
                <a:rPr lang="en-US" sz="1200" noProof="1">
                  <a:solidFill>
                    <a:schemeClr val="tx1">
                      <a:lumMod val="85000"/>
                      <a:lumOff val="15000"/>
                    </a:schemeClr>
                  </a:solidFill>
                  <a:latin typeface="Montserrat" panose="00000500000000000000" pitchFamily="2" charset="0"/>
                  <a:ea typeface="Roboto Light" panose="02000000000000000000" pitchFamily="2" charset="0"/>
                  <a:cs typeface="Open Sans" panose="020B0606030504020204" pitchFamily="34" charset="0"/>
                </a:rPr>
                <a:t>FROM </a:t>
              </a:r>
              <a:r>
                <a:rPr lang="en-US" sz="1200" b="1" noProof="1">
                  <a:solidFill>
                    <a:srgbClr val="01678C"/>
                  </a:solidFill>
                  <a:latin typeface="Montserrat" panose="00000500000000000000" pitchFamily="2" charset="0"/>
                  <a:ea typeface="Roboto Light" panose="02000000000000000000" pitchFamily="2" charset="0"/>
                  <a:cs typeface="Open Sans" panose="020B0606030504020204" pitchFamily="34" charset="0"/>
                </a:rPr>
                <a:t>THE BEST</a:t>
              </a:r>
            </a:p>
          </p:txBody>
        </p:sp>
        <p:sp>
          <p:nvSpPr>
            <p:cNvPr id="43" name="Rectangle 42"/>
            <p:cNvSpPr/>
            <p:nvPr/>
          </p:nvSpPr>
          <p:spPr>
            <a:xfrm>
              <a:off x="2373750" y="2289866"/>
              <a:ext cx="2850339" cy="400110"/>
            </a:xfrm>
            <a:prstGeom prst="rect">
              <a:avLst/>
            </a:prstGeom>
          </p:spPr>
          <p:txBody>
            <a:bodyPr wrap="square">
              <a:spAutoFit/>
            </a:bodyPr>
            <a:lstStyle/>
            <a:p>
              <a:pPr algn="r">
                <a:buClr>
                  <a:srgbClr val="E24848"/>
                </a:buClr>
                <a:defRPr/>
              </a:pPr>
              <a:r>
                <a:rPr lang="en-US" sz="10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ermentuLorem</a:t>
              </a:r>
            </a:p>
          </p:txBody>
        </p:sp>
        <p:sp>
          <p:nvSpPr>
            <p:cNvPr id="44" name="Rectangle 43"/>
            <p:cNvSpPr/>
            <p:nvPr/>
          </p:nvSpPr>
          <p:spPr>
            <a:xfrm>
              <a:off x="3510729" y="2004429"/>
              <a:ext cx="1713359" cy="276999"/>
            </a:xfrm>
            <a:prstGeom prst="rect">
              <a:avLst/>
            </a:prstGeom>
            <a:noFill/>
          </p:spPr>
          <p:txBody>
            <a:bodyPr wrap="square">
              <a:spAutoFit/>
            </a:bodyPr>
            <a:lstStyle/>
            <a:p>
              <a:pPr algn="r"/>
              <a:r>
                <a:rPr lang="en-US" sz="1200" noProof="1">
                  <a:solidFill>
                    <a:schemeClr val="tx1">
                      <a:lumMod val="85000"/>
                      <a:lumOff val="15000"/>
                    </a:schemeClr>
                  </a:solidFill>
                  <a:latin typeface="Montserrat" panose="00000500000000000000" pitchFamily="2" charset="0"/>
                  <a:ea typeface="Roboto Light" panose="02000000000000000000" pitchFamily="2" charset="0"/>
                  <a:cs typeface="Open Sans" panose="020B0606030504020204" pitchFamily="34" charset="0"/>
                </a:rPr>
                <a:t>FROM </a:t>
              </a:r>
              <a:r>
                <a:rPr lang="en-US" sz="1200" b="1" noProof="1">
                  <a:solidFill>
                    <a:srgbClr val="01678C"/>
                  </a:solidFill>
                  <a:latin typeface="Montserrat" panose="00000500000000000000" pitchFamily="2" charset="0"/>
                  <a:ea typeface="Roboto Light" panose="02000000000000000000" pitchFamily="2" charset="0"/>
                  <a:cs typeface="Open Sans" panose="020B0606030504020204" pitchFamily="34" charset="0"/>
                </a:rPr>
                <a:t>THE BEST</a:t>
              </a:r>
            </a:p>
          </p:txBody>
        </p:sp>
        <p:sp>
          <p:nvSpPr>
            <p:cNvPr id="45" name="Rectangle 44"/>
            <p:cNvSpPr/>
            <p:nvPr/>
          </p:nvSpPr>
          <p:spPr>
            <a:xfrm>
              <a:off x="8583209" y="4666007"/>
              <a:ext cx="2549762" cy="553998"/>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ermentuLorem</a:t>
              </a:r>
            </a:p>
          </p:txBody>
        </p:sp>
        <p:sp>
          <p:nvSpPr>
            <p:cNvPr id="46" name="Rectangle 45"/>
            <p:cNvSpPr/>
            <p:nvPr/>
          </p:nvSpPr>
          <p:spPr>
            <a:xfrm>
              <a:off x="8583209" y="4380570"/>
              <a:ext cx="1713359" cy="276999"/>
            </a:xfrm>
            <a:prstGeom prst="rect">
              <a:avLst/>
            </a:prstGeom>
            <a:noFill/>
          </p:spPr>
          <p:txBody>
            <a:bodyPr wrap="square">
              <a:spAutoFit/>
            </a:bodyPr>
            <a:lstStyle/>
            <a:p>
              <a:r>
                <a:rPr lang="en-US" sz="1200" noProof="1">
                  <a:solidFill>
                    <a:schemeClr val="tx1">
                      <a:lumMod val="85000"/>
                      <a:lumOff val="15000"/>
                    </a:schemeClr>
                  </a:solidFill>
                  <a:latin typeface="Montserrat" panose="00000500000000000000" pitchFamily="2" charset="0"/>
                  <a:ea typeface="Roboto Light" panose="02000000000000000000" pitchFamily="2" charset="0"/>
                  <a:cs typeface="Open Sans" panose="020B0606030504020204" pitchFamily="34" charset="0"/>
                </a:rPr>
                <a:t>FROM </a:t>
              </a:r>
              <a:r>
                <a:rPr lang="en-US" sz="1200" b="1" noProof="1">
                  <a:solidFill>
                    <a:srgbClr val="01678C"/>
                  </a:solidFill>
                  <a:latin typeface="Montserrat" panose="00000500000000000000" pitchFamily="2" charset="0"/>
                  <a:ea typeface="Roboto Light" panose="02000000000000000000" pitchFamily="2" charset="0"/>
                  <a:cs typeface="Open Sans" panose="020B0606030504020204" pitchFamily="34" charset="0"/>
                </a:rPr>
                <a:t>THE BEST</a:t>
              </a:r>
            </a:p>
          </p:txBody>
        </p:sp>
      </p:grpSp>
    </p:spTree>
    <p:extLst>
      <p:ext uri="{BB962C8B-B14F-4D97-AF65-F5344CB8AC3E}">
        <p14:creationId xmlns:p14="http://schemas.microsoft.com/office/powerpoint/2010/main" val="2252727025"/>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23" y="6664283"/>
            <a:ext cx="12189983" cy="206419"/>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
          <p:cNvSpPr/>
          <p:nvPr/>
        </p:nvSpPr>
        <p:spPr>
          <a:xfrm>
            <a:off x="5056966" y="6530678"/>
            <a:ext cx="2078068" cy="222924"/>
          </a:xfrm>
          <a:prstGeom prst="roundRect">
            <a:avLst>
              <a:gd name="adj" fmla="val 50000"/>
            </a:avLst>
          </a:prstGeom>
          <a:solidFill>
            <a:srgbClr val="018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effectLst>
                <a:outerShdw blurRad="63500" sx="102000" sy="102000" algn="ctr" rotWithShape="0">
                  <a:prstClr val="black">
                    <a:alpha val="40000"/>
                  </a:prstClr>
                </a:outerShdw>
              </a:effectLst>
              <a:latin typeface="+mj-lt"/>
            </a:endParaRPr>
          </a:p>
        </p:txBody>
      </p:sp>
      <p:cxnSp>
        <p:nvCxnSpPr>
          <p:cNvPr id="4" name="Straight Connector 3"/>
          <p:cNvCxnSpPr/>
          <p:nvPr/>
        </p:nvCxnSpPr>
        <p:spPr>
          <a:xfrm>
            <a:off x="6512721" y="6567488"/>
            <a:ext cx="0" cy="154781"/>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6665393" y="6505535"/>
            <a:ext cx="335348" cy="261610"/>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16</a:t>
            </a:r>
          </a:p>
        </p:txBody>
      </p:sp>
      <p:sp>
        <p:nvSpPr>
          <p:cNvPr id="6" name="Date Placeholder 1"/>
          <p:cNvSpPr txBox="1">
            <a:spLocks/>
          </p:cNvSpPr>
          <p:nvPr>
            <p:custDataLst>
              <p:tags r:id="rId1"/>
            </p:custDataLst>
          </p:nvPr>
        </p:nvSpPr>
        <p:spPr>
          <a:xfrm>
            <a:off x="5006809" y="6498189"/>
            <a:ext cx="1530941"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Segoe UI" panose="020B0502040204020203" pitchFamily="34" charset="0"/>
                <a:ea typeface="Open Sans Light" panose="020B0306030504020204" pitchFamily="34" charset="0"/>
                <a:cs typeface="Segoe UI" panose="020B0502040204020203" pitchFamily="34" charset="0"/>
              </a:rPr>
              <a:t>www.yourcompanyname.com</a:t>
            </a:r>
          </a:p>
        </p:txBody>
      </p:sp>
      <p:sp>
        <p:nvSpPr>
          <p:cNvPr id="8" name="Title 11"/>
          <p:cNvSpPr txBox="1">
            <a:spLocks/>
          </p:cNvSpPr>
          <p:nvPr/>
        </p:nvSpPr>
        <p:spPr>
          <a:xfrm>
            <a:off x="4378420" y="1189094"/>
            <a:ext cx="3435161" cy="192764"/>
          </a:xfrm>
          <a:prstGeom prst="rect">
            <a:avLst/>
          </a:prstGeom>
        </p:spPr>
        <p:txBody>
          <a:bodyPr vert="horz"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dirty="0">
                <a:solidFill>
                  <a:schemeClr val="tx1">
                    <a:lumMod val="85000"/>
                    <a:lumOff val="15000"/>
                  </a:schemeClr>
                </a:solidFill>
                <a:ea typeface="Roboto" panose="02000000000000000000" pitchFamily="2" charset="0"/>
                <a:cs typeface="Open Sans Light" panose="020B0306030504020204" pitchFamily="34" charset="0"/>
              </a:rPr>
              <a:t>Insert Your Creative Idea </a:t>
            </a:r>
          </a:p>
        </p:txBody>
      </p:sp>
      <p:sp>
        <p:nvSpPr>
          <p:cNvPr id="26" name="Title 11"/>
          <p:cNvSpPr txBox="1">
            <a:spLocks/>
          </p:cNvSpPr>
          <p:nvPr/>
        </p:nvSpPr>
        <p:spPr>
          <a:xfrm>
            <a:off x="987778" y="557390"/>
            <a:ext cx="10216444"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1" spc="-150" dirty="0">
                <a:solidFill>
                  <a:srgbClr val="01678C"/>
                </a:solidFill>
                <a:latin typeface="Montserrat" panose="00000500000000000000" pitchFamily="2" charset="0"/>
                <a:ea typeface="Roboto" panose="02000000000000000000" pitchFamily="2" charset="0"/>
                <a:cs typeface="Times New Roman" panose="02020603050405020304" pitchFamily="18" charset="0"/>
              </a:rPr>
              <a:t>Marketing</a:t>
            </a:r>
            <a:r>
              <a:rPr lang="en-US" sz="3600" b="1" spc="-150" dirty="0">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rPr>
              <a:t> </a:t>
            </a:r>
            <a:r>
              <a:rPr lang="en-US" sz="3600" spc="-150" dirty="0">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rPr>
              <a:t>Infographic </a:t>
            </a:r>
          </a:p>
        </p:txBody>
      </p:sp>
      <p:sp>
        <p:nvSpPr>
          <p:cNvPr id="7" name="Arc 6"/>
          <p:cNvSpPr/>
          <p:nvPr/>
        </p:nvSpPr>
        <p:spPr>
          <a:xfrm flipH="1">
            <a:off x="4712779" y="1810310"/>
            <a:ext cx="3938672" cy="3938672"/>
          </a:xfrm>
          <a:prstGeom prst="arc">
            <a:avLst>
              <a:gd name="adj1" fmla="val 4021687"/>
              <a:gd name="adj2" fmla="val 14537262"/>
            </a:avLst>
          </a:prstGeom>
          <a:solidFill>
            <a:schemeClr val="bg1">
              <a:lumMod val="95000"/>
            </a:schemeClr>
          </a:solidFill>
          <a:ln>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Oval 8"/>
          <p:cNvSpPr/>
          <p:nvPr/>
        </p:nvSpPr>
        <p:spPr>
          <a:xfrm>
            <a:off x="5324750" y="2526539"/>
            <a:ext cx="2606820" cy="2606814"/>
          </a:xfrm>
          <a:prstGeom prst="ellipse">
            <a:avLst/>
          </a:prstGeom>
          <a:solidFill>
            <a:srgbClr val="018ABB"/>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Oval 9"/>
          <p:cNvSpPr/>
          <p:nvPr/>
        </p:nvSpPr>
        <p:spPr>
          <a:xfrm>
            <a:off x="8067064" y="2135020"/>
            <a:ext cx="831273" cy="831273"/>
          </a:xfrm>
          <a:prstGeom prst="ellipse">
            <a:avLst/>
          </a:prstGeom>
          <a:noFill/>
          <a:ln>
            <a:solidFill>
              <a:srgbClr val="0167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Oval 10"/>
          <p:cNvSpPr/>
          <p:nvPr/>
        </p:nvSpPr>
        <p:spPr>
          <a:xfrm>
            <a:off x="8197357" y="3375945"/>
            <a:ext cx="831273" cy="831273"/>
          </a:xfrm>
          <a:prstGeom prst="ellipse">
            <a:avLst/>
          </a:prstGeom>
          <a:noFill/>
          <a:ln>
            <a:solidFill>
              <a:srgbClr val="0167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Oval 11"/>
          <p:cNvSpPr/>
          <p:nvPr/>
        </p:nvSpPr>
        <p:spPr>
          <a:xfrm>
            <a:off x="7907612" y="4656821"/>
            <a:ext cx="831273" cy="831273"/>
          </a:xfrm>
          <a:prstGeom prst="ellipse">
            <a:avLst/>
          </a:prstGeom>
          <a:noFill/>
          <a:ln>
            <a:solidFill>
              <a:srgbClr val="0167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Freeform 41"/>
          <p:cNvSpPr>
            <a:spLocks/>
          </p:cNvSpPr>
          <p:nvPr/>
        </p:nvSpPr>
        <p:spPr bwMode="auto">
          <a:xfrm>
            <a:off x="8408290" y="2353158"/>
            <a:ext cx="173740" cy="370640"/>
          </a:xfrm>
          <a:custGeom>
            <a:avLst/>
            <a:gdLst>
              <a:gd name="T0" fmla="*/ 180 w 180"/>
              <a:gd name="T1" fmla="*/ 124 h 385"/>
              <a:gd name="T2" fmla="*/ 120 w 180"/>
              <a:gd name="T3" fmla="*/ 124 h 385"/>
              <a:gd name="T4" fmla="*/ 120 w 180"/>
              <a:gd name="T5" fmla="*/ 84 h 385"/>
              <a:gd name="T6" fmla="*/ 120 w 180"/>
              <a:gd name="T7" fmla="*/ 84 h 385"/>
              <a:gd name="T8" fmla="*/ 122 w 180"/>
              <a:gd name="T9" fmla="*/ 74 h 385"/>
              <a:gd name="T10" fmla="*/ 126 w 180"/>
              <a:gd name="T11" fmla="*/ 70 h 385"/>
              <a:gd name="T12" fmla="*/ 130 w 180"/>
              <a:gd name="T13" fmla="*/ 66 h 385"/>
              <a:gd name="T14" fmla="*/ 136 w 180"/>
              <a:gd name="T15" fmla="*/ 66 h 385"/>
              <a:gd name="T16" fmla="*/ 136 w 180"/>
              <a:gd name="T17" fmla="*/ 66 h 385"/>
              <a:gd name="T18" fmla="*/ 180 w 180"/>
              <a:gd name="T19" fmla="*/ 66 h 385"/>
              <a:gd name="T20" fmla="*/ 180 w 180"/>
              <a:gd name="T21" fmla="*/ 0 h 385"/>
              <a:gd name="T22" fmla="*/ 120 w 180"/>
              <a:gd name="T23" fmla="*/ 0 h 385"/>
              <a:gd name="T24" fmla="*/ 120 w 180"/>
              <a:gd name="T25" fmla="*/ 0 h 385"/>
              <a:gd name="T26" fmla="*/ 98 w 180"/>
              <a:gd name="T27" fmla="*/ 2 h 385"/>
              <a:gd name="T28" fmla="*/ 80 w 180"/>
              <a:gd name="T29" fmla="*/ 8 h 385"/>
              <a:gd name="T30" fmla="*/ 66 w 180"/>
              <a:gd name="T31" fmla="*/ 16 h 385"/>
              <a:gd name="T32" fmla="*/ 54 w 180"/>
              <a:gd name="T33" fmla="*/ 28 h 385"/>
              <a:gd name="T34" fmla="*/ 48 w 180"/>
              <a:gd name="T35" fmla="*/ 40 h 385"/>
              <a:gd name="T36" fmla="*/ 42 w 180"/>
              <a:gd name="T37" fmla="*/ 54 h 385"/>
              <a:gd name="T38" fmla="*/ 40 w 180"/>
              <a:gd name="T39" fmla="*/ 68 h 385"/>
              <a:gd name="T40" fmla="*/ 40 w 180"/>
              <a:gd name="T41" fmla="*/ 80 h 385"/>
              <a:gd name="T42" fmla="*/ 40 w 180"/>
              <a:gd name="T43" fmla="*/ 124 h 385"/>
              <a:gd name="T44" fmla="*/ 0 w 180"/>
              <a:gd name="T45" fmla="*/ 124 h 385"/>
              <a:gd name="T46" fmla="*/ 0 w 180"/>
              <a:gd name="T47" fmla="*/ 192 h 385"/>
              <a:gd name="T48" fmla="*/ 40 w 180"/>
              <a:gd name="T49" fmla="*/ 192 h 385"/>
              <a:gd name="T50" fmla="*/ 40 w 180"/>
              <a:gd name="T51" fmla="*/ 192 h 385"/>
              <a:gd name="T52" fmla="*/ 40 w 180"/>
              <a:gd name="T53" fmla="*/ 385 h 385"/>
              <a:gd name="T54" fmla="*/ 120 w 180"/>
              <a:gd name="T55" fmla="*/ 385 h 385"/>
              <a:gd name="T56" fmla="*/ 120 w 180"/>
              <a:gd name="T57" fmla="*/ 385 h 385"/>
              <a:gd name="T58" fmla="*/ 120 w 180"/>
              <a:gd name="T59" fmla="*/ 192 h 385"/>
              <a:gd name="T60" fmla="*/ 174 w 180"/>
              <a:gd name="T61" fmla="*/ 192 h 385"/>
              <a:gd name="T62" fmla="*/ 180 w 180"/>
              <a:gd name="T63" fmla="*/ 12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385">
                <a:moveTo>
                  <a:pt x="180" y="124"/>
                </a:moveTo>
                <a:lnTo>
                  <a:pt x="120" y="124"/>
                </a:lnTo>
                <a:lnTo>
                  <a:pt x="120" y="84"/>
                </a:lnTo>
                <a:lnTo>
                  <a:pt x="120" y="84"/>
                </a:lnTo>
                <a:lnTo>
                  <a:pt x="122" y="74"/>
                </a:lnTo>
                <a:lnTo>
                  <a:pt x="126" y="70"/>
                </a:lnTo>
                <a:lnTo>
                  <a:pt x="130" y="66"/>
                </a:lnTo>
                <a:lnTo>
                  <a:pt x="136" y="66"/>
                </a:lnTo>
                <a:lnTo>
                  <a:pt x="136" y="66"/>
                </a:lnTo>
                <a:lnTo>
                  <a:pt x="180" y="66"/>
                </a:lnTo>
                <a:lnTo>
                  <a:pt x="180" y="0"/>
                </a:lnTo>
                <a:lnTo>
                  <a:pt x="120" y="0"/>
                </a:lnTo>
                <a:lnTo>
                  <a:pt x="120" y="0"/>
                </a:lnTo>
                <a:lnTo>
                  <a:pt x="98" y="2"/>
                </a:lnTo>
                <a:lnTo>
                  <a:pt x="80" y="8"/>
                </a:lnTo>
                <a:lnTo>
                  <a:pt x="66" y="16"/>
                </a:lnTo>
                <a:lnTo>
                  <a:pt x="54" y="28"/>
                </a:lnTo>
                <a:lnTo>
                  <a:pt x="48" y="40"/>
                </a:lnTo>
                <a:lnTo>
                  <a:pt x="42" y="54"/>
                </a:lnTo>
                <a:lnTo>
                  <a:pt x="40" y="68"/>
                </a:lnTo>
                <a:lnTo>
                  <a:pt x="40" y="80"/>
                </a:lnTo>
                <a:lnTo>
                  <a:pt x="40" y="124"/>
                </a:lnTo>
                <a:lnTo>
                  <a:pt x="0" y="124"/>
                </a:lnTo>
                <a:lnTo>
                  <a:pt x="0" y="192"/>
                </a:lnTo>
                <a:lnTo>
                  <a:pt x="40" y="192"/>
                </a:lnTo>
                <a:lnTo>
                  <a:pt x="40" y="192"/>
                </a:lnTo>
                <a:lnTo>
                  <a:pt x="40" y="385"/>
                </a:lnTo>
                <a:lnTo>
                  <a:pt x="120" y="385"/>
                </a:lnTo>
                <a:lnTo>
                  <a:pt x="120" y="385"/>
                </a:lnTo>
                <a:lnTo>
                  <a:pt x="120" y="192"/>
                </a:lnTo>
                <a:lnTo>
                  <a:pt x="174" y="192"/>
                </a:lnTo>
                <a:lnTo>
                  <a:pt x="180" y="124"/>
                </a:lnTo>
                <a:close/>
              </a:path>
            </a:pathLst>
          </a:custGeom>
          <a:solidFill>
            <a:srgbClr val="01678C"/>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184"/>
          <p:cNvSpPr>
            <a:spLocks/>
          </p:cNvSpPr>
          <p:nvPr/>
        </p:nvSpPr>
        <p:spPr bwMode="auto">
          <a:xfrm>
            <a:off x="8102812" y="4913691"/>
            <a:ext cx="421524" cy="342355"/>
          </a:xfrm>
          <a:custGeom>
            <a:avLst/>
            <a:gdLst>
              <a:gd name="T0" fmla="*/ 393 w 393"/>
              <a:gd name="T1" fmla="*/ 38 h 319"/>
              <a:gd name="T2" fmla="*/ 347 w 393"/>
              <a:gd name="T3" fmla="*/ 52 h 319"/>
              <a:gd name="T4" fmla="*/ 359 w 393"/>
              <a:gd name="T5" fmla="*/ 42 h 319"/>
              <a:gd name="T6" fmla="*/ 377 w 393"/>
              <a:gd name="T7" fmla="*/ 20 h 319"/>
              <a:gd name="T8" fmla="*/ 383 w 393"/>
              <a:gd name="T9" fmla="*/ 6 h 319"/>
              <a:gd name="T10" fmla="*/ 345 w 393"/>
              <a:gd name="T11" fmla="*/ 22 h 319"/>
              <a:gd name="T12" fmla="*/ 331 w 393"/>
              <a:gd name="T13" fmla="*/ 26 h 319"/>
              <a:gd name="T14" fmla="*/ 305 w 393"/>
              <a:gd name="T15" fmla="*/ 8 h 319"/>
              <a:gd name="T16" fmla="*/ 273 w 393"/>
              <a:gd name="T17" fmla="*/ 0 h 319"/>
              <a:gd name="T18" fmla="*/ 255 w 393"/>
              <a:gd name="T19" fmla="*/ 2 h 319"/>
              <a:gd name="T20" fmla="*/ 227 w 393"/>
              <a:gd name="T21" fmla="*/ 14 h 319"/>
              <a:gd name="T22" fmla="*/ 205 w 393"/>
              <a:gd name="T23" fmla="*/ 36 h 319"/>
              <a:gd name="T24" fmla="*/ 193 w 393"/>
              <a:gd name="T25" fmla="*/ 64 h 319"/>
              <a:gd name="T26" fmla="*/ 191 w 393"/>
              <a:gd name="T27" fmla="*/ 82 h 319"/>
              <a:gd name="T28" fmla="*/ 193 w 393"/>
              <a:gd name="T29" fmla="*/ 100 h 319"/>
              <a:gd name="T30" fmla="*/ 145 w 393"/>
              <a:gd name="T31" fmla="*/ 92 h 319"/>
              <a:gd name="T32" fmla="*/ 99 w 393"/>
              <a:gd name="T33" fmla="*/ 74 h 319"/>
              <a:gd name="T34" fmla="*/ 62 w 393"/>
              <a:gd name="T35" fmla="*/ 48 h 319"/>
              <a:gd name="T36" fmla="*/ 28 w 393"/>
              <a:gd name="T37" fmla="*/ 16 h 319"/>
              <a:gd name="T38" fmla="*/ 24 w 393"/>
              <a:gd name="T39" fmla="*/ 24 h 319"/>
              <a:gd name="T40" fmla="*/ 18 w 393"/>
              <a:gd name="T41" fmla="*/ 44 h 319"/>
              <a:gd name="T42" fmla="*/ 16 w 393"/>
              <a:gd name="T43" fmla="*/ 56 h 319"/>
              <a:gd name="T44" fmla="*/ 20 w 393"/>
              <a:gd name="T45" fmla="*/ 76 h 319"/>
              <a:gd name="T46" fmla="*/ 26 w 393"/>
              <a:gd name="T47" fmla="*/ 94 h 319"/>
              <a:gd name="T48" fmla="*/ 52 w 393"/>
              <a:gd name="T49" fmla="*/ 124 h 319"/>
              <a:gd name="T50" fmla="*/ 34 w 393"/>
              <a:gd name="T51" fmla="*/ 120 h 319"/>
              <a:gd name="T52" fmla="*/ 16 w 393"/>
              <a:gd name="T53" fmla="*/ 114 h 319"/>
              <a:gd name="T54" fmla="*/ 16 w 393"/>
              <a:gd name="T55" fmla="*/ 114 h 319"/>
              <a:gd name="T56" fmla="*/ 22 w 393"/>
              <a:gd name="T57" fmla="*/ 142 h 319"/>
              <a:gd name="T58" fmla="*/ 34 w 393"/>
              <a:gd name="T59" fmla="*/ 166 h 319"/>
              <a:gd name="T60" fmla="*/ 56 w 393"/>
              <a:gd name="T61" fmla="*/ 183 h 319"/>
              <a:gd name="T62" fmla="*/ 82 w 393"/>
              <a:gd name="T63" fmla="*/ 193 h 319"/>
              <a:gd name="T64" fmla="*/ 70 w 393"/>
              <a:gd name="T65" fmla="*/ 195 h 319"/>
              <a:gd name="T66" fmla="*/ 60 w 393"/>
              <a:gd name="T67" fmla="*/ 195 h 319"/>
              <a:gd name="T68" fmla="*/ 44 w 393"/>
              <a:gd name="T69" fmla="*/ 193 h 319"/>
              <a:gd name="T70" fmla="*/ 56 w 393"/>
              <a:gd name="T71" fmla="*/ 215 h 319"/>
              <a:gd name="T72" fmla="*/ 72 w 393"/>
              <a:gd name="T73" fmla="*/ 233 h 319"/>
              <a:gd name="T74" fmla="*/ 93 w 393"/>
              <a:gd name="T75" fmla="*/ 245 h 319"/>
              <a:gd name="T76" fmla="*/ 119 w 393"/>
              <a:gd name="T77" fmla="*/ 249 h 319"/>
              <a:gd name="T78" fmla="*/ 97 w 393"/>
              <a:gd name="T79" fmla="*/ 265 h 319"/>
              <a:gd name="T80" fmla="*/ 48 w 393"/>
              <a:gd name="T81" fmla="*/ 283 h 319"/>
              <a:gd name="T82" fmla="*/ 20 w 393"/>
              <a:gd name="T83" fmla="*/ 285 h 319"/>
              <a:gd name="T84" fmla="*/ 0 w 393"/>
              <a:gd name="T85" fmla="*/ 283 h 319"/>
              <a:gd name="T86" fmla="*/ 28 w 393"/>
              <a:gd name="T87" fmla="*/ 299 h 319"/>
              <a:gd name="T88" fmla="*/ 89 w 393"/>
              <a:gd name="T89" fmla="*/ 317 h 319"/>
              <a:gd name="T90" fmla="*/ 123 w 393"/>
              <a:gd name="T91" fmla="*/ 319 h 319"/>
              <a:gd name="T92" fmla="*/ 151 w 393"/>
              <a:gd name="T93" fmla="*/ 319 h 319"/>
              <a:gd name="T94" fmla="*/ 199 w 393"/>
              <a:gd name="T95" fmla="*/ 307 h 319"/>
              <a:gd name="T96" fmla="*/ 243 w 393"/>
              <a:gd name="T97" fmla="*/ 287 h 319"/>
              <a:gd name="T98" fmla="*/ 279 w 393"/>
              <a:gd name="T99" fmla="*/ 261 h 319"/>
              <a:gd name="T100" fmla="*/ 307 w 393"/>
              <a:gd name="T101" fmla="*/ 227 h 319"/>
              <a:gd name="T102" fmla="*/ 329 w 393"/>
              <a:gd name="T103" fmla="*/ 191 h 319"/>
              <a:gd name="T104" fmla="*/ 345 w 393"/>
              <a:gd name="T105" fmla="*/ 152 h 319"/>
              <a:gd name="T106" fmla="*/ 353 w 393"/>
              <a:gd name="T107" fmla="*/ 110 h 319"/>
              <a:gd name="T108" fmla="*/ 353 w 393"/>
              <a:gd name="T109" fmla="*/ 90 h 319"/>
              <a:gd name="T110" fmla="*/ 353 w 393"/>
              <a:gd name="T111" fmla="*/ 80 h 319"/>
              <a:gd name="T112" fmla="*/ 375 w 393"/>
              <a:gd name="T113" fmla="*/ 62 h 319"/>
              <a:gd name="T114" fmla="*/ 393 w 393"/>
              <a:gd name="T115" fmla="*/ 3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3" h="319">
                <a:moveTo>
                  <a:pt x="393" y="38"/>
                </a:moveTo>
                <a:lnTo>
                  <a:pt x="393" y="38"/>
                </a:lnTo>
                <a:lnTo>
                  <a:pt x="371" y="46"/>
                </a:lnTo>
                <a:lnTo>
                  <a:pt x="347" y="52"/>
                </a:lnTo>
                <a:lnTo>
                  <a:pt x="347" y="52"/>
                </a:lnTo>
                <a:lnTo>
                  <a:pt x="359" y="42"/>
                </a:lnTo>
                <a:lnTo>
                  <a:pt x="369" y="32"/>
                </a:lnTo>
                <a:lnTo>
                  <a:pt x="377" y="20"/>
                </a:lnTo>
                <a:lnTo>
                  <a:pt x="383" y="6"/>
                </a:lnTo>
                <a:lnTo>
                  <a:pt x="383" y="6"/>
                </a:lnTo>
                <a:lnTo>
                  <a:pt x="357" y="18"/>
                </a:lnTo>
                <a:lnTo>
                  <a:pt x="345" y="22"/>
                </a:lnTo>
                <a:lnTo>
                  <a:pt x="331" y="26"/>
                </a:lnTo>
                <a:lnTo>
                  <a:pt x="331" y="26"/>
                </a:lnTo>
                <a:lnTo>
                  <a:pt x="319" y="16"/>
                </a:lnTo>
                <a:lnTo>
                  <a:pt x="305" y="8"/>
                </a:lnTo>
                <a:lnTo>
                  <a:pt x="289" y="2"/>
                </a:lnTo>
                <a:lnTo>
                  <a:pt x="273" y="0"/>
                </a:lnTo>
                <a:lnTo>
                  <a:pt x="273" y="0"/>
                </a:lnTo>
                <a:lnTo>
                  <a:pt x="255" y="2"/>
                </a:lnTo>
                <a:lnTo>
                  <a:pt x="241" y="6"/>
                </a:lnTo>
                <a:lnTo>
                  <a:pt x="227" y="14"/>
                </a:lnTo>
                <a:lnTo>
                  <a:pt x="215" y="24"/>
                </a:lnTo>
                <a:lnTo>
                  <a:pt x="205" y="36"/>
                </a:lnTo>
                <a:lnTo>
                  <a:pt x="197" y="50"/>
                </a:lnTo>
                <a:lnTo>
                  <a:pt x="193" y="64"/>
                </a:lnTo>
                <a:lnTo>
                  <a:pt x="191" y="82"/>
                </a:lnTo>
                <a:lnTo>
                  <a:pt x="191" y="82"/>
                </a:lnTo>
                <a:lnTo>
                  <a:pt x="193" y="100"/>
                </a:lnTo>
                <a:lnTo>
                  <a:pt x="193" y="100"/>
                </a:lnTo>
                <a:lnTo>
                  <a:pt x="169" y="98"/>
                </a:lnTo>
                <a:lnTo>
                  <a:pt x="145" y="92"/>
                </a:lnTo>
                <a:lnTo>
                  <a:pt x="121" y="84"/>
                </a:lnTo>
                <a:lnTo>
                  <a:pt x="99" y="74"/>
                </a:lnTo>
                <a:lnTo>
                  <a:pt x="80" y="62"/>
                </a:lnTo>
                <a:lnTo>
                  <a:pt x="62" y="48"/>
                </a:lnTo>
                <a:lnTo>
                  <a:pt x="44" y="32"/>
                </a:lnTo>
                <a:lnTo>
                  <a:pt x="28" y="16"/>
                </a:lnTo>
                <a:lnTo>
                  <a:pt x="28" y="16"/>
                </a:lnTo>
                <a:lnTo>
                  <a:pt x="24" y="24"/>
                </a:lnTo>
                <a:lnTo>
                  <a:pt x="20" y="34"/>
                </a:lnTo>
                <a:lnTo>
                  <a:pt x="18" y="44"/>
                </a:lnTo>
                <a:lnTo>
                  <a:pt x="16" y="56"/>
                </a:lnTo>
                <a:lnTo>
                  <a:pt x="16" y="56"/>
                </a:lnTo>
                <a:lnTo>
                  <a:pt x="18" y="66"/>
                </a:lnTo>
                <a:lnTo>
                  <a:pt x="20" y="76"/>
                </a:lnTo>
                <a:lnTo>
                  <a:pt x="22" y="86"/>
                </a:lnTo>
                <a:lnTo>
                  <a:pt x="26" y="94"/>
                </a:lnTo>
                <a:lnTo>
                  <a:pt x="38" y="110"/>
                </a:lnTo>
                <a:lnTo>
                  <a:pt x="52" y="124"/>
                </a:lnTo>
                <a:lnTo>
                  <a:pt x="52" y="124"/>
                </a:lnTo>
                <a:lnTo>
                  <a:pt x="34" y="120"/>
                </a:lnTo>
                <a:lnTo>
                  <a:pt x="16" y="114"/>
                </a:lnTo>
                <a:lnTo>
                  <a:pt x="16" y="114"/>
                </a:lnTo>
                <a:lnTo>
                  <a:pt x="16" y="114"/>
                </a:lnTo>
                <a:lnTo>
                  <a:pt x="16" y="114"/>
                </a:lnTo>
                <a:lnTo>
                  <a:pt x="18" y="128"/>
                </a:lnTo>
                <a:lnTo>
                  <a:pt x="22" y="142"/>
                </a:lnTo>
                <a:lnTo>
                  <a:pt x="26" y="154"/>
                </a:lnTo>
                <a:lnTo>
                  <a:pt x="34" y="166"/>
                </a:lnTo>
                <a:lnTo>
                  <a:pt x="44" y="176"/>
                </a:lnTo>
                <a:lnTo>
                  <a:pt x="56" y="183"/>
                </a:lnTo>
                <a:lnTo>
                  <a:pt x="68" y="189"/>
                </a:lnTo>
                <a:lnTo>
                  <a:pt x="82" y="193"/>
                </a:lnTo>
                <a:lnTo>
                  <a:pt x="82" y="193"/>
                </a:lnTo>
                <a:lnTo>
                  <a:pt x="70" y="195"/>
                </a:lnTo>
                <a:lnTo>
                  <a:pt x="60" y="195"/>
                </a:lnTo>
                <a:lnTo>
                  <a:pt x="60" y="195"/>
                </a:lnTo>
                <a:lnTo>
                  <a:pt x="44" y="193"/>
                </a:lnTo>
                <a:lnTo>
                  <a:pt x="44" y="193"/>
                </a:lnTo>
                <a:lnTo>
                  <a:pt x="50" y="205"/>
                </a:lnTo>
                <a:lnTo>
                  <a:pt x="56" y="215"/>
                </a:lnTo>
                <a:lnTo>
                  <a:pt x="64" y="225"/>
                </a:lnTo>
                <a:lnTo>
                  <a:pt x="72" y="233"/>
                </a:lnTo>
                <a:lnTo>
                  <a:pt x="84" y="241"/>
                </a:lnTo>
                <a:lnTo>
                  <a:pt x="93" y="245"/>
                </a:lnTo>
                <a:lnTo>
                  <a:pt x="107" y="249"/>
                </a:lnTo>
                <a:lnTo>
                  <a:pt x="119" y="249"/>
                </a:lnTo>
                <a:lnTo>
                  <a:pt x="119" y="249"/>
                </a:lnTo>
                <a:lnTo>
                  <a:pt x="97" y="265"/>
                </a:lnTo>
                <a:lnTo>
                  <a:pt x="74" y="275"/>
                </a:lnTo>
                <a:lnTo>
                  <a:pt x="48" y="283"/>
                </a:lnTo>
                <a:lnTo>
                  <a:pt x="34" y="283"/>
                </a:lnTo>
                <a:lnTo>
                  <a:pt x="20" y="285"/>
                </a:lnTo>
                <a:lnTo>
                  <a:pt x="20" y="285"/>
                </a:lnTo>
                <a:lnTo>
                  <a:pt x="0" y="283"/>
                </a:lnTo>
                <a:lnTo>
                  <a:pt x="0" y="283"/>
                </a:lnTo>
                <a:lnTo>
                  <a:pt x="28" y="299"/>
                </a:lnTo>
                <a:lnTo>
                  <a:pt x="58" y="311"/>
                </a:lnTo>
                <a:lnTo>
                  <a:pt x="89" y="317"/>
                </a:lnTo>
                <a:lnTo>
                  <a:pt x="107" y="319"/>
                </a:lnTo>
                <a:lnTo>
                  <a:pt x="123" y="319"/>
                </a:lnTo>
                <a:lnTo>
                  <a:pt x="123" y="319"/>
                </a:lnTo>
                <a:lnTo>
                  <a:pt x="151" y="319"/>
                </a:lnTo>
                <a:lnTo>
                  <a:pt x="175" y="315"/>
                </a:lnTo>
                <a:lnTo>
                  <a:pt x="199" y="307"/>
                </a:lnTo>
                <a:lnTo>
                  <a:pt x="223" y="299"/>
                </a:lnTo>
                <a:lnTo>
                  <a:pt x="243" y="287"/>
                </a:lnTo>
                <a:lnTo>
                  <a:pt x="261" y="275"/>
                </a:lnTo>
                <a:lnTo>
                  <a:pt x="279" y="261"/>
                </a:lnTo>
                <a:lnTo>
                  <a:pt x="295" y="245"/>
                </a:lnTo>
                <a:lnTo>
                  <a:pt x="307" y="227"/>
                </a:lnTo>
                <a:lnTo>
                  <a:pt x="319" y="209"/>
                </a:lnTo>
                <a:lnTo>
                  <a:pt x="329" y="191"/>
                </a:lnTo>
                <a:lnTo>
                  <a:pt x="339" y="172"/>
                </a:lnTo>
                <a:lnTo>
                  <a:pt x="345" y="152"/>
                </a:lnTo>
                <a:lnTo>
                  <a:pt x="349" y="132"/>
                </a:lnTo>
                <a:lnTo>
                  <a:pt x="353" y="110"/>
                </a:lnTo>
                <a:lnTo>
                  <a:pt x="353" y="90"/>
                </a:lnTo>
                <a:lnTo>
                  <a:pt x="353" y="90"/>
                </a:lnTo>
                <a:lnTo>
                  <a:pt x="353" y="80"/>
                </a:lnTo>
                <a:lnTo>
                  <a:pt x="353" y="80"/>
                </a:lnTo>
                <a:lnTo>
                  <a:pt x="365" y="72"/>
                </a:lnTo>
                <a:lnTo>
                  <a:pt x="375" y="62"/>
                </a:lnTo>
                <a:lnTo>
                  <a:pt x="385" y="50"/>
                </a:lnTo>
                <a:lnTo>
                  <a:pt x="393" y="38"/>
                </a:lnTo>
                <a:lnTo>
                  <a:pt x="393" y="38"/>
                </a:lnTo>
                <a:close/>
              </a:path>
            </a:pathLst>
          </a:custGeom>
          <a:solidFill>
            <a:srgbClr val="01678C"/>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346"/>
          <p:cNvSpPr>
            <a:spLocks noEditPoints="1"/>
          </p:cNvSpPr>
          <p:nvPr/>
        </p:nvSpPr>
        <p:spPr bwMode="auto">
          <a:xfrm>
            <a:off x="8439810" y="3584147"/>
            <a:ext cx="350136" cy="350136"/>
          </a:xfrm>
          <a:custGeom>
            <a:avLst/>
            <a:gdLst>
              <a:gd name="T0" fmla="*/ 76 w 395"/>
              <a:gd name="T1" fmla="*/ 0 h 395"/>
              <a:gd name="T2" fmla="*/ 34 w 395"/>
              <a:gd name="T3" fmla="*/ 12 h 395"/>
              <a:gd name="T4" fmla="*/ 6 w 395"/>
              <a:gd name="T5" fmla="*/ 46 h 395"/>
              <a:gd name="T6" fmla="*/ 0 w 395"/>
              <a:gd name="T7" fmla="*/ 155 h 395"/>
              <a:gd name="T8" fmla="*/ 2 w 395"/>
              <a:gd name="T9" fmla="*/ 333 h 395"/>
              <a:gd name="T10" fmla="*/ 22 w 395"/>
              <a:gd name="T11" fmla="*/ 373 h 395"/>
              <a:gd name="T12" fmla="*/ 62 w 395"/>
              <a:gd name="T13" fmla="*/ 393 h 395"/>
              <a:gd name="T14" fmla="*/ 319 w 395"/>
              <a:gd name="T15" fmla="*/ 395 h 395"/>
              <a:gd name="T16" fmla="*/ 361 w 395"/>
              <a:gd name="T17" fmla="*/ 381 h 395"/>
              <a:gd name="T18" fmla="*/ 389 w 395"/>
              <a:gd name="T19" fmla="*/ 347 h 395"/>
              <a:gd name="T20" fmla="*/ 395 w 395"/>
              <a:gd name="T21" fmla="*/ 155 h 395"/>
              <a:gd name="T22" fmla="*/ 393 w 395"/>
              <a:gd name="T23" fmla="*/ 60 h 395"/>
              <a:gd name="T24" fmla="*/ 373 w 395"/>
              <a:gd name="T25" fmla="*/ 22 h 395"/>
              <a:gd name="T26" fmla="*/ 335 w 395"/>
              <a:gd name="T27" fmla="*/ 0 h 395"/>
              <a:gd name="T28" fmla="*/ 341 w 395"/>
              <a:gd name="T29" fmla="*/ 44 h 395"/>
              <a:gd name="T30" fmla="*/ 349 w 395"/>
              <a:gd name="T31" fmla="*/ 111 h 395"/>
              <a:gd name="T32" fmla="*/ 341 w 395"/>
              <a:gd name="T33" fmla="*/ 44 h 395"/>
              <a:gd name="T34" fmla="*/ 152 w 395"/>
              <a:gd name="T35" fmla="*/ 143 h 395"/>
              <a:gd name="T36" fmla="*/ 198 w 395"/>
              <a:gd name="T37" fmla="*/ 127 h 395"/>
              <a:gd name="T38" fmla="*/ 230 w 395"/>
              <a:gd name="T39" fmla="*/ 135 h 395"/>
              <a:gd name="T40" fmla="*/ 254 w 395"/>
              <a:gd name="T41" fmla="*/ 155 h 395"/>
              <a:gd name="T42" fmla="*/ 268 w 395"/>
              <a:gd name="T43" fmla="*/ 185 h 395"/>
              <a:gd name="T44" fmla="*/ 266 w 395"/>
              <a:gd name="T45" fmla="*/ 211 h 395"/>
              <a:gd name="T46" fmla="*/ 248 w 395"/>
              <a:gd name="T47" fmla="*/ 245 h 395"/>
              <a:gd name="T48" fmla="*/ 212 w 395"/>
              <a:gd name="T49" fmla="*/ 265 h 395"/>
              <a:gd name="T50" fmla="*/ 184 w 395"/>
              <a:gd name="T51" fmla="*/ 265 h 395"/>
              <a:gd name="T52" fmla="*/ 148 w 395"/>
              <a:gd name="T53" fmla="*/ 245 h 395"/>
              <a:gd name="T54" fmla="*/ 130 w 395"/>
              <a:gd name="T55" fmla="*/ 211 h 395"/>
              <a:gd name="T56" fmla="*/ 130 w 395"/>
              <a:gd name="T57" fmla="*/ 185 h 395"/>
              <a:gd name="T58" fmla="*/ 142 w 395"/>
              <a:gd name="T59" fmla="*/ 155 h 395"/>
              <a:gd name="T60" fmla="*/ 357 w 395"/>
              <a:gd name="T61" fmla="*/ 317 h 395"/>
              <a:gd name="T62" fmla="*/ 351 w 395"/>
              <a:gd name="T63" fmla="*/ 339 h 395"/>
              <a:gd name="T64" fmla="*/ 333 w 395"/>
              <a:gd name="T65" fmla="*/ 353 h 395"/>
              <a:gd name="T66" fmla="*/ 76 w 395"/>
              <a:gd name="T67" fmla="*/ 355 h 395"/>
              <a:gd name="T68" fmla="*/ 62 w 395"/>
              <a:gd name="T69" fmla="*/ 353 h 395"/>
              <a:gd name="T70" fmla="*/ 46 w 395"/>
              <a:gd name="T71" fmla="*/ 339 h 395"/>
              <a:gd name="T72" fmla="*/ 38 w 395"/>
              <a:gd name="T73" fmla="*/ 317 h 395"/>
              <a:gd name="T74" fmla="*/ 98 w 395"/>
              <a:gd name="T75" fmla="*/ 155 h 395"/>
              <a:gd name="T76" fmla="*/ 90 w 395"/>
              <a:gd name="T77" fmla="*/ 197 h 395"/>
              <a:gd name="T78" fmla="*/ 108 w 395"/>
              <a:gd name="T79" fmla="*/ 257 h 395"/>
              <a:gd name="T80" fmla="*/ 156 w 395"/>
              <a:gd name="T81" fmla="*/ 297 h 395"/>
              <a:gd name="T82" fmla="*/ 198 w 395"/>
              <a:gd name="T83" fmla="*/ 305 h 395"/>
              <a:gd name="T84" fmla="*/ 258 w 395"/>
              <a:gd name="T85" fmla="*/ 287 h 395"/>
              <a:gd name="T86" fmla="*/ 298 w 395"/>
              <a:gd name="T87" fmla="*/ 239 h 395"/>
              <a:gd name="T88" fmla="*/ 305 w 395"/>
              <a:gd name="T89" fmla="*/ 197 h 395"/>
              <a:gd name="T90" fmla="*/ 357 w 395"/>
              <a:gd name="T91" fmla="*/ 1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5" h="395">
                <a:moveTo>
                  <a:pt x="319" y="0"/>
                </a:moveTo>
                <a:lnTo>
                  <a:pt x="76" y="0"/>
                </a:lnTo>
                <a:lnTo>
                  <a:pt x="76" y="0"/>
                </a:lnTo>
                <a:lnTo>
                  <a:pt x="62" y="0"/>
                </a:lnTo>
                <a:lnTo>
                  <a:pt x="46" y="6"/>
                </a:lnTo>
                <a:lnTo>
                  <a:pt x="34" y="12"/>
                </a:lnTo>
                <a:lnTo>
                  <a:pt x="22" y="22"/>
                </a:lnTo>
                <a:lnTo>
                  <a:pt x="14" y="32"/>
                </a:lnTo>
                <a:lnTo>
                  <a:pt x="6" y="46"/>
                </a:lnTo>
                <a:lnTo>
                  <a:pt x="2" y="60"/>
                </a:lnTo>
                <a:lnTo>
                  <a:pt x="0" y="76"/>
                </a:lnTo>
                <a:lnTo>
                  <a:pt x="0" y="155"/>
                </a:lnTo>
                <a:lnTo>
                  <a:pt x="0" y="317"/>
                </a:lnTo>
                <a:lnTo>
                  <a:pt x="0" y="317"/>
                </a:lnTo>
                <a:lnTo>
                  <a:pt x="2" y="333"/>
                </a:lnTo>
                <a:lnTo>
                  <a:pt x="6" y="347"/>
                </a:lnTo>
                <a:lnTo>
                  <a:pt x="14" y="361"/>
                </a:lnTo>
                <a:lnTo>
                  <a:pt x="22" y="373"/>
                </a:lnTo>
                <a:lnTo>
                  <a:pt x="34" y="381"/>
                </a:lnTo>
                <a:lnTo>
                  <a:pt x="46" y="389"/>
                </a:lnTo>
                <a:lnTo>
                  <a:pt x="62" y="393"/>
                </a:lnTo>
                <a:lnTo>
                  <a:pt x="76" y="395"/>
                </a:lnTo>
                <a:lnTo>
                  <a:pt x="319" y="395"/>
                </a:lnTo>
                <a:lnTo>
                  <a:pt x="319" y="395"/>
                </a:lnTo>
                <a:lnTo>
                  <a:pt x="335" y="393"/>
                </a:lnTo>
                <a:lnTo>
                  <a:pt x="349" y="389"/>
                </a:lnTo>
                <a:lnTo>
                  <a:pt x="361" y="381"/>
                </a:lnTo>
                <a:lnTo>
                  <a:pt x="373" y="373"/>
                </a:lnTo>
                <a:lnTo>
                  <a:pt x="383" y="361"/>
                </a:lnTo>
                <a:lnTo>
                  <a:pt x="389" y="347"/>
                </a:lnTo>
                <a:lnTo>
                  <a:pt x="393" y="333"/>
                </a:lnTo>
                <a:lnTo>
                  <a:pt x="395" y="317"/>
                </a:lnTo>
                <a:lnTo>
                  <a:pt x="395" y="155"/>
                </a:lnTo>
                <a:lnTo>
                  <a:pt x="395" y="76"/>
                </a:lnTo>
                <a:lnTo>
                  <a:pt x="395" y="76"/>
                </a:lnTo>
                <a:lnTo>
                  <a:pt x="393" y="60"/>
                </a:lnTo>
                <a:lnTo>
                  <a:pt x="389" y="46"/>
                </a:lnTo>
                <a:lnTo>
                  <a:pt x="383" y="32"/>
                </a:lnTo>
                <a:lnTo>
                  <a:pt x="373" y="22"/>
                </a:lnTo>
                <a:lnTo>
                  <a:pt x="361" y="12"/>
                </a:lnTo>
                <a:lnTo>
                  <a:pt x="349" y="6"/>
                </a:lnTo>
                <a:lnTo>
                  <a:pt x="335" y="0"/>
                </a:lnTo>
                <a:lnTo>
                  <a:pt x="319" y="0"/>
                </a:lnTo>
                <a:lnTo>
                  <a:pt x="319" y="0"/>
                </a:lnTo>
                <a:close/>
                <a:moveTo>
                  <a:pt x="341" y="44"/>
                </a:moveTo>
                <a:lnTo>
                  <a:pt x="349" y="44"/>
                </a:lnTo>
                <a:lnTo>
                  <a:pt x="349" y="54"/>
                </a:lnTo>
                <a:lnTo>
                  <a:pt x="349" y="111"/>
                </a:lnTo>
                <a:lnTo>
                  <a:pt x="284" y="111"/>
                </a:lnTo>
                <a:lnTo>
                  <a:pt x="284" y="44"/>
                </a:lnTo>
                <a:lnTo>
                  <a:pt x="341" y="44"/>
                </a:lnTo>
                <a:close/>
                <a:moveTo>
                  <a:pt x="142" y="155"/>
                </a:moveTo>
                <a:lnTo>
                  <a:pt x="142" y="155"/>
                </a:lnTo>
                <a:lnTo>
                  <a:pt x="152" y="143"/>
                </a:lnTo>
                <a:lnTo>
                  <a:pt x="166" y="135"/>
                </a:lnTo>
                <a:lnTo>
                  <a:pt x="182" y="129"/>
                </a:lnTo>
                <a:lnTo>
                  <a:pt x="198" y="127"/>
                </a:lnTo>
                <a:lnTo>
                  <a:pt x="198" y="127"/>
                </a:lnTo>
                <a:lnTo>
                  <a:pt x="216" y="129"/>
                </a:lnTo>
                <a:lnTo>
                  <a:pt x="230" y="135"/>
                </a:lnTo>
                <a:lnTo>
                  <a:pt x="244" y="143"/>
                </a:lnTo>
                <a:lnTo>
                  <a:pt x="254" y="155"/>
                </a:lnTo>
                <a:lnTo>
                  <a:pt x="254" y="155"/>
                </a:lnTo>
                <a:lnTo>
                  <a:pt x="260" y="165"/>
                </a:lnTo>
                <a:lnTo>
                  <a:pt x="264" y="175"/>
                </a:lnTo>
                <a:lnTo>
                  <a:pt x="268" y="185"/>
                </a:lnTo>
                <a:lnTo>
                  <a:pt x="268" y="197"/>
                </a:lnTo>
                <a:lnTo>
                  <a:pt x="268" y="197"/>
                </a:lnTo>
                <a:lnTo>
                  <a:pt x="266" y="211"/>
                </a:lnTo>
                <a:lnTo>
                  <a:pt x="262" y="223"/>
                </a:lnTo>
                <a:lnTo>
                  <a:pt x="256" y="235"/>
                </a:lnTo>
                <a:lnTo>
                  <a:pt x="248" y="245"/>
                </a:lnTo>
                <a:lnTo>
                  <a:pt x="238" y="255"/>
                </a:lnTo>
                <a:lnTo>
                  <a:pt x="226" y="261"/>
                </a:lnTo>
                <a:lnTo>
                  <a:pt x="212" y="265"/>
                </a:lnTo>
                <a:lnTo>
                  <a:pt x="198" y="267"/>
                </a:lnTo>
                <a:lnTo>
                  <a:pt x="198" y="267"/>
                </a:lnTo>
                <a:lnTo>
                  <a:pt x="184" y="265"/>
                </a:lnTo>
                <a:lnTo>
                  <a:pt x="172" y="261"/>
                </a:lnTo>
                <a:lnTo>
                  <a:pt x="160" y="255"/>
                </a:lnTo>
                <a:lnTo>
                  <a:pt x="148" y="245"/>
                </a:lnTo>
                <a:lnTo>
                  <a:pt x="140" y="235"/>
                </a:lnTo>
                <a:lnTo>
                  <a:pt x="134" y="223"/>
                </a:lnTo>
                <a:lnTo>
                  <a:pt x="130" y="211"/>
                </a:lnTo>
                <a:lnTo>
                  <a:pt x="128" y="197"/>
                </a:lnTo>
                <a:lnTo>
                  <a:pt x="128" y="197"/>
                </a:lnTo>
                <a:lnTo>
                  <a:pt x="130" y="185"/>
                </a:lnTo>
                <a:lnTo>
                  <a:pt x="132" y="175"/>
                </a:lnTo>
                <a:lnTo>
                  <a:pt x="136" y="165"/>
                </a:lnTo>
                <a:lnTo>
                  <a:pt x="142" y="155"/>
                </a:lnTo>
                <a:lnTo>
                  <a:pt x="142" y="155"/>
                </a:lnTo>
                <a:close/>
                <a:moveTo>
                  <a:pt x="357" y="317"/>
                </a:moveTo>
                <a:lnTo>
                  <a:pt x="357" y="317"/>
                </a:lnTo>
                <a:lnTo>
                  <a:pt x="357" y="325"/>
                </a:lnTo>
                <a:lnTo>
                  <a:pt x="353" y="333"/>
                </a:lnTo>
                <a:lnTo>
                  <a:pt x="351" y="339"/>
                </a:lnTo>
                <a:lnTo>
                  <a:pt x="345" y="345"/>
                </a:lnTo>
                <a:lnTo>
                  <a:pt x="341" y="349"/>
                </a:lnTo>
                <a:lnTo>
                  <a:pt x="333" y="353"/>
                </a:lnTo>
                <a:lnTo>
                  <a:pt x="327" y="355"/>
                </a:lnTo>
                <a:lnTo>
                  <a:pt x="319" y="355"/>
                </a:lnTo>
                <a:lnTo>
                  <a:pt x="76" y="355"/>
                </a:lnTo>
                <a:lnTo>
                  <a:pt x="76" y="355"/>
                </a:lnTo>
                <a:lnTo>
                  <a:pt x="68" y="355"/>
                </a:lnTo>
                <a:lnTo>
                  <a:pt x="62" y="353"/>
                </a:lnTo>
                <a:lnTo>
                  <a:pt x="56" y="349"/>
                </a:lnTo>
                <a:lnTo>
                  <a:pt x="50" y="345"/>
                </a:lnTo>
                <a:lnTo>
                  <a:pt x="46" y="339"/>
                </a:lnTo>
                <a:lnTo>
                  <a:pt x="42" y="333"/>
                </a:lnTo>
                <a:lnTo>
                  <a:pt x="40" y="325"/>
                </a:lnTo>
                <a:lnTo>
                  <a:pt x="38" y="317"/>
                </a:lnTo>
                <a:lnTo>
                  <a:pt x="38" y="155"/>
                </a:lnTo>
                <a:lnTo>
                  <a:pt x="98" y="155"/>
                </a:lnTo>
                <a:lnTo>
                  <a:pt x="98" y="155"/>
                </a:lnTo>
                <a:lnTo>
                  <a:pt x="92" y="175"/>
                </a:lnTo>
                <a:lnTo>
                  <a:pt x="90" y="197"/>
                </a:lnTo>
                <a:lnTo>
                  <a:pt x="90" y="197"/>
                </a:lnTo>
                <a:lnTo>
                  <a:pt x="92" y="219"/>
                </a:lnTo>
                <a:lnTo>
                  <a:pt x="98" y="239"/>
                </a:lnTo>
                <a:lnTo>
                  <a:pt x="108" y="257"/>
                </a:lnTo>
                <a:lnTo>
                  <a:pt x="122" y="273"/>
                </a:lnTo>
                <a:lnTo>
                  <a:pt x="138" y="287"/>
                </a:lnTo>
                <a:lnTo>
                  <a:pt x="156" y="297"/>
                </a:lnTo>
                <a:lnTo>
                  <a:pt x="176" y="303"/>
                </a:lnTo>
                <a:lnTo>
                  <a:pt x="198" y="305"/>
                </a:lnTo>
                <a:lnTo>
                  <a:pt x="198" y="305"/>
                </a:lnTo>
                <a:lnTo>
                  <a:pt x="220" y="303"/>
                </a:lnTo>
                <a:lnTo>
                  <a:pt x="240" y="297"/>
                </a:lnTo>
                <a:lnTo>
                  <a:pt x="258" y="287"/>
                </a:lnTo>
                <a:lnTo>
                  <a:pt x="274" y="273"/>
                </a:lnTo>
                <a:lnTo>
                  <a:pt x="288" y="257"/>
                </a:lnTo>
                <a:lnTo>
                  <a:pt x="298" y="239"/>
                </a:lnTo>
                <a:lnTo>
                  <a:pt x="303" y="219"/>
                </a:lnTo>
                <a:lnTo>
                  <a:pt x="305" y="197"/>
                </a:lnTo>
                <a:lnTo>
                  <a:pt x="305" y="197"/>
                </a:lnTo>
                <a:lnTo>
                  <a:pt x="303" y="175"/>
                </a:lnTo>
                <a:lnTo>
                  <a:pt x="298" y="155"/>
                </a:lnTo>
                <a:lnTo>
                  <a:pt x="357" y="155"/>
                </a:lnTo>
                <a:lnTo>
                  <a:pt x="357" y="317"/>
                </a:lnTo>
                <a:close/>
              </a:path>
            </a:pathLst>
          </a:custGeom>
          <a:solidFill>
            <a:srgbClr val="01678C"/>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6"/>
          <p:cNvSpPr>
            <a:spLocks noEditPoints="1"/>
          </p:cNvSpPr>
          <p:nvPr/>
        </p:nvSpPr>
        <p:spPr bwMode="auto">
          <a:xfrm>
            <a:off x="6156525" y="2966293"/>
            <a:ext cx="573264" cy="1727306"/>
          </a:xfrm>
          <a:custGeom>
            <a:avLst/>
            <a:gdLst>
              <a:gd name="T0" fmla="*/ 708 w 763"/>
              <a:gd name="T1" fmla="*/ 643 h 2299"/>
              <a:gd name="T2" fmla="*/ 649 w 763"/>
              <a:gd name="T3" fmla="*/ 471 h 2299"/>
              <a:gd name="T4" fmla="*/ 472 w 763"/>
              <a:gd name="T5" fmla="*/ 389 h 2299"/>
              <a:gd name="T6" fmla="*/ 413 w 763"/>
              <a:gd name="T7" fmla="*/ 656 h 2299"/>
              <a:gd name="T8" fmla="*/ 390 w 763"/>
              <a:gd name="T9" fmla="*/ 389 h 2299"/>
              <a:gd name="T10" fmla="*/ 470 w 763"/>
              <a:gd name="T11" fmla="*/ 255 h 2299"/>
              <a:gd name="T12" fmla="*/ 503 w 763"/>
              <a:gd name="T13" fmla="*/ 183 h 2299"/>
              <a:gd name="T14" fmla="*/ 503 w 763"/>
              <a:gd name="T15" fmla="*/ 130 h 2299"/>
              <a:gd name="T16" fmla="*/ 493 w 763"/>
              <a:gd name="T17" fmla="*/ 79 h 2299"/>
              <a:gd name="T18" fmla="*/ 475 w 763"/>
              <a:gd name="T19" fmla="*/ 63 h 2299"/>
              <a:gd name="T20" fmla="*/ 454 w 763"/>
              <a:gd name="T21" fmla="*/ 37 h 2299"/>
              <a:gd name="T22" fmla="*/ 434 w 763"/>
              <a:gd name="T23" fmla="*/ 22 h 2299"/>
              <a:gd name="T24" fmla="*/ 416 w 763"/>
              <a:gd name="T25" fmla="*/ 5 h 2299"/>
              <a:gd name="T26" fmla="*/ 399 w 763"/>
              <a:gd name="T27" fmla="*/ 14 h 2299"/>
              <a:gd name="T28" fmla="*/ 373 w 763"/>
              <a:gd name="T29" fmla="*/ 6 h 2299"/>
              <a:gd name="T30" fmla="*/ 347 w 763"/>
              <a:gd name="T31" fmla="*/ 29 h 2299"/>
              <a:gd name="T32" fmla="*/ 324 w 763"/>
              <a:gd name="T33" fmla="*/ 42 h 2299"/>
              <a:gd name="T34" fmla="*/ 297 w 763"/>
              <a:gd name="T35" fmla="*/ 68 h 2299"/>
              <a:gd name="T36" fmla="*/ 283 w 763"/>
              <a:gd name="T37" fmla="*/ 90 h 2299"/>
              <a:gd name="T38" fmla="*/ 273 w 763"/>
              <a:gd name="T39" fmla="*/ 136 h 2299"/>
              <a:gd name="T40" fmla="*/ 275 w 763"/>
              <a:gd name="T41" fmla="*/ 226 h 2299"/>
              <a:gd name="T42" fmla="*/ 311 w 763"/>
              <a:gd name="T43" fmla="*/ 330 h 2299"/>
              <a:gd name="T44" fmla="*/ 351 w 763"/>
              <a:gd name="T45" fmla="*/ 416 h 2299"/>
              <a:gd name="T46" fmla="*/ 323 w 763"/>
              <a:gd name="T47" fmla="*/ 600 h 2299"/>
              <a:gd name="T48" fmla="*/ 291 w 763"/>
              <a:gd name="T49" fmla="*/ 382 h 2299"/>
              <a:gd name="T50" fmla="*/ 195 w 763"/>
              <a:gd name="T51" fmla="*/ 433 h 2299"/>
              <a:gd name="T52" fmla="*/ 75 w 763"/>
              <a:gd name="T53" fmla="*/ 554 h 2299"/>
              <a:gd name="T54" fmla="*/ 16 w 763"/>
              <a:gd name="T55" fmla="*/ 759 h 2299"/>
              <a:gd name="T56" fmla="*/ 33 w 763"/>
              <a:gd name="T57" fmla="*/ 886 h 2299"/>
              <a:gd name="T58" fmla="*/ 157 w 763"/>
              <a:gd name="T59" fmla="*/ 958 h 2299"/>
              <a:gd name="T60" fmla="*/ 141 w 763"/>
              <a:gd name="T61" fmla="*/ 1087 h 2299"/>
              <a:gd name="T62" fmla="*/ 122 w 763"/>
              <a:gd name="T63" fmla="*/ 1283 h 2299"/>
              <a:gd name="T64" fmla="*/ 121 w 763"/>
              <a:gd name="T65" fmla="*/ 1525 h 2299"/>
              <a:gd name="T66" fmla="*/ 126 w 763"/>
              <a:gd name="T67" fmla="*/ 1708 h 2299"/>
              <a:gd name="T68" fmla="*/ 102 w 763"/>
              <a:gd name="T69" fmla="*/ 1915 h 2299"/>
              <a:gd name="T70" fmla="*/ 97 w 763"/>
              <a:gd name="T71" fmla="*/ 2037 h 2299"/>
              <a:gd name="T72" fmla="*/ 85 w 763"/>
              <a:gd name="T73" fmla="*/ 2149 h 2299"/>
              <a:gd name="T74" fmla="*/ 19 w 763"/>
              <a:gd name="T75" fmla="*/ 2291 h 2299"/>
              <a:gd name="T76" fmla="*/ 161 w 763"/>
              <a:gd name="T77" fmla="*/ 2250 h 2299"/>
              <a:gd name="T78" fmla="*/ 205 w 763"/>
              <a:gd name="T79" fmla="*/ 2200 h 2299"/>
              <a:gd name="T80" fmla="*/ 252 w 763"/>
              <a:gd name="T81" fmla="*/ 2069 h 2299"/>
              <a:gd name="T82" fmla="*/ 240 w 763"/>
              <a:gd name="T83" fmla="*/ 1931 h 2299"/>
              <a:gd name="T84" fmla="*/ 299 w 763"/>
              <a:gd name="T85" fmla="*/ 1589 h 2299"/>
              <a:gd name="T86" fmla="*/ 374 w 763"/>
              <a:gd name="T87" fmla="*/ 1324 h 2299"/>
              <a:gd name="T88" fmla="*/ 422 w 763"/>
              <a:gd name="T89" fmla="*/ 1592 h 2299"/>
              <a:gd name="T90" fmla="*/ 446 w 763"/>
              <a:gd name="T91" fmla="*/ 1901 h 2299"/>
              <a:gd name="T92" fmla="*/ 477 w 763"/>
              <a:gd name="T93" fmla="*/ 2103 h 2299"/>
              <a:gd name="T94" fmla="*/ 521 w 763"/>
              <a:gd name="T95" fmla="*/ 2213 h 2299"/>
              <a:gd name="T96" fmla="*/ 550 w 763"/>
              <a:gd name="T97" fmla="*/ 2260 h 2299"/>
              <a:gd name="T98" fmla="*/ 690 w 763"/>
              <a:gd name="T99" fmla="*/ 2263 h 2299"/>
              <a:gd name="T100" fmla="*/ 623 w 763"/>
              <a:gd name="T101" fmla="*/ 2153 h 2299"/>
              <a:gd name="T102" fmla="*/ 622 w 763"/>
              <a:gd name="T103" fmla="*/ 2043 h 2299"/>
              <a:gd name="T104" fmla="*/ 602 w 763"/>
              <a:gd name="T105" fmla="*/ 1921 h 2299"/>
              <a:gd name="T106" fmla="*/ 588 w 763"/>
              <a:gd name="T107" fmla="*/ 1685 h 2299"/>
              <a:gd name="T108" fmla="*/ 593 w 763"/>
              <a:gd name="T109" fmla="*/ 1513 h 2299"/>
              <a:gd name="T110" fmla="*/ 609 w 763"/>
              <a:gd name="T111" fmla="*/ 1316 h 2299"/>
              <a:gd name="T112" fmla="*/ 602 w 763"/>
              <a:gd name="T113" fmla="*/ 1096 h 2299"/>
              <a:gd name="T114" fmla="*/ 635 w 763"/>
              <a:gd name="T115" fmla="*/ 889 h 2299"/>
              <a:gd name="T116" fmla="*/ 753 w 763"/>
              <a:gd name="T117" fmla="*/ 847 h 2299"/>
              <a:gd name="T118" fmla="*/ 176 w 763"/>
              <a:gd name="T119" fmla="*/ 760 h 2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3" h="2299">
                <a:moveTo>
                  <a:pt x="763" y="802"/>
                </a:moveTo>
                <a:lnTo>
                  <a:pt x="763" y="802"/>
                </a:lnTo>
                <a:lnTo>
                  <a:pt x="762" y="797"/>
                </a:lnTo>
                <a:lnTo>
                  <a:pt x="759" y="792"/>
                </a:lnTo>
                <a:lnTo>
                  <a:pt x="759" y="792"/>
                </a:lnTo>
                <a:lnTo>
                  <a:pt x="748" y="764"/>
                </a:lnTo>
                <a:lnTo>
                  <a:pt x="748" y="764"/>
                </a:lnTo>
                <a:lnTo>
                  <a:pt x="742" y="749"/>
                </a:lnTo>
                <a:lnTo>
                  <a:pt x="742" y="749"/>
                </a:lnTo>
                <a:lnTo>
                  <a:pt x="733" y="730"/>
                </a:lnTo>
                <a:lnTo>
                  <a:pt x="733" y="730"/>
                </a:lnTo>
                <a:lnTo>
                  <a:pt x="728" y="716"/>
                </a:lnTo>
                <a:lnTo>
                  <a:pt x="728" y="716"/>
                </a:lnTo>
                <a:lnTo>
                  <a:pt x="723" y="703"/>
                </a:lnTo>
                <a:lnTo>
                  <a:pt x="719" y="689"/>
                </a:lnTo>
                <a:lnTo>
                  <a:pt x="719" y="689"/>
                </a:lnTo>
                <a:lnTo>
                  <a:pt x="715" y="667"/>
                </a:lnTo>
                <a:lnTo>
                  <a:pt x="708" y="643"/>
                </a:lnTo>
                <a:lnTo>
                  <a:pt x="708" y="643"/>
                </a:lnTo>
                <a:lnTo>
                  <a:pt x="700" y="615"/>
                </a:lnTo>
                <a:lnTo>
                  <a:pt x="691" y="586"/>
                </a:lnTo>
                <a:lnTo>
                  <a:pt x="691" y="586"/>
                </a:lnTo>
                <a:lnTo>
                  <a:pt x="686" y="569"/>
                </a:lnTo>
                <a:lnTo>
                  <a:pt x="686" y="569"/>
                </a:lnTo>
                <a:lnTo>
                  <a:pt x="680" y="532"/>
                </a:lnTo>
                <a:lnTo>
                  <a:pt x="680" y="532"/>
                </a:lnTo>
                <a:lnTo>
                  <a:pt x="675" y="516"/>
                </a:lnTo>
                <a:lnTo>
                  <a:pt x="671" y="500"/>
                </a:lnTo>
                <a:lnTo>
                  <a:pt x="671" y="500"/>
                </a:lnTo>
                <a:lnTo>
                  <a:pt x="666" y="482"/>
                </a:lnTo>
                <a:lnTo>
                  <a:pt x="666" y="482"/>
                </a:lnTo>
                <a:lnTo>
                  <a:pt x="664" y="477"/>
                </a:lnTo>
                <a:lnTo>
                  <a:pt x="661" y="473"/>
                </a:lnTo>
                <a:lnTo>
                  <a:pt x="658" y="471"/>
                </a:lnTo>
                <a:lnTo>
                  <a:pt x="651" y="471"/>
                </a:lnTo>
                <a:lnTo>
                  <a:pt x="651" y="471"/>
                </a:lnTo>
                <a:lnTo>
                  <a:pt x="649" y="471"/>
                </a:lnTo>
                <a:lnTo>
                  <a:pt x="649" y="471"/>
                </a:lnTo>
                <a:lnTo>
                  <a:pt x="640" y="467"/>
                </a:lnTo>
                <a:lnTo>
                  <a:pt x="640" y="467"/>
                </a:lnTo>
                <a:lnTo>
                  <a:pt x="582" y="444"/>
                </a:lnTo>
                <a:lnTo>
                  <a:pt x="582" y="444"/>
                </a:lnTo>
                <a:lnTo>
                  <a:pt x="534" y="424"/>
                </a:lnTo>
                <a:lnTo>
                  <a:pt x="534" y="424"/>
                </a:lnTo>
                <a:lnTo>
                  <a:pt x="529" y="421"/>
                </a:lnTo>
                <a:lnTo>
                  <a:pt x="525" y="419"/>
                </a:lnTo>
                <a:lnTo>
                  <a:pt x="525" y="419"/>
                </a:lnTo>
                <a:lnTo>
                  <a:pt x="514" y="415"/>
                </a:lnTo>
                <a:lnTo>
                  <a:pt x="504" y="409"/>
                </a:lnTo>
                <a:lnTo>
                  <a:pt x="495" y="403"/>
                </a:lnTo>
                <a:lnTo>
                  <a:pt x="485" y="395"/>
                </a:lnTo>
                <a:lnTo>
                  <a:pt x="485" y="395"/>
                </a:lnTo>
                <a:lnTo>
                  <a:pt x="478" y="389"/>
                </a:lnTo>
                <a:lnTo>
                  <a:pt x="472" y="384"/>
                </a:lnTo>
                <a:lnTo>
                  <a:pt x="472" y="384"/>
                </a:lnTo>
                <a:lnTo>
                  <a:pt x="470" y="387"/>
                </a:lnTo>
                <a:lnTo>
                  <a:pt x="472" y="389"/>
                </a:lnTo>
                <a:lnTo>
                  <a:pt x="472" y="389"/>
                </a:lnTo>
                <a:lnTo>
                  <a:pt x="474" y="415"/>
                </a:lnTo>
                <a:lnTo>
                  <a:pt x="477" y="440"/>
                </a:lnTo>
                <a:lnTo>
                  <a:pt x="477" y="440"/>
                </a:lnTo>
                <a:lnTo>
                  <a:pt x="478" y="461"/>
                </a:lnTo>
                <a:lnTo>
                  <a:pt x="477" y="481"/>
                </a:lnTo>
                <a:lnTo>
                  <a:pt x="474" y="500"/>
                </a:lnTo>
                <a:lnTo>
                  <a:pt x="469" y="519"/>
                </a:lnTo>
                <a:lnTo>
                  <a:pt x="469" y="519"/>
                </a:lnTo>
                <a:lnTo>
                  <a:pt x="461" y="547"/>
                </a:lnTo>
                <a:lnTo>
                  <a:pt x="451" y="573"/>
                </a:lnTo>
                <a:lnTo>
                  <a:pt x="451" y="573"/>
                </a:lnTo>
                <a:lnTo>
                  <a:pt x="417" y="656"/>
                </a:lnTo>
                <a:lnTo>
                  <a:pt x="417" y="656"/>
                </a:lnTo>
                <a:lnTo>
                  <a:pt x="415" y="661"/>
                </a:lnTo>
                <a:lnTo>
                  <a:pt x="415" y="661"/>
                </a:lnTo>
                <a:lnTo>
                  <a:pt x="413" y="658"/>
                </a:lnTo>
                <a:lnTo>
                  <a:pt x="413" y="656"/>
                </a:lnTo>
                <a:lnTo>
                  <a:pt x="413" y="656"/>
                </a:lnTo>
                <a:lnTo>
                  <a:pt x="413" y="596"/>
                </a:lnTo>
                <a:lnTo>
                  <a:pt x="415" y="537"/>
                </a:lnTo>
                <a:lnTo>
                  <a:pt x="415" y="537"/>
                </a:lnTo>
                <a:lnTo>
                  <a:pt x="415" y="512"/>
                </a:lnTo>
                <a:lnTo>
                  <a:pt x="412" y="487"/>
                </a:lnTo>
                <a:lnTo>
                  <a:pt x="406" y="464"/>
                </a:lnTo>
                <a:lnTo>
                  <a:pt x="397" y="439"/>
                </a:lnTo>
                <a:lnTo>
                  <a:pt x="397" y="439"/>
                </a:lnTo>
                <a:lnTo>
                  <a:pt x="396" y="435"/>
                </a:lnTo>
                <a:lnTo>
                  <a:pt x="397" y="431"/>
                </a:lnTo>
                <a:lnTo>
                  <a:pt x="397" y="431"/>
                </a:lnTo>
                <a:lnTo>
                  <a:pt x="405" y="405"/>
                </a:lnTo>
                <a:lnTo>
                  <a:pt x="405" y="405"/>
                </a:lnTo>
                <a:lnTo>
                  <a:pt x="406" y="402"/>
                </a:lnTo>
                <a:lnTo>
                  <a:pt x="406" y="399"/>
                </a:lnTo>
                <a:lnTo>
                  <a:pt x="404" y="397"/>
                </a:lnTo>
                <a:lnTo>
                  <a:pt x="401" y="394"/>
                </a:lnTo>
                <a:lnTo>
                  <a:pt x="401" y="394"/>
                </a:lnTo>
                <a:lnTo>
                  <a:pt x="390" y="389"/>
                </a:lnTo>
                <a:lnTo>
                  <a:pt x="390" y="389"/>
                </a:lnTo>
                <a:lnTo>
                  <a:pt x="400" y="384"/>
                </a:lnTo>
                <a:lnTo>
                  <a:pt x="400" y="384"/>
                </a:lnTo>
                <a:lnTo>
                  <a:pt x="449" y="348"/>
                </a:lnTo>
                <a:lnTo>
                  <a:pt x="449" y="348"/>
                </a:lnTo>
                <a:lnTo>
                  <a:pt x="453" y="346"/>
                </a:lnTo>
                <a:lnTo>
                  <a:pt x="454" y="345"/>
                </a:lnTo>
                <a:lnTo>
                  <a:pt x="454" y="342"/>
                </a:lnTo>
                <a:lnTo>
                  <a:pt x="454" y="342"/>
                </a:lnTo>
                <a:lnTo>
                  <a:pt x="454" y="335"/>
                </a:lnTo>
                <a:lnTo>
                  <a:pt x="456" y="327"/>
                </a:lnTo>
                <a:lnTo>
                  <a:pt x="456" y="327"/>
                </a:lnTo>
                <a:lnTo>
                  <a:pt x="458" y="302"/>
                </a:lnTo>
                <a:lnTo>
                  <a:pt x="458" y="302"/>
                </a:lnTo>
                <a:lnTo>
                  <a:pt x="459" y="294"/>
                </a:lnTo>
                <a:lnTo>
                  <a:pt x="461" y="284"/>
                </a:lnTo>
                <a:lnTo>
                  <a:pt x="461" y="284"/>
                </a:lnTo>
                <a:lnTo>
                  <a:pt x="470" y="255"/>
                </a:lnTo>
                <a:lnTo>
                  <a:pt x="470" y="255"/>
                </a:lnTo>
                <a:lnTo>
                  <a:pt x="475" y="255"/>
                </a:lnTo>
                <a:lnTo>
                  <a:pt x="478" y="255"/>
                </a:lnTo>
                <a:lnTo>
                  <a:pt x="480" y="253"/>
                </a:lnTo>
                <a:lnTo>
                  <a:pt x="483" y="248"/>
                </a:lnTo>
                <a:lnTo>
                  <a:pt x="483" y="248"/>
                </a:lnTo>
                <a:lnTo>
                  <a:pt x="485" y="244"/>
                </a:lnTo>
                <a:lnTo>
                  <a:pt x="485" y="244"/>
                </a:lnTo>
                <a:lnTo>
                  <a:pt x="491" y="236"/>
                </a:lnTo>
                <a:lnTo>
                  <a:pt x="491" y="236"/>
                </a:lnTo>
                <a:lnTo>
                  <a:pt x="495" y="229"/>
                </a:lnTo>
                <a:lnTo>
                  <a:pt x="499" y="222"/>
                </a:lnTo>
                <a:lnTo>
                  <a:pt x="501" y="214"/>
                </a:lnTo>
                <a:lnTo>
                  <a:pt x="503" y="206"/>
                </a:lnTo>
                <a:lnTo>
                  <a:pt x="503" y="206"/>
                </a:lnTo>
                <a:lnTo>
                  <a:pt x="500" y="197"/>
                </a:lnTo>
                <a:lnTo>
                  <a:pt x="500" y="192"/>
                </a:lnTo>
                <a:lnTo>
                  <a:pt x="503" y="187"/>
                </a:lnTo>
                <a:lnTo>
                  <a:pt x="503" y="187"/>
                </a:lnTo>
                <a:lnTo>
                  <a:pt x="503" y="183"/>
                </a:lnTo>
                <a:lnTo>
                  <a:pt x="504" y="180"/>
                </a:lnTo>
                <a:lnTo>
                  <a:pt x="504" y="172"/>
                </a:lnTo>
                <a:lnTo>
                  <a:pt x="504" y="172"/>
                </a:lnTo>
                <a:lnTo>
                  <a:pt x="505" y="161"/>
                </a:lnTo>
                <a:lnTo>
                  <a:pt x="505" y="161"/>
                </a:lnTo>
                <a:lnTo>
                  <a:pt x="506" y="154"/>
                </a:lnTo>
                <a:lnTo>
                  <a:pt x="506" y="154"/>
                </a:lnTo>
                <a:lnTo>
                  <a:pt x="503" y="138"/>
                </a:lnTo>
                <a:lnTo>
                  <a:pt x="503" y="138"/>
                </a:lnTo>
                <a:lnTo>
                  <a:pt x="504" y="138"/>
                </a:lnTo>
                <a:lnTo>
                  <a:pt x="504" y="138"/>
                </a:lnTo>
                <a:lnTo>
                  <a:pt x="508" y="143"/>
                </a:lnTo>
                <a:lnTo>
                  <a:pt x="508" y="143"/>
                </a:lnTo>
                <a:lnTo>
                  <a:pt x="508" y="138"/>
                </a:lnTo>
                <a:lnTo>
                  <a:pt x="508" y="138"/>
                </a:lnTo>
                <a:lnTo>
                  <a:pt x="504" y="133"/>
                </a:lnTo>
                <a:lnTo>
                  <a:pt x="504" y="133"/>
                </a:lnTo>
                <a:lnTo>
                  <a:pt x="503" y="130"/>
                </a:lnTo>
                <a:lnTo>
                  <a:pt x="503" y="130"/>
                </a:lnTo>
                <a:lnTo>
                  <a:pt x="504" y="128"/>
                </a:lnTo>
                <a:lnTo>
                  <a:pt x="503" y="124"/>
                </a:lnTo>
                <a:lnTo>
                  <a:pt x="500" y="119"/>
                </a:lnTo>
                <a:lnTo>
                  <a:pt x="500" y="119"/>
                </a:lnTo>
                <a:lnTo>
                  <a:pt x="495" y="112"/>
                </a:lnTo>
                <a:lnTo>
                  <a:pt x="495" y="112"/>
                </a:lnTo>
                <a:lnTo>
                  <a:pt x="496" y="109"/>
                </a:lnTo>
                <a:lnTo>
                  <a:pt x="496" y="109"/>
                </a:lnTo>
                <a:lnTo>
                  <a:pt x="494" y="108"/>
                </a:lnTo>
                <a:lnTo>
                  <a:pt x="491" y="105"/>
                </a:lnTo>
                <a:lnTo>
                  <a:pt x="491" y="105"/>
                </a:lnTo>
                <a:lnTo>
                  <a:pt x="488" y="100"/>
                </a:lnTo>
                <a:lnTo>
                  <a:pt x="488" y="98"/>
                </a:lnTo>
                <a:lnTo>
                  <a:pt x="488" y="95"/>
                </a:lnTo>
                <a:lnTo>
                  <a:pt x="488" y="95"/>
                </a:lnTo>
                <a:lnTo>
                  <a:pt x="491" y="88"/>
                </a:lnTo>
                <a:lnTo>
                  <a:pt x="491" y="88"/>
                </a:lnTo>
                <a:lnTo>
                  <a:pt x="493" y="84"/>
                </a:lnTo>
                <a:lnTo>
                  <a:pt x="493" y="79"/>
                </a:lnTo>
                <a:lnTo>
                  <a:pt x="493" y="79"/>
                </a:lnTo>
                <a:lnTo>
                  <a:pt x="489" y="88"/>
                </a:lnTo>
                <a:lnTo>
                  <a:pt x="489" y="88"/>
                </a:lnTo>
                <a:lnTo>
                  <a:pt x="485" y="83"/>
                </a:lnTo>
                <a:lnTo>
                  <a:pt x="485" y="83"/>
                </a:lnTo>
                <a:lnTo>
                  <a:pt x="487" y="81"/>
                </a:lnTo>
                <a:lnTo>
                  <a:pt x="487" y="78"/>
                </a:lnTo>
                <a:lnTo>
                  <a:pt x="485" y="76"/>
                </a:lnTo>
                <a:lnTo>
                  <a:pt x="483" y="74"/>
                </a:lnTo>
                <a:lnTo>
                  <a:pt x="483" y="74"/>
                </a:lnTo>
                <a:lnTo>
                  <a:pt x="488" y="68"/>
                </a:lnTo>
                <a:lnTo>
                  <a:pt x="488" y="68"/>
                </a:lnTo>
                <a:lnTo>
                  <a:pt x="488" y="68"/>
                </a:lnTo>
                <a:lnTo>
                  <a:pt x="488" y="68"/>
                </a:lnTo>
                <a:lnTo>
                  <a:pt x="484" y="68"/>
                </a:lnTo>
                <a:lnTo>
                  <a:pt x="480" y="68"/>
                </a:lnTo>
                <a:lnTo>
                  <a:pt x="478" y="66"/>
                </a:lnTo>
                <a:lnTo>
                  <a:pt x="475" y="63"/>
                </a:lnTo>
                <a:lnTo>
                  <a:pt x="475" y="63"/>
                </a:lnTo>
                <a:lnTo>
                  <a:pt x="475" y="62"/>
                </a:lnTo>
                <a:lnTo>
                  <a:pt x="475" y="62"/>
                </a:lnTo>
                <a:lnTo>
                  <a:pt x="474" y="59"/>
                </a:lnTo>
                <a:lnTo>
                  <a:pt x="475" y="57"/>
                </a:lnTo>
                <a:lnTo>
                  <a:pt x="475" y="57"/>
                </a:lnTo>
                <a:lnTo>
                  <a:pt x="473" y="59"/>
                </a:lnTo>
                <a:lnTo>
                  <a:pt x="473" y="59"/>
                </a:lnTo>
                <a:lnTo>
                  <a:pt x="465" y="57"/>
                </a:lnTo>
                <a:lnTo>
                  <a:pt x="465" y="57"/>
                </a:lnTo>
                <a:lnTo>
                  <a:pt x="467" y="53"/>
                </a:lnTo>
                <a:lnTo>
                  <a:pt x="467" y="53"/>
                </a:lnTo>
                <a:lnTo>
                  <a:pt x="465" y="48"/>
                </a:lnTo>
                <a:lnTo>
                  <a:pt x="464" y="42"/>
                </a:lnTo>
                <a:lnTo>
                  <a:pt x="464" y="42"/>
                </a:lnTo>
                <a:lnTo>
                  <a:pt x="463" y="42"/>
                </a:lnTo>
                <a:lnTo>
                  <a:pt x="463" y="42"/>
                </a:lnTo>
                <a:lnTo>
                  <a:pt x="458" y="40"/>
                </a:lnTo>
                <a:lnTo>
                  <a:pt x="454" y="37"/>
                </a:lnTo>
                <a:lnTo>
                  <a:pt x="454" y="37"/>
                </a:lnTo>
                <a:lnTo>
                  <a:pt x="449" y="35"/>
                </a:lnTo>
                <a:lnTo>
                  <a:pt x="449" y="35"/>
                </a:lnTo>
                <a:lnTo>
                  <a:pt x="449" y="33"/>
                </a:lnTo>
                <a:lnTo>
                  <a:pt x="449" y="33"/>
                </a:lnTo>
                <a:lnTo>
                  <a:pt x="452" y="38"/>
                </a:lnTo>
                <a:lnTo>
                  <a:pt x="452" y="38"/>
                </a:lnTo>
                <a:lnTo>
                  <a:pt x="451" y="40"/>
                </a:lnTo>
                <a:lnTo>
                  <a:pt x="451" y="40"/>
                </a:lnTo>
                <a:lnTo>
                  <a:pt x="442" y="29"/>
                </a:lnTo>
                <a:lnTo>
                  <a:pt x="442" y="29"/>
                </a:lnTo>
                <a:lnTo>
                  <a:pt x="441" y="33"/>
                </a:lnTo>
                <a:lnTo>
                  <a:pt x="441" y="33"/>
                </a:lnTo>
                <a:lnTo>
                  <a:pt x="438" y="27"/>
                </a:lnTo>
                <a:lnTo>
                  <a:pt x="438" y="27"/>
                </a:lnTo>
                <a:lnTo>
                  <a:pt x="438" y="26"/>
                </a:lnTo>
                <a:lnTo>
                  <a:pt x="438" y="26"/>
                </a:lnTo>
                <a:lnTo>
                  <a:pt x="437" y="25"/>
                </a:lnTo>
                <a:lnTo>
                  <a:pt x="437" y="25"/>
                </a:lnTo>
                <a:lnTo>
                  <a:pt x="434" y="22"/>
                </a:lnTo>
                <a:lnTo>
                  <a:pt x="433" y="21"/>
                </a:lnTo>
                <a:lnTo>
                  <a:pt x="433" y="19"/>
                </a:lnTo>
                <a:lnTo>
                  <a:pt x="433" y="19"/>
                </a:lnTo>
                <a:lnTo>
                  <a:pt x="434" y="16"/>
                </a:lnTo>
                <a:lnTo>
                  <a:pt x="434" y="16"/>
                </a:lnTo>
                <a:lnTo>
                  <a:pt x="432" y="14"/>
                </a:lnTo>
                <a:lnTo>
                  <a:pt x="430" y="10"/>
                </a:lnTo>
                <a:lnTo>
                  <a:pt x="430" y="10"/>
                </a:lnTo>
                <a:lnTo>
                  <a:pt x="430" y="12"/>
                </a:lnTo>
                <a:lnTo>
                  <a:pt x="427" y="14"/>
                </a:lnTo>
                <a:lnTo>
                  <a:pt x="427" y="14"/>
                </a:lnTo>
                <a:lnTo>
                  <a:pt x="426" y="14"/>
                </a:lnTo>
                <a:lnTo>
                  <a:pt x="423" y="14"/>
                </a:lnTo>
                <a:lnTo>
                  <a:pt x="421" y="12"/>
                </a:lnTo>
                <a:lnTo>
                  <a:pt x="420" y="10"/>
                </a:lnTo>
                <a:lnTo>
                  <a:pt x="420" y="10"/>
                </a:lnTo>
                <a:lnTo>
                  <a:pt x="420" y="7"/>
                </a:lnTo>
                <a:lnTo>
                  <a:pt x="420" y="7"/>
                </a:lnTo>
                <a:lnTo>
                  <a:pt x="416" y="5"/>
                </a:lnTo>
                <a:lnTo>
                  <a:pt x="412" y="4"/>
                </a:lnTo>
                <a:lnTo>
                  <a:pt x="412" y="4"/>
                </a:lnTo>
                <a:lnTo>
                  <a:pt x="413" y="5"/>
                </a:lnTo>
                <a:lnTo>
                  <a:pt x="413" y="5"/>
                </a:lnTo>
                <a:lnTo>
                  <a:pt x="416" y="9"/>
                </a:lnTo>
                <a:lnTo>
                  <a:pt x="417" y="12"/>
                </a:lnTo>
                <a:lnTo>
                  <a:pt x="417" y="12"/>
                </a:lnTo>
                <a:lnTo>
                  <a:pt x="420" y="19"/>
                </a:lnTo>
                <a:lnTo>
                  <a:pt x="418" y="20"/>
                </a:lnTo>
                <a:lnTo>
                  <a:pt x="417" y="22"/>
                </a:lnTo>
                <a:lnTo>
                  <a:pt x="417" y="22"/>
                </a:lnTo>
                <a:lnTo>
                  <a:pt x="413" y="17"/>
                </a:lnTo>
                <a:lnTo>
                  <a:pt x="411" y="15"/>
                </a:lnTo>
                <a:lnTo>
                  <a:pt x="412" y="11"/>
                </a:lnTo>
                <a:lnTo>
                  <a:pt x="412" y="11"/>
                </a:lnTo>
                <a:lnTo>
                  <a:pt x="406" y="12"/>
                </a:lnTo>
                <a:lnTo>
                  <a:pt x="406" y="2"/>
                </a:lnTo>
                <a:lnTo>
                  <a:pt x="406" y="2"/>
                </a:lnTo>
                <a:lnTo>
                  <a:pt x="399" y="14"/>
                </a:lnTo>
                <a:lnTo>
                  <a:pt x="399" y="14"/>
                </a:lnTo>
                <a:lnTo>
                  <a:pt x="396" y="9"/>
                </a:lnTo>
                <a:lnTo>
                  <a:pt x="396" y="9"/>
                </a:lnTo>
                <a:lnTo>
                  <a:pt x="394" y="0"/>
                </a:lnTo>
                <a:lnTo>
                  <a:pt x="394" y="0"/>
                </a:lnTo>
                <a:lnTo>
                  <a:pt x="392" y="0"/>
                </a:lnTo>
                <a:lnTo>
                  <a:pt x="392" y="0"/>
                </a:lnTo>
                <a:lnTo>
                  <a:pt x="390" y="7"/>
                </a:lnTo>
                <a:lnTo>
                  <a:pt x="390" y="7"/>
                </a:lnTo>
                <a:lnTo>
                  <a:pt x="389" y="7"/>
                </a:lnTo>
                <a:lnTo>
                  <a:pt x="389" y="7"/>
                </a:lnTo>
                <a:lnTo>
                  <a:pt x="389" y="4"/>
                </a:lnTo>
                <a:lnTo>
                  <a:pt x="389" y="4"/>
                </a:lnTo>
                <a:lnTo>
                  <a:pt x="385" y="6"/>
                </a:lnTo>
                <a:lnTo>
                  <a:pt x="380" y="6"/>
                </a:lnTo>
                <a:lnTo>
                  <a:pt x="380" y="6"/>
                </a:lnTo>
                <a:lnTo>
                  <a:pt x="379" y="14"/>
                </a:lnTo>
                <a:lnTo>
                  <a:pt x="379" y="14"/>
                </a:lnTo>
                <a:lnTo>
                  <a:pt x="373" y="6"/>
                </a:lnTo>
                <a:lnTo>
                  <a:pt x="373" y="6"/>
                </a:lnTo>
                <a:lnTo>
                  <a:pt x="371" y="7"/>
                </a:lnTo>
                <a:lnTo>
                  <a:pt x="371" y="7"/>
                </a:lnTo>
                <a:lnTo>
                  <a:pt x="376" y="19"/>
                </a:lnTo>
                <a:lnTo>
                  <a:pt x="376" y="19"/>
                </a:lnTo>
                <a:lnTo>
                  <a:pt x="368" y="12"/>
                </a:lnTo>
                <a:lnTo>
                  <a:pt x="368" y="12"/>
                </a:lnTo>
                <a:lnTo>
                  <a:pt x="369" y="16"/>
                </a:lnTo>
                <a:lnTo>
                  <a:pt x="370" y="19"/>
                </a:lnTo>
                <a:lnTo>
                  <a:pt x="369" y="21"/>
                </a:lnTo>
                <a:lnTo>
                  <a:pt x="366" y="22"/>
                </a:lnTo>
                <a:lnTo>
                  <a:pt x="366" y="22"/>
                </a:lnTo>
                <a:lnTo>
                  <a:pt x="363" y="21"/>
                </a:lnTo>
                <a:lnTo>
                  <a:pt x="360" y="21"/>
                </a:lnTo>
                <a:lnTo>
                  <a:pt x="360" y="21"/>
                </a:lnTo>
                <a:lnTo>
                  <a:pt x="351" y="26"/>
                </a:lnTo>
                <a:lnTo>
                  <a:pt x="351" y="26"/>
                </a:lnTo>
                <a:lnTo>
                  <a:pt x="348" y="29"/>
                </a:lnTo>
                <a:lnTo>
                  <a:pt x="347" y="29"/>
                </a:lnTo>
                <a:lnTo>
                  <a:pt x="344" y="27"/>
                </a:lnTo>
                <a:lnTo>
                  <a:pt x="344" y="17"/>
                </a:lnTo>
                <a:lnTo>
                  <a:pt x="344" y="17"/>
                </a:lnTo>
                <a:lnTo>
                  <a:pt x="342" y="17"/>
                </a:lnTo>
                <a:lnTo>
                  <a:pt x="342" y="17"/>
                </a:lnTo>
                <a:lnTo>
                  <a:pt x="343" y="21"/>
                </a:lnTo>
                <a:lnTo>
                  <a:pt x="342" y="24"/>
                </a:lnTo>
                <a:lnTo>
                  <a:pt x="339" y="30"/>
                </a:lnTo>
                <a:lnTo>
                  <a:pt x="335" y="33"/>
                </a:lnTo>
                <a:lnTo>
                  <a:pt x="330" y="38"/>
                </a:lnTo>
                <a:lnTo>
                  <a:pt x="330" y="38"/>
                </a:lnTo>
                <a:lnTo>
                  <a:pt x="333" y="30"/>
                </a:lnTo>
                <a:lnTo>
                  <a:pt x="333" y="30"/>
                </a:lnTo>
                <a:lnTo>
                  <a:pt x="338" y="21"/>
                </a:lnTo>
                <a:lnTo>
                  <a:pt x="338" y="21"/>
                </a:lnTo>
                <a:lnTo>
                  <a:pt x="335" y="22"/>
                </a:lnTo>
                <a:lnTo>
                  <a:pt x="334" y="24"/>
                </a:lnTo>
                <a:lnTo>
                  <a:pt x="334" y="24"/>
                </a:lnTo>
                <a:lnTo>
                  <a:pt x="324" y="42"/>
                </a:lnTo>
                <a:lnTo>
                  <a:pt x="324" y="42"/>
                </a:lnTo>
                <a:lnTo>
                  <a:pt x="322" y="47"/>
                </a:lnTo>
                <a:lnTo>
                  <a:pt x="319" y="48"/>
                </a:lnTo>
                <a:lnTo>
                  <a:pt x="316" y="48"/>
                </a:lnTo>
                <a:lnTo>
                  <a:pt x="316" y="48"/>
                </a:lnTo>
                <a:lnTo>
                  <a:pt x="320" y="40"/>
                </a:lnTo>
                <a:lnTo>
                  <a:pt x="320" y="40"/>
                </a:lnTo>
                <a:lnTo>
                  <a:pt x="319" y="38"/>
                </a:lnTo>
                <a:lnTo>
                  <a:pt x="319" y="38"/>
                </a:lnTo>
                <a:lnTo>
                  <a:pt x="308" y="55"/>
                </a:lnTo>
                <a:lnTo>
                  <a:pt x="308" y="55"/>
                </a:lnTo>
                <a:lnTo>
                  <a:pt x="308" y="51"/>
                </a:lnTo>
                <a:lnTo>
                  <a:pt x="308" y="51"/>
                </a:lnTo>
                <a:lnTo>
                  <a:pt x="307" y="51"/>
                </a:lnTo>
                <a:lnTo>
                  <a:pt x="307" y="51"/>
                </a:lnTo>
                <a:lnTo>
                  <a:pt x="303" y="64"/>
                </a:lnTo>
                <a:lnTo>
                  <a:pt x="303" y="64"/>
                </a:lnTo>
                <a:lnTo>
                  <a:pt x="299" y="66"/>
                </a:lnTo>
                <a:lnTo>
                  <a:pt x="297" y="68"/>
                </a:lnTo>
                <a:lnTo>
                  <a:pt x="294" y="73"/>
                </a:lnTo>
                <a:lnTo>
                  <a:pt x="294" y="73"/>
                </a:lnTo>
                <a:lnTo>
                  <a:pt x="288" y="78"/>
                </a:lnTo>
                <a:lnTo>
                  <a:pt x="288" y="78"/>
                </a:lnTo>
                <a:lnTo>
                  <a:pt x="283" y="78"/>
                </a:lnTo>
                <a:lnTo>
                  <a:pt x="283" y="78"/>
                </a:lnTo>
                <a:lnTo>
                  <a:pt x="291" y="82"/>
                </a:lnTo>
                <a:lnTo>
                  <a:pt x="291" y="82"/>
                </a:lnTo>
                <a:lnTo>
                  <a:pt x="291" y="83"/>
                </a:lnTo>
                <a:lnTo>
                  <a:pt x="291" y="83"/>
                </a:lnTo>
                <a:lnTo>
                  <a:pt x="286" y="83"/>
                </a:lnTo>
                <a:lnTo>
                  <a:pt x="286" y="83"/>
                </a:lnTo>
                <a:lnTo>
                  <a:pt x="286" y="83"/>
                </a:lnTo>
                <a:lnTo>
                  <a:pt x="286" y="83"/>
                </a:lnTo>
                <a:lnTo>
                  <a:pt x="291" y="84"/>
                </a:lnTo>
                <a:lnTo>
                  <a:pt x="291" y="84"/>
                </a:lnTo>
                <a:lnTo>
                  <a:pt x="291" y="90"/>
                </a:lnTo>
                <a:lnTo>
                  <a:pt x="283" y="90"/>
                </a:lnTo>
                <a:lnTo>
                  <a:pt x="283" y="90"/>
                </a:lnTo>
                <a:lnTo>
                  <a:pt x="285" y="94"/>
                </a:lnTo>
                <a:lnTo>
                  <a:pt x="285" y="98"/>
                </a:lnTo>
                <a:lnTo>
                  <a:pt x="283" y="102"/>
                </a:lnTo>
                <a:lnTo>
                  <a:pt x="280" y="104"/>
                </a:lnTo>
                <a:lnTo>
                  <a:pt x="280" y="104"/>
                </a:lnTo>
                <a:lnTo>
                  <a:pt x="277" y="109"/>
                </a:lnTo>
                <a:lnTo>
                  <a:pt x="277" y="109"/>
                </a:lnTo>
                <a:lnTo>
                  <a:pt x="278" y="109"/>
                </a:lnTo>
                <a:lnTo>
                  <a:pt x="278" y="109"/>
                </a:lnTo>
                <a:lnTo>
                  <a:pt x="286" y="102"/>
                </a:lnTo>
                <a:lnTo>
                  <a:pt x="286" y="102"/>
                </a:lnTo>
                <a:lnTo>
                  <a:pt x="283" y="107"/>
                </a:lnTo>
                <a:lnTo>
                  <a:pt x="281" y="112"/>
                </a:lnTo>
                <a:lnTo>
                  <a:pt x="281" y="112"/>
                </a:lnTo>
                <a:lnTo>
                  <a:pt x="273" y="131"/>
                </a:lnTo>
                <a:lnTo>
                  <a:pt x="273" y="131"/>
                </a:lnTo>
                <a:lnTo>
                  <a:pt x="273" y="134"/>
                </a:lnTo>
                <a:lnTo>
                  <a:pt x="273" y="136"/>
                </a:lnTo>
                <a:lnTo>
                  <a:pt x="273" y="136"/>
                </a:lnTo>
                <a:lnTo>
                  <a:pt x="276" y="136"/>
                </a:lnTo>
                <a:lnTo>
                  <a:pt x="277" y="139"/>
                </a:lnTo>
                <a:lnTo>
                  <a:pt x="276" y="143"/>
                </a:lnTo>
                <a:lnTo>
                  <a:pt x="276" y="143"/>
                </a:lnTo>
                <a:lnTo>
                  <a:pt x="275" y="151"/>
                </a:lnTo>
                <a:lnTo>
                  <a:pt x="272" y="161"/>
                </a:lnTo>
                <a:lnTo>
                  <a:pt x="272" y="161"/>
                </a:lnTo>
                <a:lnTo>
                  <a:pt x="273" y="166"/>
                </a:lnTo>
                <a:lnTo>
                  <a:pt x="273" y="174"/>
                </a:lnTo>
                <a:lnTo>
                  <a:pt x="273" y="174"/>
                </a:lnTo>
                <a:lnTo>
                  <a:pt x="275" y="177"/>
                </a:lnTo>
                <a:lnTo>
                  <a:pt x="275" y="182"/>
                </a:lnTo>
                <a:lnTo>
                  <a:pt x="275" y="182"/>
                </a:lnTo>
                <a:lnTo>
                  <a:pt x="272" y="190"/>
                </a:lnTo>
                <a:lnTo>
                  <a:pt x="271" y="197"/>
                </a:lnTo>
                <a:lnTo>
                  <a:pt x="271" y="205"/>
                </a:lnTo>
                <a:lnTo>
                  <a:pt x="272" y="212"/>
                </a:lnTo>
                <a:lnTo>
                  <a:pt x="272" y="212"/>
                </a:lnTo>
                <a:lnTo>
                  <a:pt x="275" y="226"/>
                </a:lnTo>
                <a:lnTo>
                  <a:pt x="275" y="226"/>
                </a:lnTo>
                <a:lnTo>
                  <a:pt x="278" y="237"/>
                </a:lnTo>
                <a:lnTo>
                  <a:pt x="285" y="248"/>
                </a:lnTo>
                <a:lnTo>
                  <a:pt x="285" y="248"/>
                </a:lnTo>
                <a:lnTo>
                  <a:pt x="288" y="252"/>
                </a:lnTo>
                <a:lnTo>
                  <a:pt x="291" y="253"/>
                </a:lnTo>
                <a:lnTo>
                  <a:pt x="293" y="253"/>
                </a:lnTo>
                <a:lnTo>
                  <a:pt x="293" y="253"/>
                </a:lnTo>
                <a:lnTo>
                  <a:pt x="297" y="253"/>
                </a:lnTo>
                <a:lnTo>
                  <a:pt x="298" y="255"/>
                </a:lnTo>
                <a:lnTo>
                  <a:pt x="298" y="255"/>
                </a:lnTo>
                <a:lnTo>
                  <a:pt x="303" y="266"/>
                </a:lnTo>
                <a:lnTo>
                  <a:pt x="306" y="279"/>
                </a:lnTo>
                <a:lnTo>
                  <a:pt x="306" y="279"/>
                </a:lnTo>
                <a:lnTo>
                  <a:pt x="308" y="296"/>
                </a:lnTo>
                <a:lnTo>
                  <a:pt x="309" y="312"/>
                </a:lnTo>
                <a:lnTo>
                  <a:pt x="309" y="312"/>
                </a:lnTo>
                <a:lnTo>
                  <a:pt x="311" y="330"/>
                </a:lnTo>
                <a:lnTo>
                  <a:pt x="311" y="330"/>
                </a:lnTo>
                <a:lnTo>
                  <a:pt x="311" y="336"/>
                </a:lnTo>
                <a:lnTo>
                  <a:pt x="312" y="340"/>
                </a:lnTo>
                <a:lnTo>
                  <a:pt x="314" y="342"/>
                </a:lnTo>
                <a:lnTo>
                  <a:pt x="314" y="342"/>
                </a:lnTo>
                <a:lnTo>
                  <a:pt x="328" y="352"/>
                </a:lnTo>
                <a:lnTo>
                  <a:pt x="342" y="362"/>
                </a:lnTo>
                <a:lnTo>
                  <a:pt x="342" y="362"/>
                </a:lnTo>
                <a:lnTo>
                  <a:pt x="351" y="373"/>
                </a:lnTo>
                <a:lnTo>
                  <a:pt x="361" y="384"/>
                </a:lnTo>
                <a:lnTo>
                  <a:pt x="361" y="384"/>
                </a:lnTo>
                <a:lnTo>
                  <a:pt x="343" y="398"/>
                </a:lnTo>
                <a:lnTo>
                  <a:pt x="343" y="398"/>
                </a:lnTo>
                <a:lnTo>
                  <a:pt x="340" y="400"/>
                </a:lnTo>
                <a:lnTo>
                  <a:pt x="340" y="402"/>
                </a:lnTo>
                <a:lnTo>
                  <a:pt x="340" y="404"/>
                </a:lnTo>
                <a:lnTo>
                  <a:pt x="342" y="407"/>
                </a:lnTo>
                <a:lnTo>
                  <a:pt x="342" y="407"/>
                </a:lnTo>
                <a:lnTo>
                  <a:pt x="347" y="412"/>
                </a:lnTo>
                <a:lnTo>
                  <a:pt x="351" y="416"/>
                </a:lnTo>
                <a:lnTo>
                  <a:pt x="351" y="416"/>
                </a:lnTo>
                <a:lnTo>
                  <a:pt x="358" y="424"/>
                </a:lnTo>
                <a:lnTo>
                  <a:pt x="361" y="430"/>
                </a:lnTo>
                <a:lnTo>
                  <a:pt x="363" y="439"/>
                </a:lnTo>
                <a:lnTo>
                  <a:pt x="363" y="449"/>
                </a:lnTo>
                <a:lnTo>
                  <a:pt x="363" y="449"/>
                </a:lnTo>
                <a:lnTo>
                  <a:pt x="361" y="457"/>
                </a:lnTo>
                <a:lnTo>
                  <a:pt x="358" y="467"/>
                </a:lnTo>
                <a:lnTo>
                  <a:pt x="354" y="475"/>
                </a:lnTo>
                <a:lnTo>
                  <a:pt x="349" y="482"/>
                </a:lnTo>
                <a:lnTo>
                  <a:pt x="349" y="482"/>
                </a:lnTo>
                <a:lnTo>
                  <a:pt x="343" y="491"/>
                </a:lnTo>
                <a:lnTo>
                  <a:pt x="338" y="500"/>
                </a:lnTo>
                <a:lnTo>
                  <a:pt x="335" y="509"/>
                </a:lnTo>
                <a:lnTo>
                  <a:pt x="333" y="519"/>
                </a:lnTo>
                <a:lnTo>
                  <a:pt x="333" y="519"/>
                </a:lnTo>
                <a:lnTo>
                  <a:pt x="325" y="592"/>
                </a:lnTo>
                <a:lnTo>
                  <a:pt x="325" y="592"/>
                </a:lnTo>
                <a:lnTo>
                  <a:pt x="323" y="600"/>
                </a:lnTo>
                <a:lnTo>
                  <a:pt x="323" y="600"/>
                </a:lnTo>
                <a:lnTo>
                  <a:pt x="320" y="599"/>
                </a:lnTo>
                <a:lnTo>
                  <a:pt x="320" y="599"/>
                </a:lnTo>
                <a:lnTo>
                  <a:pt x="319" y="597"/>
                </a:lnTo>
                <a:lnTo>
                  <a:pt x="319" y="597"/>
                </a:lnTo>
                <a:lnTo>
                  <a:pt x="311" y="576"/>
                </a:lnTo>
                <a:lnTo>
                  <a:pt x="303" y="557"/>
                </a:lnTo>
                <a:lnTo>
                  <a:pt x="297" y="535"/>
                </a:lnTo>
                <a:lnTo>
                  <a:pt x="296" y="524"/>
                </a:lnTo>
                <a:lnTo>
                  <a:pt x="293" y="513"/>
                </a:lnTo>
                <a:lnTo>
                  <a:pt x="293" y="513"/>
                </a:lnTo>
                <a:lnTo>
                  <a:pt x="291" y="491"/>
                </a:lnTo>
                <a:lnTo>
                  <a:pt x="290" y="470"/>
                </a:lnTo>
                <a:lnTo>
                  <a:pt x="290" y="470"/>
                </a:lnTo>
                <a:lnTo>
                  <a:pt x="287" y="425"/>
                </a:lnTo>
                <a:lnTo>
                  <a:pt x="287" y="404"/>
                </a:lnTo>
                <a:lnTo>
                  <a:pt x="288" y="393"/>
                </a:lnTo>
                <a:lnTo>
                  <a:pt x="291" y="382"/>
                </a:lnTo>
                <a:lnTo>
                  <a:pt x="291" y="382"/>
                </a:lnTo>
                <a:lnTo>
                  <a:pt x="281" y="387"/>
                </a:lnTo>
                <a:lnTo>
                  <a:pt x="271" y="397"/>
                </a:lnTo>
                <a:lnTo>
                  <a:pt x="271" y="397"/>
                </a:lnTo>
                <a:lnTo>
                  <a:pt x="261" y="405"/>
                </a:lnTo>
                <a:lnTo>
                  <a:pt x="256" y="408"/>
                </a:lnTo>
                <a:lnTo>
                  <a:pt x="250" y="410"/>
                </a:lnTo>
                <a:lnTo>
                  <a:pt x="250" y="410"/>
                </a:lnTo>
                <a:lnTo>
                  <a:pt x="242" y="413"/>
                </a:lnTo>
                <a:lnTo>
                  <a:pt x="240" y="414"/>
                </a:lnTo>
                <a:lnTo>
                  <a:pt x="237" y="416"/>
                </a:lnTo>
                <a:lnTo>
                  <a:pt x="237" y="416"/>
                </a:lnTo>
                <a:lnTo>
                  <a:pt x="235" y="419"/>
                </a:lnTo>
                <a:lnTo>
                  <a:pt x="231" y="420"/>
                </a:lnTo>
                <a:lnTo>
                  <a:pt x="225" y="423"/>
                </a:lnTo>
                <a:lnTo>
                  <a:pt x="225" y="423"/>
                </a:lnTo>
                <a:lnTo>
                  <a:pt x="209" y="428"/>
                </a:lnTo>
                <a:lnTo>
                  <a:pt x="209" y="428"/>
                </a:lnTo>
                <a:lnTo>
                  <a:pt x="195" y="433"/>
                </a:lnTo>
                <a:lnTo>
                  <a:pt x="195" y="433"/>
                </a:lnTo>
                <a:lnTo>
                  <a:pt x="167" y="444"/>
                </a:lnTo>
                <a:lnTo>
                  <a:pt x="167" y="444"/>
                </a:lnTo>
                <a:lnTo>
                  <a:pt x="162" y="445"/>
                </a:lnTo>
                <a:lnTo>
                  <a:pt x="162" y="445"/>
                </a:lnTo>
                <a:lnTo>
                  <a:pt x="138" y="454"/>
                </a:lnTo>
                <a:lnTo>
                  <a:pt x="138" y="454"/>
                </a:lnTo>
                <a:lnTo>
                  <a:pt x="119" y="462"/>
                </a:lnTo>
                <a:lnTo>
                  <a:pt x="119" y="462"/>
                </a:lnTo>
                <a:lnTo>
                  <a:pt x="110" y="466"/>
                </a:lnTo>
                <a:lnTo>
                  <a:pt x="110" y="466"/>
                </a:lnTo>
                <a:lnTo>
                  <a:pt x="106" y="466"/>
                </a:lnTo>
                <a:lnTo>
                  <a:pt x="104" y="466"/>
                </a:lnTo>
                <a:lnTo>
                  <a:pt x="100" y="469"/>
                </a:lnTo>
                <a:lnTo>
                  <a:pt x="99" y="471"/>
                </a:lnTo>
                <a:lnTo>
                  <a:pt x="99" y="471"/>
                </a:lnTo>
                <a:lnTo>
                  <a:pt x="95" y="480"/>
                </a:lnTo>
                <a:lnTo>
                  <a:pt x="92" y="488"/>
                </a:lnTo>
                <a:lnTo>
                  <a:pt x="92" y="488"/>
                </a:lnTo>
                <a:lnTo>
                  <a:pt x="75" y="554"/>
                </a:lnTo>
                <a:lnTo>
                  <a:pt x="75" y="554"/>
                </a:lnTo>
                <a:lnTo>
                  <a:pt x="65" y="592"/>
                </a:lnTo>
                <a:lnTo>
                  <a:pt x="65" y="592"/>
                </a:lnTo>
                <a:lnTo>
                  <a:pt x="64" y="591"/>
                </a:lnTo>
                <a:lnTo>
                  <a:pt x="64" y="591"/>
                </a:lnTo>
                <a:lnTo>
                  <a:pt x="64" y="599"/>
                </a:lnTo>
                <a:lnTo>
                  <a:pt x="64" y="599"/>
                </a:lnTo>
                <a:lnTo>
                  <a:pt x="62" y="607"/>
                </a:lnTo>
                <a:lnTo>
                  <a:pt x="62" y="607"/>
                </a:lnTo>
                <a:lnTo>
                  <a:pt x="52" y="650"/>
                </a:lnTo>
                <a:lnTo>
                  <a:pt x="52" y="650"/>
                </a:lnTo>
                <a:lnTo>
                  <a:pt x="43" y="692"/>
                </a:lnTo>
                <a:lnTo>
                  <a:pt x="43" y="692"/>
                </a:lnTo>
                <a:lnTo>
                  <a:pt x="39" y="703"/>
                </a:lnTo>
                <a:lnTo>
                  <a:pt x="35" y="714"/>
                </a:lnTo>
                <a:lnTo>
                  <a:pt x="35" y="714"/>
                </a:lnTo>
                <a:lnTo>
                  <a:pt x="32" y="725"/>
                </a:lnTo>
                <a:lnTo>
                  <a:pt x="27" y="736"/>
                </a:lnTo>
                <a:lnTo>
                  <a:pt x="16" y="759"/>
                </a:lnTo>
                <a:lnTo>
                  <a:pt x="16" y="759"/>
                </a:lnTo>
                <a:lnTo>
                  <a:pt x="14" y="760"/>
                </a:lnTo>
                <a:lnTo>
                  <a:pt x="12" y="762"/>
                </a:lnTo>
                <a:lnTo>
                  <a:pt x="12" y="762"/>
                </a:lnTo>
                <a:lnTo>
                  <a:pt x="8" y="786"/>
                </a:lnTo>
                <a:lnTo>
                  <a:pt x="8" y="786"/>
                </a:lnTo>
                <a:lnTo>
                  <a:pt x="5" y="799"/>
                </a:lnTo>
                <a:lnTo>
                  <a:pt x="2" y="813"/>
                </a:lnTo>
                <a:lnTo>
                  <a:pt x="2" y="813"/>
                </a:lnTo>
                <a:lnTo>
                  <a:pt x="0" y="824"/>
                </a:lnTo>
                <a:lnTo>
                  <a:pt x="0" y="837"/>
                </a:lnTo>
                <a:lnTo>
                  <a:pt x="0" y="837"/>
                </a:lnTo>
                <a:lnTo>
                  <a:pt x="2" y="847"/>
                </a:lnTo>
                <a:lnTo>
                  <a:pt x="6" y="855"/>
                </a:lnTo>
                <a:lnTo>
                  <a:pt x="12" y="864"/>
                </a:lnTo>
                <a:lnTo>
                  <a:pt x="18" y="873"/>
                </a:lnTo>
                <a:lnTo>
                  <a:pt x="18" y="873"/>
                </a:lnTo>
                <a:lnTo>
                  <a:pt x="24" y="880"/>
                </a:lnTo>
                <a:lnTo>
                  <a:pt x="33" y="886"/>
                </a:lnTo>
                <a:lnTo>
                  <a:pt x="43" y="890"/>
                </a:lnTo>
                <a:lnTo>
                  <a:pt x="54" y="890"/>
                </a:lnTo>
                <a:lnTo>
                  <a:pt x="54" y="890"/>
                </a:lnTo>
                <a:lnTo>
                  <a:pt x="59" y="890"/>
                </a:lnTo>
                <a:lnTo>
                  <a:pt x="64" y="891"/>
                </a:lnTo>
                <a:lnTo>
                  <a:pt x="64" y="891"/>
                </a:lnTo>
                <a:lnTo>
                  <a:pt x="101" y="895"/>
                </a:lnTo>
                <a:lnTo>
                  <a:pt x="101" y="895"/>
                </a:lnTo>
                <a:lnTo>
                  <a:pt x="131" y="897"/>
                </a:lnTo>
                <a:lnTo>
                  <a:pt x="131" y="897"/>
                </a:lnTo>
                <a:lnTo>
                  <a:pt x="161" y="902"/>
                </a:lnTo>
                <a:lnTo>
                  <a:pt x="161" y="902"/>
                </a:lnTo>
                <a:lnTo>
                  <a:pt x="162" y="904"/>
                </a:lnTo>
                <a:lnTo>
                  <a:pt x="164" y="905"/>
                </a:lnTo>
                <a:lnTo>
                  <a:pt x="164" y="905"/>
                </a:lnTo>
                <a:lnTo>
                  <a:pt x="163" y="915"/>
                </a:lnTo>
                <a:lnTo>
                  <a:pt x="163" y="925"/>
                </a:lnTo>
                <a:lnTo>
                  <a:pt x="163" y="925"/>
                </a:lnTo>
                <a:lnTo>
                  <a:pt x="157" y="958"/>
                </a:lnTo>
                <a:lnTo>
                  <a:pt x="157" y="958"/>
                </a:lnTo>
                <a:lnTo>
                  <a:pt x="156" y="958"/>
                </a:lnTo>
                <a:lnTo>
                  <a:pt x="156" y="958"/>
                </a:lnTo>
                <a:lnTo>
                  <a:pt x="157" y="958"/>
                </a:lnTo>
                <a:lnTo>
                  <a:pt x="157" y="959"/>
                </a:lnTo>
                <a:lnTo>
                  <a:pt x="157" y="959"/>
                </a:lnTo>
                <a:lnTo>
                  <a:pt x="157" y="973"/>
                </a:lnTo>
                <a:lnTo>
                  <a:pt x="157" y="973"/>
                </a:lnTo>
                <a:lnTo>
                  <a:pt x="156" y="985"/>
                </a:lnTo>
                <a:lnTo>
                  <a:pt x="156" y="985"/>
                </a:lnTo>
                <a:lnTo>
                  <a:pt x="157" y="1005"/>
                </a:lnTo>
                <a:lnTo>
                  <a:pt x="157" y="1014"/>
                </a:lnTo>
                <a:lnTo>
                  <a:pt x="156" y="1024"/>
                </a:lnTo>
                <a:lnTo>
                  <a:pt x="156" y="1024"/>
                </a:lnTo>
                <a:lnTo>
                  <a:pt x="153" y="1035"/>
                </a:lnTo>
                <a:lnTo>
                  <a:pt x="151" y="1047"/>
                </a:lnTo>
                <a:lnTo>
                  <a:pt x="145" y="1070"/>
                </a:lnTo>
                <a:lnTo>
                  <a:pt x="145" y="1070"/>
                </a:lnTo>
                <a:lnTo>
                  <a:pt x="141" y="1087"/>
                </a:lnTo>
                <a:lnTo>
                  <a:pt x="138" y="1104"/>
                </a:lnTo>
                <a:lnTo>
                  <a:pt x="138" y="1104"/>
                </a:lnTo>
                <a:lnTo>
                  <a:pt x="133" y="1145"/>
                </a:lnTo>
                <a:lnTo>
                  <a:pt x="133" y="1145"/>
                </a:lnTo>
                <a:lnTo>
                  <a:pt x="128" y="1175"/>
                </a:lnTo>
                <a:lnTo>
                  <a:pt x="128" y="1175"/>
                </a:lnTo>
                <a:lnTo>
                  <a:pt x="127" y="1186"/>
                </a:lnTo>
                <a:lnTo>
                  <a:pt x="127" y="1191"/>
                </a:lnTo>
                <a:lnTo>
                  <a:pt x="130" y="1197"/>
                </a:lnTo>
                <a:lnTo>
                  <a:pt x="130" y="1197"/>
                </a:lnTo>
                <a:lnTo>
                  <a:pt x="131" y="1200"/>
                </a:lnTo>
                <a:lnTo>
                  <a:pt x="131" y="1204"/>
                </a:lnTo>
                <a:lnTo>
                  <a:pt x="131" y="1204"/>
                </a:lnTo>
                <a:lnTo>
                  <a:pt x="128" y="1230"/>
                </a:lnTo>
                <a:lnTo>
                  <a:pt x="128" y="1230"/>
                </a:lnTo>
                <a:lnTo>
                  <a:pt x="126" y="1244"/>
                </a:lnTo>
                <a:lnTo>
                  <a:pt x="125" y="1259"/>
                </a:lnTo>
                <a:lnTo>
                  <a:pt x="125" y="1259"/>
                </a:lnTo>
                <a:lnTo>
                  <a:pt x="122" y="1283"/>
                </a:lnTo>
                <a:lnTo>
                  <a:pt x="122" y="1308"/>
                </a:lnTo>
                <a:lnTo>
                  <a:pt x="122" y="1308"/>
                </a:lnTo>
                <a:lnTo>
                  <a:pt x="122" y="1336"/>
                </a:lnTo>
                <a:lnTo>
                  <a:pt x="122" y="1363"/>
                </a:lnTo>
                <a:lnTo>
                  <a:pt x="122" y="1363"/>
                </a:lnTo>
                <a:lnTo>
                  <a:pt x="121" y="1388"/>
                </a:lnTo>
                <a:lnTo>
                  <a:pt x="121" y="1388"/>
                </a:lnTo>
                <a:lnTo>
                  <a:pt x="122" y="1399"/>
                </a:lnTo>
                <a:lnTo>
                  <a:pt x="122" y="1399"/>
                </a:lnTo>
                <a:lnTo>
                  <a:pt x="121" y="1434"/>
                </a:lnTo>
                <a:lnTo>
                  <a:pt x="121" y="1434"/>
                </a:lnTo>
                <a:lnTo>
                  <a:pt x="120" y="1466"/>
                </a:lnTo>
                <a:lnTo>
                  <a:pt x="120" y="1466"/>
                </a:lnTo>
                <a:lnTo>
                  <a:pt x="119" y="1492"/>
                </a:lnTo>
                <a:lnTo>
                  <a:pt x="120" y="1506"/>
                </a:lnTo>
                <a:lnTo>
                  <a:pt x="121" y="1520"/>
                </a:lnTo>
                <a:lnTo>
                  <a:pt x="121" y="1520"/>
                </a:lnTo>
                <a:lnTo>
                  <a:pt x="121" y="1525"/>
                </a:lnTo>
                <a:lnTo>
                  <a:pt x="121" y="1525"/>
                </a:lnTo>
                <a:lnTo>
                  <a:pt x="123" y="1536"/>
                </a:lnTo>
                <a:lnTo>
                  <a:pt x="123" y="1547"/>
                </a:lnTo>
                <a:lnTo>
                  <a:pt x="125" y="1569"/>
                </a:lnTo>
                <a:lnTo>
                  <a:pt x="125" y="1569"/>
                </a:lnTo>
                <a:lnTo>
                  <a:pt x="126" y="1613"/>
                </a:lnTo>
                <a:lnTo>
                  <a:pt x="126" y="1613"/>
                </a:lnTo>
                <a:lnTo>
                  <a:pt x="127" y="1630"/>
                </a:lnTo>
                <a:lnTo>
                  <a:pt x="127" y="1637"/>
                </a:lnTo>
                <a:lnTo>
                  <a:pt x="126" y="1646"/>
                </a:lnTo>
                <a:lnTo>
                  <a:pt x="126" y="1646"/>
                </a:lnTo>
                <a:lnTo>
                  <a:pt x="125" y="1655"/>
                </a:lnTo>
                <a:lnTo>
                  <a:pt x="125" y="1665"/>
                </a:lnTo>
                <a:lnTo>
                  <a:pt x="125" y="1673"/>
                </a:lnTo>
                <a:lnTo>
                  <a:pt x="127" y="1682"/>
                </a:lnTo>
                <a:lnTo>
                  <a:pt x="127" y="1682"/>
                </a:lnTo>
                <a:lnTo>
                  <a:pt x="130" y="1689"/>
                </a:lnTo>
                <a:lnTo>
                  <a:pt x="130" y="1696"/>
                </a:lnTo>
                <a:lnTo>
                  <a:pt x="130" y="1702"/>
                </a:lnTo>
                <a:lnTo>
                  <a:pt x="126" y="1708"/>
                </a:lnTo>
                <a:lnTo>
                  <a:pt x="126" y="1708"/>
                </a:lnTo>
                <a:lnTo>
                  <a:pt x="125" y="1712"/>
                </a:lnTo>
                <a:lnTo>
                  <a:pt x="125" y="1712"/>
                </a:lnTo>
                <a:lnTo>
                  <a:pt x="115" y="1745"/>
                </a:lnTo>
                <a:lnTo>
                  <a:pt x="115" y="1745"/>
                </a:lnTo>
                <a:lnTo>
                  <a:pt x="109" y="1770"/>
                </a:lnTo>
                <a:lnTo>
                  <a:pt x="105" y="1782"/>
                </a:lnTo>
                <a:lnTo>
                  <a:pt x="104" y="1795"/>
                </a:lnTo>
                <a:lnTo>
                  <a:pt x="104" y="1795"/>
                </a:lnTo>
                <a:lnTo>
                  <a:pt x="102" y="1808"/>
                </a:lnTo>
                <a:lnTo>
                  <a:pt x="102" y="1823"/>
                </a:lnTo>
                <a:lnTo>
                  <a:pt x="104" y="1838"/>
                </a:lnTo>
                <a:lnTo>
                  <a:pt x="106" y="1852"/>
                </a:lnTo>
                <a:lnTo>
                  <a:pt x="106" y="1852"/>
                </a:lnTo>
                <a:lnTo>
                  <a:pt x="107" y="1861"/>
                </a:lnTo>
                <a:lnTo>
                  <a:pt x="109" y="1869"/>
                </a:lnTo>
                <a:lnTo>
                  <a:pt x="109" y="1869"/>
                </a:lnTo>
                <a:lnTo>
                  <a:pt x="105" y="1892"/>
                </a:lnTo>
                <a:lnTo>
                  <a:pt x="102" y="1915"/>
                </a:lnTo>
                <a:lnTo>
                  <a:pt x="102" y="1915"/>
                </a:lnTo>
                <a:lnTo>
                  <a:pt x="100" y="1939"/>
                </a:lnTo>
                <a:lnTo>
                  <a:pt x="100" y="1961"/>
                </a:lnTo>
                <a:lnTo>
                  <a:pt x="100" y="1961"/>
                </a:lnTo>
                <a:lnTo>
                  <a:pt x="100" y="1970"/>
                </a:lnTo>
                <a:lnTo>
                  <a:pt x="100" y="1973"/>
                </a:lnTo>
                <a:lnTo>
                  <a:pt x="101" y="1978"/>
                </a:lnTo>
                <a:lnTo>
                  <a:pt x="101" y="1978"/>
                </a:lnTo>
                <a:lnTo>
                  <a:pt x="116" y="2004"/>
                </a:lnTo>
                <a:lnTo>
                  <a:pt x="116" y="2004"/>
                </a:lnTo>
                <a:lnTo>
                  <a:pt x="119" y="2009"/>
                </a:lnTo>
                <a:lnTo>
                  <a:pt x="122" y="2014"/>
                </a:lnTo>
                <a:lnTo>
                  <a:pt x="122" y="2014"/>
                </a:lnTo>
                <a:lnTo>
                  <a:pt x="125" y="2017"/>
                </a:lnTo>
                <a:lnTo>
                  <a:pt x="125" y="2019"/>
                </a:lnTo>
                <a:lnTo>
                  <a:pt x="123" y="2020"/>
                </a:lnTo>
                <a:lnTo>
                  <a:pt x="121" y="2023"/>
                </a:lnTo>
                <a:lnTo>
                  <a:pt x="121" y="2023"/>
                </a:lnTo>
                <a:lnTo>
                  <a:pt x="97" y="2037"/>
                </a:lnTo>
                <a:lnTo>
                  <a:pt x="97" y="2037"/>
                </a:lnTo>
                <a:lnTo>
                  <a:pt x="94" y="2039"/>
                </a:lnTo>
                <a:lnTo>
                  <a:pt x="91" y="2042"/>
                </a:lnTo>
                <a:lnTo>
                  <a:pt x="88" y="2049"/>
                </a:lnTo>
                <a:lnTo>
                  <a:pt x="86" y="2055"/>
                </a:lnTo>
                <a:lnTo>
                  <a:pt x="86" y="2064"/>
                </a:lnTo>
                <a:lnTo>
                  <a:pt x="86" y="2064"/>
                </a:lnTo>
                <a:lnTo>
                  <a:pt x="88" y="2074"/>
                </a:lnTo>
                <a:lnTo>
                  <a:pt x="88" y="2074"/>
                </a:lnTo>
                <a:lnTo>
                  <a:pt x="89" y="2091"/>
                </a:lnTo>
                <a:lnTo>
                  <a:pt x="89" y="2091"/>
                </a:lnTo>
                <a:lnTo>
                  <a:pt x="91" y="2107"/>
                </a:lnTo>
                <a:lnTo>
                  <a:pt x="91" y="2107"/>
                </a:lnTo>
                <a:lnTo>
                  <a:pt x="92" y="2120"/>
                </a:lnTo>
                <a:lnTo>
                  <a:pt x="91" y="2125"/>
                </a:lnTo>
                <a:lnTo>
                  <a:pt x="90" y="2131"/>
                </a:lnTo>
                <a:lnTo>
                  <a:pt x="90" y="2131"/>
                </a:lnTo>
                <a:lnTo>
                  <a:pt x="88" y="2141"/>
                </a:lnTo>
                <a:lnTo>
                  <a:pt x="85" y="2149"/>
                </a:lnTo>
                <a:lnTo>
                  <a:pt x="85" y="2149"/>
                </a:lnTo>
                <a:lnTo>
                  <a:pt x="84" y="2156"/>
                </a:lnTo>
                <a:lnTo>
                  <a:pt x="83" y="2159"/>
                </a:lnTo>
                <a:lnTo>
                  <a:pt x="81" y="2162"/>
                </a:lnTo>
                <a:lnTo>
                  <a:pt x="81" y="2162"/>
                </a:lnTo>
                <a:lnTo>
                  <a:pt x="53" y="2201"/>
                </a:lnTo>
                <a:lnTo>
                  <a:pt x="53" y="2201"/>
                </a:lnTo>
                <a:lnTo>
                  <a:pt x="44" y="2215"/>
                </a:lnTo>
                <a:lnTo>
                  <a:pt x="37" y="2227"/>
                </a:lnTo>
                <a:lnTo>
                  <a:pt x="37" y="2227"/>
                </a:lnTo>
                <a:lnTo>
                  <a:pt x="33" y="2237"/>
                </a:lnTo>
                <a:lnTo>
                  <a:pt x="29" y="2246"/>
                </a:lnTo>
                <a:lnTo>
                  <a:pt x="29" y="2246"/>
                </a:lnTo>
                <a:lnTo>
                  <a:pt x="14" y="2278"/>
                </a:lnTo>
                <a:lnTo>
                  <a:pt x="14" y="2278"/>
                </a:lnTo>
                <a:lnTo>
                  <a:pt x="13" y="2282"/>
                </a:lnTo>
                <a:lnTo>
                  <a:pt x="14" y="2286"/>
                </a:lnTo>
                <a:lnTo>
                  <a:pt x="16" y="2289"/>
                </a:lnTo>
                <a:lnTo>
                  <a:pt x="19" y="2291"/>
                </a:lnTo>
                <a:lnTo>
                  <a:pt x="19" y="2291"/>
                </a:lnTo>
                <a:lnTo>
                  <a:pt x="34" y="2294"/>
                </a:lnTo>
                <a:lnTo>
                  <a:pt x="34" y="2294"/>
                </a:lnTo>
                <a:lnTo>
                  <a:pt x="53" y="2297"/>
                </a:lnTo>
                <a:lnTo>
                  <a:pt x="70" y="2299"/>
                </a:lnTo>
                <a:lnTo>
                  <a:pt x="70" y="2299"/>
                </a:lnTo>
                <a:lnTo>
                  <a:pt x="86" y="2299"/>
                </a:lnTo>
                <a:lnTo>
                  <a:pt x="101" y="2298"/>
                </a:lnTo>
                <a:lnTo>
                  <a:pt x="101" y="2298"/>
                </a:lnTo>
                <a:lnTo>
                  <a:pt x="114" y="2296"/>
                </a:lnTo>
                <a:lnTo>
                  <a:pt x="125" y="2292"/>
                </a:lnTo>
                <a:lnTo>
                  <a:pt x="125" y="2292"/>
                </a:lnTo>
                <a:lnTo>
                  <a:pt x="137" y="2284"/>
                </a:lnTo>
                <a:lnTo>
                  <a:pt x="148" y="2276"/>
                </a:lnTo>
                <a:lnTo>
                  <a:pt x="148" y="2276"/>
                </a:lnTo>
                <a:lnTo>
                  <a:pt x="154" y="2271"/>
                </a:lnTo>
                <a:lnTo>
                  <a:pt x="158" y="2265"/>
                </a:lnTo>
                <a:lnTo>
                  <a:pt x="161" y="2257"/>
                </a:lnTo>
                <a:lnTo>
                  <a:pt x="161" y="2250"/>
                </a:lnTo>
                <a:lnTo>
                  <a:pt x="161" y="2250"/>
                </a:lnTo>
                <a:lnTo>
                  <a:pt x="161" y="2242"/>
                </a:lnTo>
                <a:lnTo>
                  <a:pt x="162" y="2235"/>
                </a:lnTo>
                <a:lnTo>
                  <a:pt x="163" y="2229"/>
                </a:lnTo>
                <a:lnTo>
                  <a:pt x="167" y="2221"/>
                </a:lnTo>
                <a:lnTo>
                  <a:pt x="167" y="2221"/>
                </a:lnTo>
                <a:lnTo>
                  <a:pt x="168" y="2219"/>
                </a:lnTo>
                <a:lnTo>
                  <a:pt x="169" y="2218"/>
                </a:lnTo>
                <a:lnTo>
                  <a:pt x="172" y="2218"/>
                </a:lnTo>
                <a:lnTo>
                  <a:pt x="173" y="2219"/>
                </a:lnTo>
                <a:lnTo>
                  <a:pt x="173" y="2219"/>
                </a:lnTo>
                <a:lnTo>
                  <a:pt x="176" y="2220"/>
                </a:lnTo>
                <a:lnTo>
                  <a:pt x="178" y="2220"/>
                </a:lnTo>
                <a:lnTo>
                  <a:pt x="182" y="2219"/>
                </a:lnTo>
                <a:lnTo>
                  <a:pt x="182" y="2219"/>
                </a:lnTo>
                <a:lnTo>
                  <a:pt x="190" y="2213"/>
                </a:lnTo>
                <a:lnTo>
                  <a:pt x="198" y="2206"/>
                </a:lnTo>
                <a:lnTo>
                  <a:pt x="198" y="2206"/>
                </a:lnTo>
                <a:lnTo>
                  <a:pt x="205" y="2200"/>
                </a:lnTo>
                <a:lnTo>
                  <a:pt x="208" y="2196"/>
                </a:lnTo>
                <a:lnTo>
                  <a:pt x="209" y="2191"/>
                </a:lnTo>
                <a:lnTo>
                  <a:pt x="209" y="2191"/>
                </a:lnTo>
                <a:lnTo>
                  <a:pt x="209" y="2163"/>
                </a:lnTo>
                <a:lnTo>
                  <a:pt x="209" y="2163"/>
                </a:lnTo>
                <a:lnTo>
                  <a:pt x="210" y="2149"/>
                </a:lnTo>
                <a:lnTo>
                  <a:pt x="210" y="2149"/>
                </a:lnTo>
                <a:lnTo>
                  <a:pt x="211" y="2143"/>
                </a:lnTo>
                <a:lnTo>
                  <a:pt x="211" y="2143"/>
                </a:lnTo>
                <a:lnTo>
                  <a:pt x="211" y="2138"/>
                </a:lnTo>
                <a:lnTo>
                  <a:pt x="214" y="2133"/>
                </a:lnTo>
                <a:lnTo>
                  <a:pt x="214" y="2133"/>
                </a:lnTo>
                <a:lnTo>
                  <a:pt x="229" y="2117"/>
                </a:lnTo>
                <a:lnTo>
                  <a:pt x="235" y="2108"/>
                </a:lnTo>
                <a:lnTo>
                  <a:pt x="241" y="2099"/>
                </a:lnTo>
                <a:lnTo>
                  <a:pt x="241" y="2099"/>
                </a:lnTo>
                <a:lnTo>
                  <a:pt x="249" y="2085"/>
                </a:lnTo>
                <a:lnTo>
                  <a:pt x="251" y="2077"/>
                </a:lnTo>
                <a:lnTo>
                  <a:pt x="252" y="2069"/>
                </a:lnTo>
                <a:lnTo>
                  <a:pt x="252" y="2069"/>
                </a:lnTo>
                <a:lnTo>
                  <a:pt x="254" y="2051"/>
                </a:lnTo>
                <a:lnTo>
                  <a:pt x="254" y="2051"/>
                </a:lnTo>
                <a:lnTo>
                  <a:pt x="254" y="2040"/>
                </a:lnTo>
                <a:lnTo>
                  <a:pt x="252" y="2030"/>
                </a:lnTo>
                <a:lnTo>
                  <a:pt x="252" y="2030"/>
                </a:lnTo>
                <a:lnTo>
                  <a:pt x="249" y="2022"/>
                </a:lnTo>
                <a:lnTo>
                  <a:pt x="246" y="2012"/>
                </a:lnTo>
                <a:lnTo>
                  <a:pt x="237" y="1994"/>
                </a:lnTo>
                <a:lnTo>
                  <a:pt x="237" y="1994"/>
                </a:lnTo>
                <a:lnTo>
                  <a:pt x="233" y="1983"/>
                </a:lnTo>
                <a:lnTo>
                  <a:pt x="229" y="1972"/>
                </a:lnTo>
                <a:lnTo>
                  <a:pt x="229" y="1972"/>
                </a:lnTo>
                <a:lnTo>
                  <a:pt x="228" y="1967"/>
                </a:lnTo>
                <a:lnTo>
                  <a:pt x="229" y="1963"/>
                </a:lnTo>
                <a:lnTo>
                  <a:pt x="229" y="1963"/>
                </a:lnTo>
                <a:lnTo>
                  <a:pt x="233" y="1952"/>
                </a:lnTo>
                <a:lnTo>
                  <a:pt x="233" y="1952"/>
                </a:lnTo>
                <a:lnTo>
                  <a:pt x="240" y="1931"/>
                </a:lnTo>
                <a:lnTo>
                  <a:pt x="246" y="1910"/>
                </a:lnTo>
                <a:lnTo>
                  <a:pt x="246" y="1910"/>
                </a:lnTo>
                <a:lnTo>
                  <a:pt x="251" y="1889"/>
                </a:lnTo>
                <a:lnTo>
                  <a:pt x="256" y="1867"/>
                </a:lnTo>
                <a:lnTo>
                  <a:pt x="256" y="1867"/>
                </a:lnTo>
                <a:lnTo>
                  <a:pt x="265" y="1815"/>
                </a:lnTo>
                <a:lnTo>
                  <a:pt x="265" y="1815"/>
                </a:lnTo>
                <a:lnTo>
                  <a:pt x="272" y="1770"/>
                </a:lnTo>
                <a:lnTo>
                  <a:pt x="272" y="1770"/>
                </a:lnTo>
                <a:lnTo>
                  <a:pt x="277" y="1732"/>
                </a:lnTo>
                <a:lnTo>
                  <a:pt x="277" y="1732"/>
                </a:lnTo>
                <a:lnTo>
                  <a:pt x="287" y="1678"/>
                </a:lnTo>
                <a:lnTo>
                  <a:pt x="287" y="1678"/>
                </a:lnTo>
                <a:lnTo>
                  <a:pt x="292" y="1642"/>
                </a:lnTo>
                <a:lnTo>
                  <a:pt x="292" y="1642"/>
                </a:lnTo>
                <a:lnTo>
                  <a:pt x="294" y="1620"/>
                </a:lnTo>
                <a:lnTo>
                  <a:pt x="294" y="1620"/>
                </a:lnTo>
                <a:lnTo>
                  <a:pt x="299" y="1589"/>
                </a:lnTo>
                <a:lnTo>
                  <a:pt x="299" y="1589"/>
                </a:lnTo>
                <a:lnTo>
                  <a:pt x="304" y="1556"/>
                </a:lnTo>
                <a:lnTo>
                  <a:pt x="304" y="1556"/>
                </a:lnTo>
                <a:lnTo>
                  <a:pt x="312" y="1521"/>
                </a:lnTo>
                <a:lnTo>
                  <a:pt x="312" y="1521"/>
                </a:lnTo>
                <a:lnTo>
                  <a:pt x="323" y="1461"/>
                </a:lnTo>
                <a:lnTo>
                  <a:pt x="323" y="1461"/>
                </a:lnTo>
                <a:lnTo>
                  <a:pt x="332" y="1418"/>
                </a:lnTo>
                <a:lnTo>
                  <a:pt x="332" y="1418"/>
                </a:lnTo>
                <a:lnTo>
                  <a:pt x="345" y="1360"/>
                </a:lnTo>
                <a:lnTo>
                  <a:pt x="345" y="1360"/>
                </a:lnTo>
                <a:lnTo>
                  <a:pt x="356" y="1310"/>
                </a:lnTo>
                <a:lnTo>
                  <a:pt x="356" y="1310"/>
                </a:lnTo>
                <a:lnTo>
                  <a:pt x="364" y="1282"/>
                </a:lnTo>
                <a:lnTo>
                  <a:pt x="364" y="1282"/>
                </a:lnTo>
                <a:lnTo>
                  <a:pt x="365" y="1282"/>
                </a:lnTo>
                <a:lnTo>
                  <a:pt x="365" y="1282"/>
                </a:lnTo>
                <a:lnTo>
                  <a:pt x="368" y="1289"/>
                </a:lnTo>
                <a:lnTo>
                  <a:pt x="368" y="1289"/>
                </a:lnTo>
                <a:lnTo>
                  <a:pt x="374" y="1324"/>
                </a:lnTo>
                <a:lnTo>
                  <a:pt x="374" y="1324"/>
                </a:lnTo>
                <a:lnTo>
                  <a:pt x="381" y="1367"/>
                </a:lnTo>
                <a:lnTo>
                  <a:pt x="381" y="1367"/>
                </a:lnTo>
                <a:lnTo>
                  <a:pt x="387" y="1401"/>
                </a:lnTo>
                <a:lnTo>
                  <a:pt x="387" y="1401"/>
                </a:lnTo>
                <a:lnTo>
                  <a:pt x="397" y="1454"/>
                </a:lnTo>
                <a:lnTo>
                  <a:pt x="397" y="1454"/>
                </a:lnTo>
                <a:lnTo>
                  <a:pt x="401" y="1478"/>
                </a:lnTo>
                <a:lnTo>
                  <a:pt x="401" y="1478"/>
                </a:lnTo>
                <a:lnTo>
                  <a:pt x="405" y="1496"/>
                </a:lnTo>
                <a:lnTo>
                  <a:pt x="405" y="1496"/>
                </a:lnTo>
                <a:lnTo>
                  <a:pt x="406" y="1510"/>
                </a:lnTo>
                <a:lnTo>
                  <a:pt x="408" y="1522"/>
                </a:lnTo>
                <a:lnTo>
                  <a:pt x="408" y="1522"/>
                </a:lnTo>
                <a:lnTo>
                  <a:pt x="417" y="1566"/>
                </a:lnTo>
                <a:lnTo>
                  <a:pt x="417" y="1566"/>
                </a:lnTo>
                <a:lnTo>
                  <a:pt x="420" y="1578"/>
                </a:lnTo>
                <a:lnTo>
                  <a:pt x="422" y="1592"/>
                </a:lnTo>
                <a:lnTo>
                  <a:pt x="422" y="1592"/>
                </a:lnTo>
                <a:lnTo>
                  <a:pt x="427" y="1649"/>
                </a:lnTo>
                <a:lnTo>
                  <a:pt x="427" y="1649"/>
                </a:lnTo>
                <a:lnTo>
                  <a:pt x="428" y="1662"/>
                </a:lnTo>
                <a:lnTo>
                  <a:pt x="428" y="1662"/>
                </a:lnTo>
                <a:lnTo>
                  <a:pt x="431" y="1675"/>
                </a:lnTo>
                <a:lnTo>
                  <a:pt x="432" y="1687"/>
                </a:lnTo>
                <a:lnTo>
                  <a:pt x="432" y="1687"/>
                </a:lnTo>
                <a:lnTo>
                  <a:pt x="432" y="1756"/>
                </a:lnTo>
                <a:lnTo>
                  <a:pt x="432" y="1756"/>
                </a:lnTo>
                <a:lnTo>
                  <a:pt x="432" y="1765"/>
                </a:lnTo>
                <a:lnTo>
                  <a:pt x="432" y="1775"/>
                </a:lnTo>
                <a:lnTo>
                  <a:pt x="432" y="1775"/>
                </a:lnTo>
                <a:lnTo>
                  <a:pt x="438" y="1816"/>
                </a:lnTo>
                <a:lnTo>
                  <a:pt x="438" y="1816"/>
                </a:lnTo>
                <a:lnTo>
                  <a:pt x="439" y="1838"/>
                </a:lnTo>
                <a:lnTo>
                  <a:pt x="439" y="1838"/>
                </a:lnTo>
                <a:lnTo>
                  <a:pt x="444" y="1885"/>
                </a:lnTo>
                <a:lnTo>
                  <a:pt x="444" y="1885"/>
                </a:lnTo>
                <a:lnTo>
                  <a:pt x="446" y="1901"/>
                </a:lnTo>
                <a:lnTo>
                  <a:pt x="447" y="1910"/>
                </a:lnTo>
                <a:lnTo>
                  <a:pt x="449" y="1918"/>
                </a:lnTo>
                <a:lnTo>
                  <a:pt x="449" y="1918"/>
                </a:lnTo>
                <a:lnTo>
                  <a:pt x="458" y="1940"/>
                </a:lnTo>
                <a:lnTo>
                  <a:pt x="467" y="1961"/>
                </a:lnTo>
                <a:lnTo>
                  <a:pt x="467" y="1961"/>
                </a:lnTo>
                <a:lnTo>
                  <a:pt x="468" y="1966"/>
                </a:lnTo>
                <a:lnTo>
                  <a:pt x="468" y="1966"/>
                </a:lnTo>
                <a:lnTo>
                  <a:pt x="463" y="2002"/>
                </a:lnTo>
                <a:lnTo>
                  <a:pt x="463" y="2002"/>
                </a:lnTo>
                <a:lnTo>
                  <a:pt x="461" y="2029"/>
                </a:lnTo>
                <a:lnTo>
                  <a:pt x="461" y="2029"/>
                </a:lnTo>
                <a:lnTo>
                  <a:pt x="459" y="2038"/>
                </a:lnTo>
                <a:lnTo>
                  <a:pt x="459" y="2046"/>
                </a:lnTo>
                <a:lnTo>
                  <a:pt x="461" y="2065"/>
                </a:lnTo>
                <a:lnTo>
                  <a:pt x="461" y="2065"/>
                </a:lnTo>
                <a:lnTo>
                  <a:pt x="464" y="2079"/>
                </a:lnTo>
                <a:lnTo>
                  <a:pt x="470" y="2091"/>
                </a:lnTo>
                <a:lnTo>
                  <a:pt x="477" y="2103"/>
                </a:lnTo>
                <a:lnTo>
                  <a:pt x="485" y="2115"/>
                </a:lnTo>
                <a:lnTo>
                  <a:pt x="485" y="2115"/>
                </a:lnTo>
                <a:lnTo>
                  <a:pt x="489" y="2123"/>
                </a:lnTo>
                <a:lnTo>
                  <a:pt x="490" y="2128"/>
                </a:lnTo>
                <a:lnTo>
                  <a:pt x="490" y="2133"/>
                </a:lnTo>
                <a:lnTo>
                  <a:pt x="490" y="2133"/>
                </a:lnTo>
                <a:lnTo>
                  <a:pt x="489" y="2153"/>
                </a:lnTo>
                <a:lnTo>
                  <a:pt x="489" y="2173"/>
                </a:lnTo>
                <a:lnTo>
                  <a:pt x="489" y="2173"/>
                </a:lnTo>
                <a:lnTo>
                  <a:pt x="489" y="2180"/>
                </a:lnTo>
                <a:lnTo>
                  <a:pt x="489" y="2180"/>
                </a:lnTo>
                <a:lnTo>
                  <a:pt x="489" y="2184"/>
                </a:lnTo>
                <a:lnTo>
                  <a:pt x="490" y="2188"/>
                </a:lnTo>
                <a:lnTo>
                  <a:pt x="491" y="2191"/>
                </a:lnTo>
                <a:lnTo>
                  <a:pt x="495" y="2194"/>
                </a:lnTo>
                <a:lnTo>
                  <a:pt x="495" y="2194"/>
                </a:lnTo>
                <a:lnTo>
                  <a:pt x="519" y="2210"/>
                </a:lnTo>
                <a:lnTo>
                  <a:pt x="519" y="2210"/>
                </a:lnTo>
                <a:lnTo>
                  <a:pt x="521" y="2213"/>
                </a:lnTo>
                <a:lnTo>
                  <a:pt x="524" y="2213"/>
                </a:lnTo>
                <a:lnTo>
                  <a:pt x="526" y="2213"/>
                </a:lnTo>
                <a:lnTo>
                  <a:pt x="529" y="2210"/>
                </a:lnTo>
                <a:lnTo>
                  <a:pt x="529" y="2210"/>
                </a:lnTo>
                <a:lnTo>
                  <a:pt x="532" y="2209"/>
                </a:lnTo>
                <a:lnTo>
                  <a:pt x="536" y="2206"/>
                </a:lnTo>
                <a:lnTo>
                  <a:pt x="536" y="2206"/>
                </a:lnTo>
                <a:lnTo>
                  <a:pt x="537" y="2211"/>
                </a:lnTo>
                <a:lnTo>
                  <a:pt x="537" y="2211"/>
                </a:lnTo>
                <a:lnTo>
                  <a:pt x="539" y="2218"/>
                </a:lnTo>
                <a:lnTo>
                  <a:pt x="540" y="2224"/>
                </a:lnTo>
                <a:lnTo>
                  <a:pt x="540" y="2224"/>
                </a:lnTo>
                <a:lnTo>
                  <a:pt x="542" y="2232"/>
                </a:lnTo>
                <a:lnTo>
                  <a:pt x="542" y="2242"/>
                </a:lnTo>
                <a:lnTo>
                  <a:pt x="542" y="2242"/>
                </a:lnTo>
                <a:lnTo>
                  <a:pt x="542" y="2247"/>
                </a:lnTo>
                <a:lnTo>
                  <a:pt x="544" y="2252"/>
                </a:lnTo>
                <a:lnTo>
                  <a:pt x="546" y="2256"/>
                </a:lnTo>
                <a:lnTo>
                  <a:pt x="550" y="2260"/>
                </a:lnTo>
                <a:lnTo>
                  <a:pt x="550" y="2260"/>
                </a:lnTo>
                <a:lnTo>
                  <a:pt x="556" y="2267"/>
                </a:lnTo>
                <a:lnTo>
                  <a:pt x="565" y="2272"/>
                </a:lnTo>
                <a:lnTo>
                  <a:pt x="573" y="2277"/>
                </a:lnTo>
                <a:lnTo>
                  <a:pt x="582" y="2281"/>
                </a:lnTo>
                <a:lnTo>
                  <a:pt x="582" y="2281"/>
                </a:lnTo>
                <a:lnTo>
                  <a:pt x="601" y="2284"/>
                </a:lnTo>
                <a:lnTo>
                  <a:pt x="619" y="2288"/>
                </a:lnTo>
                <a:lnTo>
                  <a:pt x="619" y="2288"/>
                </a:lnTo>
                <a:lnTo>
                  <a:pt x="632" y="2289"/>
                </a:lnTo>
                <a:lnTo>
                  <a:pt x="644" y="2287"/>
                </a:lnTo>
                <a:lnTo>
                  <a:pt x="644" y="2287"/>
                </a:lnTo>
                <a:lnTo>
                  <a:pt x="664" y="2283"/>
                </a:lnTo>
                <a:lnTo>
                  <a:pt x="682" y="2278"/>
                </a:lnTo>
                <a:lnTo>
                  <a:pt x="682" y="2278"/>
                </a:lnTo>
                <a:lnTo>
                  <a:pt x="689" y="2277"/>
                </a:lnTo>
                <a:lnTo>
                  <a:pt x="691" y="2273"/>
                </a:lnTo>
                <a:lnTo>
                  <a:pt x="691" y="2270"/>
                </a:lnTo>
                <a:lnTo>
                  <a:pt x="690" y="2263"/>
                </a:lnTo>
                <a:lnTo>
                  <a:pt x="690" y="2263"/>
                </a:lnTo>
                <a:lnTo>
                  <a:pt x="689" y="2261"/>
                </a:lnTo>
                <a:lnTo>
                  <a:pt x="687" y="2260"/>
                </a:lnTo>
                <a:lnTo>
                  <a:pt x="687" y="2260"/>
                </a:lnTo>
                <a:lnTo>
                  <a:pt x="684" y="2256"/>
                </a:lnTo>
                <a:lnTo>
                  <a:pt x="684" y="2256"/>
                </a:lnTo>
                <a:lnTo>
                  <a:pt x="681" y="2247"/>
                </a:lnTo>
                <a:lnTo>
                  <a:pt x="681" y="2247"/>
                </a:lnTo>
                <a:lnTo>
                  <a:pt x="670" y="2227"/>
                </a:lnTo>
                <a:lnTo>
                  <a:pt x="670" y="2227"/>
                </a:lnTo>
                <a:lnTo>
                  <a:pt x="660" y="2211"/>
                </a:lnTo>
                <a:lnTo>
                  <a:pt x="654" y="2203"/>
                </a:lnTo>
                <a:lnTo>
                  <a:pt x="649" y="2195"/>
                </a:lnTo>
                <a:lnTo>
                  <a:pt x="649" y="2195"/>
                </a:lnTo>
                <a:lnTo>
                  <a:pt x="635" y="2177"/>
                </a:lnTo>
                <a:lnTo>
                  <a:pt x="624" y="2158"/>
                </a:lnTo>
                <a:lnTo>
                  <a:pt x="624" y="2158"/>
                </a:lnTo>
                <a:lnTo>
                  <a:pt x="623" y="2156"/>
                </a:lnTo>
                <a:lnTo>
                  <a:pt x="623" y="2153"/>
                </a:lnTo>
                <a:lnTo>
                  <a:pt x="623" y="2153"/>
                </a:lnTo>
                <a:lnTo>
                  <a:pt x="622" y="2143"/>
                </a:lnTo>
                <a:lnTo>
                  <a:pt x="619" y="2134"/>
                </a:lnTo>
                <a:lnTo>
                  <a:pt x="617" y="2126"/>
                </a:lnTo>
                <a:lnTo>
                  <a:pt x="613" y="2117"/>
                </a:lnTo>
                <a:lnTo>
                  <a:pt x="613" y="2117"/>
                </a:lnTo>
                <a:lnTo>
                  <a:pt x="613" y="2115"/>
                </a:lnTo>
                <a:lnTo>
                  <a:pt x="613" y="2115"/>
                </a:lnTo>
                <a:lnTo>
                  <a:pt x="613" y="2108"/>
                </a:lnTo>
                <a:lnTo>
                  <a:pt x="613" y="2108"/>
                </a:lnTo>
                <a:lnTo>
                  <a:pt x="613" y="2100"/>
                </a:lnTo>
                <a:lnTo>
                  <a:pt x="614" y="2092"/>
                </a:lnTo>
                <a:lnTo>
                  <a:pt x="614" y="2092"/>
                </a:lnTo>
                <a:lnTo>
                  <a:pt x="615" y="2086"/>
                </a:lnTo>
                <a:lnTo>
                  <a:pt x="618" y="2080"/>
                </a:lnTo>
                <a:lnTo>
                  <a:pt x="618" y="2080"/>
                </a:lnTo>
                <a:lnTo>
                  <a:pt x="622" y="2048"/>
                </a:lnTo>
                <a:lnTo>
                  <a:pt x="622" y="2048"/>
                </a:lnTo>
                <a:lnTo>
                  <a:pt x="622" y="2043"/>
                </a:lnTo>
                <a:lnTo>
                  <a:pt x="620" y="2039"/>
                </a:lnTo>
                <a:lnTo>
                  <a:pt x="617" y="2035"/>
                </a:lnTo>
                <a:lnTo>
                  <a:pt x="613" y="2033"/>
                </a:lnTo>
                <a:lnTo>
                  <a:pt x="613" y="2033"/>
                </a:lnTo>
                <a:lnTo>
                  <a:pt x="599" y="2025"/>
                </a:lnTo>
                <a:lnTo>
                  <a:pt x="599" y="2025"/>
                </a:lnTo>
                <a:lnTo>
                  <a:pt x="598" y="2024"/>
                </a:lnTo>
                <a:lnTo>
                  <a:pt x="598" y="2022"/>
                </a:lnTo>
                <a:lnTo>
                  <a:pt x="598" y="2022"/>
                </a:lnTo>
                <a:lnTo>
                  <a:pt x="602" y="2008"/>
                </a:lnTo>
                <a:lnTo>
                  <a:pt x="602" y="2008"/>
                </a:lnTo>
                <a:lnTo>
                  <a:pt x="604" y="1994"/>
                </a:lnTo>
                <a:lnTo>
                  <a:pt x="607" y="1981"/>
                </a:lnTo>
                <a:lnTo>
                  <a:pt x="607" y="1981"/>
                </a:lnTo>
                <a:lnTo>
                  <a:pt x="607" y="1968"/>
                </a:lnTo>
                <a:lnTo>
                  <a:pt x="605" y="1956"/>
                </a:lnTo>
                <a:lnTo>
                  <a:pt x="605" y="1956"/>
                </a:lnTo>
                <a:lnTo>
                  <a:pt x="602" y="1921"/>
                </a:lnTo>
                <a:lnTo>
                  <a:pt x="602" y="1921"/>
                </a:lnTo>
                <a:lnTo>
                  <a:pt x="598" y="1880"/>
                </a:lnTo>
                <a:lnTo>
                  <a:pt x="598" y="1880"/>
                </a:lnTo>
                <a:lnTo>
                  <a:pt x="596" y="1843"/>
                </a:lnTo>
                <a:lnTo>
                  <a:pt x="596" y="1843"/>
                </a:lnTo>
                <a:lnTo>
                  <a:pt x="596" y="1838"/>
                </a:lnTo>
                <a:lnTo>
                  <a:pt x="596" y="1838"/>
                </a:lnTo>
                <a:lnTo>
                  <a:pt x="599" y="1818"/>
                </a:lnTo>
                <a:lnTo>
                  <a:pt x="599" y="1810"/>
                </a:lnTo>
                <a:lnTo>
                  <a:pt x="599" y="1800"/>
                </a:lnTo>
                <a:lnTo>
                  <a:pt x="599" y="1800"/>
                </a:lnTo>
                <a:lnTo>
                  <a:pt x="597" y="1780"/>
                </a:lnTo>
                <a:lnTo>
                  <a:pt x="596" y="1760"/>
                </a:lnTo>
                <a:lnTo>
                  <a:pt x="596" y="1760"/>
                </a:lnTo>
                <a:lnTo>
                  <a:pt x="593" y="1738"/>
                </a:lnTo>
                <a:lnTo>
                  <a:pt x="593" y="1738"/>
                </a:lnTo>
                <a:lnTo>
                  <a:pt x="591" y="1714"/>
                </a:lnTo>
                <a:lnTo>
                  <a:pt x="591" y="1714"/>
                </a:lnTo>
                <a:lnTo>
                  <a:pt x="588" y="1685"/>
                </a:lnTo>
                <a:lnTo>
                  <a:pt x="588" y="1685"/>
                </a:lnTo>
                <a:lnTo>
                  <a:pt x="584" y="1670"/>
                </a:lnTo>
                <a:lnTo>
                  <a:pt x="583" y="1661"/>
                </a:lnTo>
                <a:lnTo>
                  <a:pt x="583" y="1652"/>
                </a:lnTo>
                <a:lnTo>
                  <a:pt x="583" y="1652"/>
                </a:lnTo>
                <a:lnTo>
                  <a:pt x="584" y="1644"/>
                </a:lnTo>
                <a:lnTo>
                  <a:pt x="584" y="1635"/>
                </a:lnTo>
                <a:lnTo>
                  <a:pt x="583" y="1618"/>
                </a:lnTo>
                <a:lnTo>
                  <a:pt x="583" y="1618"/>
                </a:lnTo>
                <a:lnTo>
                  <a:pt x="581" y="1597"/>
                </a:lnTo>
                <a:lnTo>
                  <a:pt x="581" y="1597"/>
                </a:lnTo>
                <a:lnTo>
                  <a:pt x="579" y="1583"/>
                </a:lnTo>
                <a:lnTo>
                  <a:pt x="581" y="1575"/>
                </a:lnTo>
                <a:lnTo>
                  <a:pt x="582" y="1569"/>
                </a:lnTo>
                <a:lnTo>
                  <a:pt x="582" y="1569"/>
                </a:lnTo>
                <a:lnTo>
                  <a:pt x="587" y="1556"/>
                </a:lnTo>
                <a:lnTo>
                  <a:pt x="591" y="1542"/>
                </a:lnTo>
                <a:lnTo>
                  <a:pt x="592" y="1527"/>
                </a:lnTo>
                <a:lnTo>
                  <a:pt x="593" y="1513"/>
                </a:lnTo>
                <a:lnTo>
                  <a:pt x="593" y="1513"/>
                </a:lnTo>
                <a:lnTo>
                  <a:pt x="594" y="1486"/>
                </a:lnTo>
                <a:lnTo>
                  <a:pt x="596" y="1473"/>
                </a:lnTo>
                <a:lnTo>
                  <a:pt x="597" y="1459"/>
                </a:lnTo>
                <a:lnTo>
                  <a:pt x="597" y="1459"/>
                </a:lnTo>
                <a:lnTo>
                  <a:pt x="598" y="1447"/>
                </a:lnTo>
                <a:lnTo>
                  <a:pt x="599" y="1434"/>
                </a:lnTo>
                <a:lnTo>
                  <a:pt x="599" y="1434"/>
                </a:lnTo>
                <a:lnTo>
                  <a:pt x="603" y="1399"/>
                </a:lnTo>
                <a:lnTo>
                  <a:pt x="603" y="1399"/>
                </a:lnTo>
                <a:lnTo>
                  <a:pt x="603" y="1394"/>
                </a:lnTo>
                <a:lnTo>
                  <a:pt x="603" y="1394"/>
                </a:lnTo>
                <a:lnTo>
                  <a:pt x="605" y="1370"/>
                </a:lnTo>
                <a:lnTo>
                  <a:pt x="605" y="1370"/>
                </a:lnTo>
                <a:lnTo>
                  <a:pt x="608" y="1336"/>
                </a:lnTo>
                <a:lnTo>
                  <a:pt x="608" y="1336"/>
                </a:lnTo>
                <a:lnTo>
                  <a:pt x="608" y="1325"/>
                </a:lnTo>
                <a:lnTo>
                  <a:pt x="608" y="1325"/>
                </a:lnTo>
                <a:lnTo>
                  <a:pt x="609" y="1316"/>
                </a:lnTo>
                <a:lnTo>
                  <a:pt x="609" y="1316"/>
                </a:lnTo>
                <a:lnTo>
                  <a:pt x="610" y="1306"/>
                </a:lnTo>
                <a:lnTo>
                  <a:pt x="610" y="1306"/>
                </a:lnTo>
                <a:lnTo>
                  <a:pt x="609" y="1279"/>
                </a:lnTo>
                <a:lnTo>
                  <a:pt x="609" y="1279"/>
                </a:lnTo>
                <a:lnTo>
                  <a:pt x="609" y="1249"/>
                </a:lnTo>
                <a:lnTo>
                  <a:pt x="609" y="1249"/>
                </a:lnTo>
                <a:lnTo>
                  <a:pt x="608" y="1209"/>
                </a:lnTo>
                <a:lnTo>
                  <a:pt x="608" y="1209"/>
                </a:lnTo>
                <a:lnTo>
                  <a:pt x="608" y="1201"/>
                </a:lnTo>
                <a:lnTo>
                  <a:pt x="609" y="1192"/>
                </a:lnTo>
                <a:lnTo>
                  <a:pt x="609" y="1192"/>
                </a:lnTo>
                <a:lnTo>
                  <a:pt x="608" y="1166"/>
                </a:lnTo>
                <a:lnTo>
                  <a:pt x="608" y="1166"/>
                </a:lnTo>
                <a:lnTo>
                  <a:pt x="605" y="1129"/>
                </a:lnTo>
                <a:lnTo>
                  <a:pt x="605" y="1129"/>
                </a:lnTo>
                <a:lnTo>
                  <a:pt x="605" y="1123"/>
                </a:lnTo>
                <a:lnTo>
                  <a:pt x="605" y="1123"/>
                </a:lnTo>
                <a:lnTo>
                  <a:pt x="602" y="1096"/>
                </a:lnTo>
                <a:lnTo>
                  <a:pt x="602" y="1096"/>
                </a:lnTo>
                <a:lnTo>
                  <a:pt x="598" y="1046"/>
                </a:lnTo>
                <a:lnTo>
                  <a:pt x="598" y="1046"/>
                </a:lnTo>
                <a:lnTo>
                  <a:pt x="596" y="1010"/>
                </a:lnTo>
                <a:lnTo>
                  <a:pt x="596" y="1010"/>
                </a:lnTo>
                <a:lnTo>
                  <a:pt x="589" y="967"/>
                </a:lnTo>
                <a:lnTo>
                  <a:pt x="589" y="967"/>
                </a:lnTo>
                <a:lnTo>
                  <a:pt x="584" y="925"/>
                </a:lnTo>
                <a:lnTo>
                  <a:pt x="584" y="925"/>
                </a:lnTo>
                <a:lnTo>
                  <a:pt x="584" y="911"/>
                </a:lnTo>
                <a:lnTo>
                  <a:pt x="584" y="897"/>
                </a:lnTo>
                <a:lnTo>
                  <a:pt x="584" y="897"/>
                </a:lnTo>
                <a:lnTo>
                  <a:pt x="584" y="888"/>
                </a:lnTo>
                <a:lnTo>
                  <a:pt x="584" y="888"/>
                </a:lnTo>
                <a:lnTo>
                  <a:pt x="601" y="888"/>
                </a:lnTo>
                <a:lnTo>
                  <a:pt x="601" y="888"/>
                </a:lnTo>
                <a:lnTo>
                  <a:pt x="619" y="888"/>
                </a:lnTo>
                <a:lnTo>
                  <a:pt x="619" y="888"/>
                </a:lnTo>
                <a:lnTo>
                  <a:pt x="635" y="889"/>
                </a:lnTo>
                <a:lnTo>
                  <a:pt x="635" y="889"/>
                </a:lnTo>
                <a:lnTo>
                  <a:pt x="645" y="889"/>
                </a:lnTo>
                <a:lnTo>
                  <a:pt x="654" y="889"/>
                </a:lnTo>
                <a:lnTo>
                  <a:pt x="654" y="889"/>
                </a:lnTo>
                <a:lnTo>
                  <a:pt x="680" y="885"/>
                </a:lnTo>
                <a:lnTo>
                  <a:pt x="680" y="885"/>
                </a:lnTo>
                <a:lnTo>
                  <a:pt x="687" y="884"/>
                </a:lnTo>
                <a:lnTo>
                  <a:pt x="687" y="884"/>
                </a:lnTo>
                <a:lnTo>
                  <a:pt x="707" y="885"/>
                </a:lnTo>
                <a:lnTo>
                  <a:pt x="716" y="884"/>
                </a:lnTo>
                <a:lnTo>
                  <a:pt x="726" y="881"/>
                </a:lnTo>
                <a:lnTo>
                  <a:pt x="726" y="881"/>
                </a:lnTo>
                <a:lnTo>
                  <a:pt x="732" y="878"/>
                </a:lnTo>
                <a:lnTo>
                  <a:pt x="738" y="873"/>
                </a:lnTo>
                <a:lnTo>
                  <a:pt x="743" y="866"/>
                </a:lnTo>
                <a:lnTo>
                  <a:pt x="747" y="860"/>
                </a:lnTo>
                <a:lnTo>
                  <a:pt x="747" y="860"/>
                </a:lnTo>
                <a:lnTo>
                  <a:pt x="750" y="853"/>
                </a:lnTo>
                <a:lnTo>
                  <a:pt x="753" y="847"/>
                </a:lnTo>
                <a:lnTo>
                  <a:pt x="753" y="847"/>
                </a:lnTo>
                <a:lnTo>
                  <a:pt x="759" y="835"/>
                </a:lnTo>
                <a:lnTo>
                  <a:pt x="762" y="826"/>
                </a:lnTo>
                <a:lnTo>
                  <a:pt x="763" y="813"/>
                </a:lnTo>
                <a:lnTo>
                  <a:pt x="763" y="802"/>
                </a:lnTo>
                <a:lnTo>
                  <a:pt x="763" y="802"/>
                </a:lnTo>
                <a:close/>
                <a:moveTo>
                  <a:pt x="161" y="760"/>
                </a:moveTo>
                <a:lnTo>
                  <a:pt x="161" y="760"/>
                </a:lnTo>
                <a:lnTo>
                  <a:pt x="156" y="761"/>
                </a:lnTo>
                <a:lnTo>
                  <a:pt x="151" y="764"/>
                </a:lnTo>
                <a:lnTo>
                  <a:pt x="151" y="764"/>
                </a:lnTo>
                <a:lnTo>
                  <a:pt x="140" y="765"/>
                </a:lnTo>
                <a:lnTo>
                  <a:pt x="140" y="765"/>
                </a:lnTo>
                <a:lnTo>
                  <a:pt x="157" y="718"/>
                </a:lnTo>
                <a:lnTo>
                  <a:pt x="157" y="718"/>
                </a:lnTo>
                <a:lnTo>
                  <a:pt x="159" y="714"/>
                </a:lnTo>
                <a:lnTo>
                  <a:pt x="161" y="713"/>
                </a:lnTo>
                <a:lnTo>
                  <a:pt x="163" y="714"/>
                </a:lnTo>
                <a:lnTo>
                  <a:pt x="163" y="714"/>
                </a:lnTo>
                <a:lnTo>
                  <a:pt x="176" y="760"/>
                </a:lnTo>
                <a:lnTo>
                  <a:pt x="176" y="760"/>
                </a:lnTo>
                <a:lnTo>
                  <a:pt x="161" y="760"/>
                </a:lnTo>
                <a:lnTo>
                  <a:pt x="161" y="760"/>
                </a:lnTo>
                <a:close/>
                <a:moveTo>
                  <a:pt x="587" y="749"/>
                </a:moveTo>
                <a:lnTo>
                  <a:pt x="587" y="749"/>
                </a:lnTo>
                <a:lnTo>
                  <a:pt x="591" y="738"/>
                </a:lnTo>
                <a:lnTo>
                  <a:pt x="593" y="726"/>
                </a:lnTo>
                <a:lnTo>
                  <a:pt x="596" y="705"/>
                </a:lnTo>
                <a:lnTo>
                  <a:pt x="596" y="705"/>
                </a:lnTo>
                <a:lnTo>
                  <a:pt x="617" y="750"/>
                </a:lnTo>
                <a:lnTo>
                  <a:pt x="617" y="750"/>
                </a:lnTo>
                <a:lnTo>
                  <a:pt x="587" y="749"/>
                </a:lnTo>
                <a:lnTo>
                  <a:pt x="587" y="74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7" name="Gruppe 372"/>
          <p:cNvGrpSpPr>
            <a:grpSpLocks/>
          </p:cNvGrpSpPr>
          <p:nvPr/>
        </p:nvGrpSpPr>
        <p:grpSpPr bwMode="auto">
          <a:xfrm>
            <a:off x="6741982" y="3161773"/>
            <a:ext cx="399126" cy="1247462"/>
            <a:chOff x="1709738" y="944563"/>
            <a:chExt cx="1033462" cy="3232150"/>
          </a:xfrm>
          <a:solidFill>
            <a:schemeClr val="bg1"/>
          </a:solidFill>
        </p:grpSpPr>
        <p:sp>
          <p:nvSpPr>
            <p:cNvPr id="18" name="Freeform 292"/>
            <p:cNvSpPr>
              <a:spLocks noEditPoints="1"/>
            </p:cNvSpPr>
            <p:nvPr/>
          </p:nvSpPr>
          <p:spPr bwMode="auto">
            <a:xfrm>
              <a:off x="1709738" y="944563"/>
              <a:ext cx="1033462" cy="3232150"/>
            </a:xfrm>
            <a:custGeom>
              <a:avLst/>
              <a:gdLst>
                <a:gd name="T0" fmla="*/ 2147483647 w 342"/>
                <a:gd name="T1" fmla="*/ 2147483647 h 1070"/>
                <a:gd name="T2" fmla="*/ 2147483647 w 342"/>
                <a:gd name="T3" fmla="*/ 2147483647 h 1070"/>
                <a:gd name="T4" fmla="*/ 2147483647 w 342"/>
                <a:gd name="T5" fmla="*/ 2147483647 h 1070"/>
                <a:gd name="T6" fmla="*/ 2147483647 w 342"/>
                <a:gd name="T7" fmla="*/ 2147483647 h 1070"/>
                <a:gd name="T8" fmla="*/ 2147483647 w 342"/>
                <a:gd name="T9" fmla="*/ 2147483647 h 1070"/>
                <a:gd name="T10" fmla="*/ 2147483647 w 342"/>
                <a:gd name="T11" fmla="*/ 2147483647 h 1070"/>
                <a:gd name="T12" fmla="*/ 2147483647 w 342"/>
                <a:gd name="T13" fmla="*/ 2147483647 h 1070"/>
                <a:gd name="T14" fmla="*/ 2147483647 w 342"/>
                <a:gd name="T15" fmla="*/ 2147483647 h 1070"/>
                <a:gd name="T16" fmla="*/ 2147483647 w 342"/>
                <a:gd name="T17" fmla="*/ 2147483647 h 1070"/>
                <a:gd name="T18" fmla="*/ 2147483647 w 342"/>
                <a:gd name="T19" fmla="*/ 2147483647 h 1070"/>
                <a:gd name="T20" fmla="*/ 2147483647 w 342"/>
                <a:gd name="T21" fmla="*/ 2147483647 h 1070"/>
                <a:gd name="T22" fmla="*/ 2147483647 w 342"/>
                <a:gd name="T23" fmla="*/ 2147483647 h 1070"/>
                <a:gd name="T24" fmla="*/ 2147483647 w 342"/>
                <a:gd name="T25" fmla="*/ 2147483647 h 1070"/>
                <a:gd name="T26" fmla="*/ 2147483647 w 342"/>
                <a:gd name="T27" fmla="*/ 2147483647 h 1070"/>
                <a:gd name="T28" fmla="*/ 2147483647 w 342"/>
                <a:gd name="T29" fmla="*/ 2147483647 h 1070"/>
                <a:gd name="T30" fmla="*/ 2147483647 w 342"/>
                <a:gd name="T31" fmla="*/ 2147483647 h 1070"/>
                <a:gd name="T32" fmla="*/ 2147483647 w 342"/>
                <a:gd name="T33" fmla="*/ 2147483647 h 1070"/>
                <a:gd name="T34" fmla="*/ 2147483647 w 342"/>
                <a:gd name="T35" fmla="*/ 2147483647 h 1070"/>
                <a:gd name="T36" fmla="*/ 2147483647 w 342"/>
                <a:gd name="T37" fmla="*/ 2147483647 h 1070"/>
                <a:gd name="T38" fmla="*/ 2147483647 w 342"/>
                <a:gd name="T39" fmla="*/ 2147483647 h 1070"/>
                <a:gd name="T40" fmla="*/ 2147483647 w 342"/>
                <a:gd name="T41" fmla="*/ 2147483647 h 1070"/>
                <a:gd name="T42" fmla="*/ 0 w 342"/>
                <a:gd name="T43" fmla="*/ 2147483647 h 1070"/>
                <a:gd name="T44" fmla="*/ 2147483647 w 342"/>
                <a:gd name="T45" fmla="*/ 2147483647 h 1070"/>
                <a:gd name="T46" fmla="*/ 2147483647 w 342"/>
                <a:gd name="T47" fmla="*/ 2147483647 h 1070"/>
                <a:gd name="T48" fmla="*/ 2147483647 w 342"/>
                <a:gd name="T49" fmla="*/ 2147483647 h 1070"/>
                <a:gd name="T50" fmla="*/ 2147483647 w 342"/>
                <a:gd name="T51" fmla="*/ 2147483647 h 1070"/>
                <a:gd name="T52" fmla="*/ 2147483647 w 342"/>
                <a:gd name="T53" fmla="*/ 2147483647 h 1070"/>
                <a:gd name="T54" fmla="*/ 2147483647 w 342"/>
                <a:gd name="T55" fmla="*/ 2147483647 h 1070"/>
                <a:gd name="T56" fmla="*/ 2147483647 w 342"/>
                <a:gd name="T57" fmla="*/ 2147483647 h 1070"/>
                <a:gd name="T58" fmla="*/ 2147483647 w 342"/>
                <a:gd name="T59" fmla="*/ 2147483647 h 1070"/>
                <a:gd name="T60" fmla="*/ 2147483647 w 342"/>
                <a:gd name="T61" fmla="*/ 2147483647 h 1070"/>
                <a:gd name="T62" fmla="*/ 2147483647 w 342"/>
                <a:gd name="T63" fmla="*/ 2147483647 h 1070"/>
                <a:gd name="T64" fmla="*/ 2147483647 w 342"/>
                <a:gd name="T65" fmla="*/ 2147483647 h 1070"/>
                <a:gd name="T66" fmla="*/ 2147483647 w 342"/>
                <a:gd name="T67" fmla="*/ 2147483647 h 1070"/>
                <a:gd name="T68" fmla="*/ 2147483647 w 342"/>
                <a:gd name="T69" fmla="*/ 2147483647 h 1070"/>
                <a:gd name="T70" fmla="*/ 2147483647 w 342"/>
                <a:gd name="T71" fmla="*/ 2147483647 h 1070"/>
                <a:gd name="T72" fmla="*/ 2147483647 w 342"/>
                <a:gd name="T73" fmla="*/ 2147483647 h 1070"/>
                <a:gd name="T74" fmla="*/ 2147483647 w 342"/>
                <a:gd name="T75" fmla="*/ 2147483647 h 1070"/>
                <a:gd name="T76" fmla="*/ 2147483647 w 342"/>
                <a:gd name="T77" fmla="*/ 2147483647 h 1070"/>
                <a:gd name="T78" fmla="*/ 2147483647 w 342"/>
                <a:gd name="T79" fmla="*/ 2147483647 h 1070"/>
                <a:gd name="T80" fmla="*/ 2147483647 w 342"/>
                <a:gd name="T81" fmla="*/ 2147483647 h 1070"/>
                <a:gd name="T82" fmla="*/ 2147483647 w 342"/>
                <a:gd name="T83" fmla="*/ 2147483647 h 1070"/>
                <a:gd name="T84" fmla="*/ 2147483647 w 342"/>
                <a:gd name="T85" fmla="*/ 2147483647 h 1070"/>
                <a:gd name="T86" fmla="*/ 2147483647 w 342"/>
                <a:gd name="T87" fmla="*/ 2147483647 h 1070"/>
                <a:gd name="T88" fmla="*/ 2147483647 w 342"/>
                <a:gd name="T89" fmla="*/ 2147483647 h 1070"/>
                <a:gd name="T90" fmla="*/ 2147483647 w 342"/>
                <a:gd name="T91" fmla="*/ 2147483647 h 1070"/>
                <a:gd name="T92" fmla="*/ 2147483647 w 342"/>
                <a:gd name="T93" fmla="*/ 2147483647 h 1070"/>
                <a:gd name="T94" fmla="*/ 2147483647 w 342"/>
                <a:gd name="T95" fmla="*/ 2147483647 h 1070"/>
                <a:gd name="T96" fmla="*/ 2147483647 w 342"/>
                <a:gd name="T97" fmla="*/ 2147483647 h 1070"/>
                <a:gd name="T98" fmla="*/ 2147483647 w 342"/>
                <a:gd name="T99" fmla="*/ 2147483647 h 1070"/>
                <a:gd name="T100" fmla="*/ 2147483647 w 342"/>
                <a:gd name="T101" fmla="*/ 2147483647 h 1070"/>
                <a:gd name="T102" fmla="*/ 2147483647 w 342"/>
                <a:gd name="T103" fmla="*/ 2147483647 h 1070"/>
                <a:gd name="T104" fmla="*/ 2147483647 w 342"/>
                <a:gd name="T105" fmla="*/ 2147483647 h 1070"/>
                <a:gd name="T106" fmla="*/ 2147483647 w 342"/>
                <a:gd name="T107" fmla="*/ 2147483647 h 1070"/>
                <a:gd name="T108" fmla="*/ 2147483647 w 342"/>
                <a:gd name="T109" fmla="*/ 2147483647 h 1070"/>
                <a:gd name="T110" fmla="*/ 2147483647 w 342"/>
                <a:gd name="T111" fmla="*/ 2147483647 h 1070"/>
                <a:gd name="T112" fmla="*/ 2147483647 w 342"/>
                <a:gd name="T113" fmla="*/ 2147483647 h 1070"/>
                <a:gd name="T114" fmla="*/ 2147483647 w 342"/>
                <a:gd name="T115" fmla="*/ 2147483647 h 10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42"/>
                <a:gd name="T175" fmla="*/ 0 h 1070"/>
                <a:gd name="T176" fmla="*/ 342 w 342"/>
                <a:gd name="T177" fmla="*/ 1070 h 10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42" h="1070">
                  <a:moveTo>
                    <a:pt x="336" y="534"/>
                  </a:moveTo>
                  <a:lnTo>
                    <a:pt x="336" y="534"/>
                  </a:lnTo>
                  <a:lnTo>
                    <a:pt x="328" y="516"/>
                  </a:lnTo>
                  <a:lnTo>
                    <a:pt x="322" y="508"/>
                  </a:lnTo>
                  <a:lnTo>
                    <a:pt x="320" y="500"/>
                  </a:lnTo>
                  <a:lnTo>
                    <a:pt x="306" y="398"/>
                  </a:lnTo>
                  <a:lnTo>
                    <a:pt x="296" y="304"/>
                  </a:lnTo>
                  <a:lnTo>
                    <a:pt x="292" y="260"/>
                  </a:lnTo>
                  <a:lnTo>
                    <a:pt x="288" y="228"/>
                  </a:lnTo>
                  <a:lnTo>
                    <a:pt x="286" y="212"/>
                  </a:lnTo>
                  <a:lnTo>
                    <a:pt x="282" y="198"/>
                  </a:lnTo>
                  <a:lnTo>
                    <a:pt x="280" y="192"/>
                  </a:lnTo>
                  <a:lnTo>
                    <a:pt x="276" y="188"/>
                  </a:lnTo>
                  <a:lnTo>
                    <a:pt x="270" y="182"/>
                  </a:lnTo>
                  <a:lnTo>
                    <a:pt x="260" y="178"/>
                  </a:lnTo>
                  <a:lnTo>
                    <a:pt x="256" y="176"/>
                  </a:lnTo>
                  <a:lnTo>
                    <a:pt x="254" y="174"/>
                  </a:lnTo>
                  <a:lnTo>
                    <a:pt x="252" y="170"/>
                  </a:lnTo>
                  <a:lnTo>
                    <a:pt x="250" y="164"/>
                  </a:lnTo>
                  <a:lnTo>
                    <a:pt x="252" y="152"/>
                  </a:lnTo>
                  <a:lnTo>
                    <a:pt x="256" y="142"/>
                  </a:lnTo>
                  <a:lnTo>
                    <a:pt x="256" y="132"/>
                  </a:lnTo>
                  <a:lnTo>
                    <a:pt x="256" y="124"/>
                  </a:lnTo>
                  <a:lnTo>
                    <a:pt x="252" y="114"/>
                  </a:lnTo>
                  <a:lnTo>
                    <a:pt x="252" y="108"/>
                  </a:lnTo>
                  <a:lnTo>
                    <a:pt x="252" y="102"/>
                  </a:lnTo>
                  <a:lnTo>
                    <a:pt x="248" y="94"/>
                  </a:lnTo>
                  <a:lnTo>
                    <a:pt x="244" y="84"/>
                  </a:lnTo>
                  <a:lnTo>
                    <a:pt x="238" y="72"/>
                  </a:lnTo>
                  <a:lnTo>
                    <a:pt x="234" y="56"/>
                  </a:lnTo>
                  <a:lnTo>
                    <a:pt x="232" y="40"/>
                  </a:lnTo>
                  <a:lnTo>
                    <a:pt x="230" y="28"/>
                  </a:lnTo>
                  <a:lnTo>
                    <a:pt x="226" y="20"/>
                  </a:lnTo>
                  <a:lnTo>
                    <a:pt x="218" y="12"/>
                  </a:lnTo>
                  <a:lnTo>
                    <a:pt x="214" y="8"/>
                  </a:lnTo>
                  <a:lnTo>
                    <a:pt x="208" y="4"/>
                  </a:lnTo>
                  <a:lnTo>
                    <a:pt x="200" y="2"/>
                  </a:lnTo>
                  <a:lnTo>
                    <a:pt x="192" y="0"/>
                  </a:lnTo>
                  <a:lnTo>
                    <a:pt x="174" y="2"/>
                  </a:lnTo>
                  <a:lnTo>
                    <a:pt x="164" y="4"/>
                  </a:lnTo>
                  <a:lnTo>
                    <a:pt x="154" y="10"/>
                  </a:lnTo>
                  <a:lnTo>
                    <a:pt x="146" y="16"/>
                  </a:lnTo>
                  <a:lnTo>
                    <a:pt x="138" y="26"/>
                  </a:lnTo>
                  <a:lnTo>
                    <a:pt x="132" y="38"/>
                  </a:lnTo>
                  <a:lnTo>
                    <a:pt x="130" y="56"/>
                  </a:lnTo>
                  <a:lnTo>
                    <a:pt x="124" y="72"/>
                  </a:lnTo>
                  <a:lnTo>
                    <a:pt x="118" y="82"/>
                  </a:lnTo>
                  <a:lnTo>
                    <a:pt x="112" y="90"/>
                  </a:lnTo>
                  <a:lnTo>
                    <a:pt x="116" y="86"/>
                  </a:lnTo>
                  <a:lnTo>
                    <a:pt x="120" y="82"/>
                  </a:lnTo>
                  <a:lnTo>
                    <a:pt x="126" y="74"/>
                  </a:lnTo>
                  <a:lnTo>
                    <a:pt x="124" y="78"/>
                  </a:lnTo>
                  <a:lnTo>
                    <a:pt x="112" y="104"/>
                  </a:lnTo>
                  <a:lnTo>
                    <a:pt x="106" y="114"/>
                  </a:lnTo>
                  <a:lnTo>
                    <a:pt x="102" y="126"/>
                  </a:lnTo>
                  <a:lnTo>
                    <a:pt x="102" y="140"/>
                  </a:lnTo>
                  <a:lnTo>
                    <a:pt x="104" y="146"/>
                  </a:lnTo>
                  <a:lnTo>
                    <a:pt x="106" y="154"/>
                  </a:lnTo>
                  <a:lnTo>
                    <a:pt x="106" y="150"/>
                  </a:lnTo>
                  <a:lnTo>
                    <a:pt x="104" y="140"/>
                  </a:lnTo>
                  <a:lnTo>
                    <a:pt x="108" y="124"/>
                  </a:lnTo>
                  <a:lnTo>
                    <a:pt x="110" y="116"/>
                  </a:lnTo>
                  <a:lnTo>
                    <a:pt x="116" y="108"/>
                  </a:lnTo>
                  <a:lnTo>
                    <a:pt x="112" y="122"/>
                  </a:lnTo>
                  <a:lnTo>
                    <a:pt x="110" y="130"/>
                  </a:lnTo>
                  <a:lnTo>
                    <a:pt x="108" y="140"/>
                  </a:lnTo>
                  <a:lnTo>
                    <a:pt x="110" y="150"/>
                  </a:lnTo>
                  <a:lnTo>
                    <a:pt x="114" y="162"/>
                  </a:lnTo>
                  <a:lnTo>
                    <a:pt x="112" y="168"/>
                  </a:lnTo>
                  <a:lnTo>
                    <a:pt x="106" y="172"/>
                  </a:lnTo>
                  <a:lnTo>
                    <a:pt x="96" y="172"/>
                  </a:lnTo>
                  <a:lnTo>
                    <a:pt x="88" y="174"/>
                  </a:lnTo>
                  <a:lnTo>
                    <a:pt x="80" y="178"/>
                  </a:lnTo>
                  <a:lnTo>
                    <a:pt x="74" y="182"/>
                  </a:lnTo>
                  <a:lnTo>
                    <a:pt x="70" y="188"/>
                  </a:lnTo>
                  <a:lnTo>
                    <a:pt x="66" y="196"/>
                  </a:lnTo>
                  <a:lnTo>
                    <a:pt x="62" y="204"/>
                  </a:lnTo>
                  <a:lnTo>
                    <a:pt x="60" y="212"/>
                  </a:lnTo>
                  <a:lnTo>
                    <a:pt x="60" y="222"/>
                  </a:lnTo>
                  <a:lnTo>
                    <a:pt x="56" y="338"/>
                  </a:lnTo>
                  <a:lnTo>
                    <a:pt x="54" y="410"/>
                  </a:lnTo>
                  <a:lnTo>
                    <a:pt x="54" y="436"/>
                  </a:lnTo>
                  <a:lnTo>
                    <a:pt x="56" y="452"/>
                  </a:lnTo>
                  <a:lnTo>
                    <a:pt x="58" y="478"/>
                  </a:lnTo>
                  <a:lnTo>
                    <a:pt x="60" y="498"/>
                  </a:lnTo>
                  <a:lnTo>
                    <a:pt x="58" y="520"/>
                  </a:lnTo>
                  <a:lnTo>
                    <a:pt x="58" y="532"/>
                  </a:lnTo>
                  <a:lnTo>
                    <a:pt x="58" y="536"/>
                  </a:lnTo>
                  <a:lnTo>
                    <a:pt x="60" y="538"/>
                  </a:lnTo>
                  <a:lnTo>
                    <a:pt x="62" y="540"/>
                  </a:lnTo>
                  <a:lnTo>
                    <a:pt x="58" y="546"/>
                  </a:lnTo>
                  <a:lnTo>
                    <a:pt x="58" y="554"/>
                  </a:lnTo>
                  <a:lnTo>
                    <a:pt x="30" y="552"/>
                  </a:lnTo>
                  <a:lnTo>
                    <a:pt x="14" y="556"/>
                  </a:lnTo>
                  <a:lnTo>
                    <a:pt x="8" y="558"/>
                  </a:lnTo>
                  <a:lnTo>
                    <a:pt x="4" y="562"/>
                  </a:lnTo>
                  <a:lnTo>
                    <a:pt x="2" y="656"/>
                  </a:lnTo>
                  <a:lnTo>
                    <a:pt x="0" y="752"/>
                  </a:lnTo>
                  <a:lnTo>
                    <a:pt x="0" y="758"/>
                  </a:lnTo>
                  <a:lnTo>
                    <a:pt x="2" y="762"/>
                  </a:lnTo>
                  <a:lnTo>
                    <a:pt x="8" y="764"/>
                  </a:lnTo>
                  <a:lnTo>
                    <a:pt x="42" y="774"/>
                  </a:lnTo>
                  <a:lnTo>
                    <a:pt x="100" y="790"/>
                  </a:lnTo>
                  <a:lnTo>
                    <a:pt x="98" y="808"/>
                  </a:lnTo>
                  <a:lnTo>
                    <a:pt x="96" y="828"/>
                  </a:lnTo>
                  <a:lnTo>
                    <a:pt x="98" y="888"/>
                  </a:lnTo>
                  <a:lnTo>
                    <a:pt x="96" y="938"/>
                  </a:lnTo>
                  <a:lnTo>
                    <a:pt x="92" y="976"/>
                  </a:lnTo>
                  <a:lnTo>
                    <a:pt x="88" y="998"/>
                  </a:lnTo>
                  <a:lnTo>
                    <a:pt x="84" y="1016"/>
                  </a:lnTo>
                  <a:lnTo>
                    <a:pt x="82" y="1032"/>
                  </a:lnTo>
                  <a:lnTo>
                    <a:pt x="84" y="1050"/>
                  </a:lnTo>
                  <a:lnTo>
                    <a:pt x="86" y="1058"/>
                  </a:lnTo>
                  <a:lnTo>
                    <a:pt x="90" y="1066"/>
                  </a:lnTo>
                  <a:lnTo>
                    <a:pt x="94" y="1070"/>
                  </a:lnTo>
                  <a:lnTo>
                    <a:pt x="102" y="1070"/>
                  </a:lnTo>
                  <a:lnTo>
                    <a:pt x="104" y="1070"/>
                  </a:lnTo>
                  <a:lnTo>
                    <a:pt x="108" y="1068"/>
                  </a:lnTo>
                  <a:lnTo>
                    <a:pt x="112" y="1060"/>
                  </a:lnTo>
                  <a:lnTo>
                    <a:pt x="114" y="1050"/>
                  </a:lnTo>
                  <a:lnTo>
                    <a:pt x="116" y="1040"/>
                  </a:lnTo>
                  <a:lnTo>
                    <a:pt x="114" y="1002"/>
                  </a:lnTo>
                  <a:lnTo>
                    <a:pt x="114" y="974"/>
                  </a:lnTo>
                  <a:lnTo>
                    <a:pt x="118" y="946"/>
                  </a:lnTo>
                  <a:lnTo>
                    <a:pt x="134" y="868"/>
                  </a:lnTo>
                  <a:lnTo>
                    <a:pt x="142" y="826"/>
                  </a:lnTo>
                  <a:lnTo>
                    <a:pt x="144" y="802"/>
                  </a:lnTo>
                  <a:lnTo>
                    <a:pt x="148" y="776"/>
                  </a:lnTo>
                  <a:lnTo>
                    <a:pt x="156" y="750"/>
                  </a:lnTo>
                  <a:lnTo>
                    <a:pt x="162" y="718"/>
                  </a:lnTo>
                  <a:lnTo>
                    <a:pt x="186" y="718"/>
                  </a:lnTo>
                  <a:lnTo>
                    <a:pt x="198" y="718"/>
                  </a:lnTo>
                  <a:lnTo>
                    <a:pt x="204" y="716"/>
                  </a:lnTo>
                  <a:lnTo>
                    <a:pt x="206" y="718"/>
                  </a:lnTo>
                  <a:lnTo>
                    <a:pt x="206" y="746"/>
                  </a:lnTo>
                  <a:lnTo>
                    <a:pt x="208" y="772"/>
                  </a:lnTo>
                  <a:lnTo>
                    <a:pt x="210" y="802"/>
                  </a:lnTo>
                  <a:lnTo>
                    <a:pt x="218" y="850"/>
                  </a:lnTo>
                  <a:lnTo>
                    <a:pt x="222" y="872"/>
                  </a:lnTo>
                  <a:lnTo>
                    <a:pt x="226" y="906"/>
                  </a:lnTo>
                  <a:lnTo>
                    <a:pt x="228" y="940"/>
                  </a:lnTo>
                  <a:lnTo>
                    <a:pt x="230" y="964"/>
                  </a:lnTo>
                  <a:lnTo>
                    <a:pt x="228" y="980"/>
                  </a:lnTo>
                  <a:lnTo>
                    <a:pt x="226" y="990"/>
                  </a:lnTo>
                  <a:lnTo>
                    <a:pt x="224" y="998"/>
                  </a:lnTo>
                  <a:lnTo>
                    <a:pt x="226" y="1004"/>
                  </a:lnTo>
                  <a:lnTo>
                    <a:pt x="236" y="1018"/>
                  </a:lnTo>
                  <a:lnTo>
                    <a:pt x="240" y="1028"/>
                  </a:lnTo>
                  <a:lnTo>
                    <a:pt x="240" y="1036"/>
                  </a:lnTo>
                  <a:lnTo>
                    <a:pt x="242" y="1044"/>
                  </a:lnTo>
                  <a:lnTo>
                    <a:pt x="244" y="1050"/>
                  </a:lnTo>
                  <a:lnTo>
                    <a:pt x="248" y="1054"/>
                  </a:lnTo>
                  <a:lnTo>
                    <a:pt x="254" y="1058"/>
                  </a:lnTo>
                  <a:lnTo>
                    <a:pt x="260" y="1060"/>
                  </a:lnTo>
                  <a:lnTo>
                    <a:pt x="270" y="1062"/>
                  </a:lnTo>
                  <a:lnTo>
                    <a:pt x="282" y="1064"/>
                  </a:lnTo>
                  <a:lnTo>
                    <a:pt x="286" y="1062"/>
                  </a:lnTo>
                  <a:lnTo>
                    <a:pt x="288" y="1060"/>
                  </a:lnTo>
                  <a:lnTo>
                    <a:pt x="288" y="1056"/>
                  </a:lnTo>
                  <a:lnTo>
                    <a:pt x="286" y="1050"/>
                  </a:lnTo>
                  <a:lnTo>
                    <a:pt x="278" y="1038"/>
                  </a:lnTo>
                  <a:lnTo>
                    <a:pt x="270" y="1024"/>
                  </a:lnTo>
                  <a:lnTo>
                    <a:pt x="262" y="1010"/>
                  </a:lnTo>
                  <a:lnTo>
                    <a:pt x="258" y="994"/>
                  </a:lnTo>
                  <a:lnTo>
                    <a:pt x="254" y="978"/>
                  </a:lnTo>
                  <a:lnTo>
                    <a:pt x="252" y="964"/>
                  </a:lnTo>
                  <a:lnTo>
                    <a:pt x="256" y="890"/>
                  </a:lnTo>
                  <a:lnTo>
                    <a:pt x="258" y="836"/>
                  </a:lnTo>
                  <a:lnTo>
                    <a:pt x="258" y="794"/>
                  </a:lnTo>
                  <a:lnTo>
                    <a:pt x="254" y="736"/>
                  </a:lnTo>
                  <a:lnTo>
                    <a:pt x="254" y="718"/>
                  </a:lnTo>
                  <a:lnTo>
                    <a:pt x="254" y="712"/>
                  </a:lnTo>
                  <a:lnTo>
                    <a:pt x="256" y="710"/>
                  </a:lnTo>
                  <a:lnTo>
                    <a:pt x="266" y="708"/>
                  </a:lnTo>
                  <a:lnTo>
                    <a:pt x="272" y="706"/>
                  </a:lnTo>
                  <a:lnTo>
                    <a:pt x="274" y="704"/>
                  </a:lnTo>
                  <a:lnTo>
                    <a:pt x="274" y="702"/>
                  </a:lnTo>
                  <a:lnTo>
                    <a:pt x="278" y="592"/>
                  </a:lnTo>
                  <a:lnTo>
                    <a:pt x="278" y="516"/>
                  </a:lnTo>
                  <a:lnTo>
                    <a:pt x="278" y="486"/>
                  </a:lnTo>
                  <a:lnTo>
                    <a:pt x="278" y="468"/>
                  </a:lnTo>
                  <a:lnTo>
                    <a:pt x="288" y="494"/>
                  </a:lnTo>
                  <a:lnTo>
                    <a:pt x="298" y="514"/>
                  </a:lnTo>
                  <a:lnTo>
                    <a:pt x="308" y="530"/>
                  </a:lnTo>
                  <a:lnTo>
                    <a:pt x="314" y="536"/>
                  </a:lnTo>
                  <a:lnTo>
                    <a:pt x="314" y="538"/>
                  </a:lnTo>
                  <a:lnTo>
                    <a:pt x="312" y="542"/>
                  </a:lnTo>
                  <a:lnTo>
                    <a:pt x="308" y="544"/>
                  </a:lnTo>
                  <a:lnTo>
                    <a:pt x="308" y="546"/>
                  </a:lnTo>
                  <a:lnTo>
                    <a:pt x="314" y="546"/>
                  </a:lnTo>
                  <a:lnTo>
                    <a:pt x="316" y="548"/>
                  </a:lnTo>
                  <a:lnTo>
                    <a:pt x="318" y="548"/>
                  </a:lnTo>
                  <a:lnTo>
                    <a:pt x="320" y="552"/>
                  </a:lnTo>
                  <a:lnTo>
                    <a:pt x="318" y="554"/>
                  </a:lnTo>
                  <a:lnTo>
                    <a:pt x="316" y="556"/>
                  </a:lnTo>
                  <a:lnTo>
                    <a:pt x="316" y="558"/>
                  </a:lnTo>
                  <a:lnTo>
                    <a:pt x="318" y="560"/>
                  </a:lnTo>
                  <a:lnTo>
                    <a:pt x="322" y="558"/>
                  </a:lnTo>
                  <a:lnTo>
                    <a:pt x="330" y="554"/>
                  </a:lnTo>
                  <a:lnTo>
                    <a:pt x="332" y="554"/>
                  </a:lnTo>
                  <a:lnTo>
                    <a:pt x="334" y="556"/>
                  </a:lnTo>
                  <a:lnTo>
                    <a:pt x="334" y="560"/>
                  </a:lnTo>
                  <a:lnTo>
                    <a:pt x="336" y="562"/>
                  </a:lnTo>
                  <a:lnTo>
                    <a:pt x="338" y="560"/>
                  </a:lnTo>
                  <a:lnTo>
                    <a:pt x="340" y="556"/>
                  </a:lnTo>
                  <a:lnTo>
                    <a:pt x="342" y="552"/>
                  </a:lnTo>
                  <a:lnTo>
                    <a:pt x="342" y="546"/>
                  </a:lnTo>
                  <a:lnTo>
                    <a:pt x="336" y="534"/>
                  </a:lnTo>
                  <a:close/>
                  <a:moveTo>
                    <a:pt x="70" y="560"/>
                  </a:moveTo>
                  <a:lnTo>
                    <a:pt x="70" y="560"/>
                  </a:lnTo>
                  <a:lnTo>
                    <a:pt x="70" y="550"/>
                  </a:lnTo>
                  <a:lnTo>
                    <a:pt x="78" y="562"/>
                  </a:lnTo>
                  <a:lnTo>
                    <a:pt x="72" y="562"/>
                  </a:lnTo>
                  <a:lnTo>
                    <a:pt x="70" y="562"/>
                  </a:lnTo>
                  <a:lnTo>
                    <a:pt x="70" y="560"/>
                  </a:lnTo>
                  <a:close/>
                  <a:moveTo>
                    <a:pt x="82" y="560"/>
                  </a:moveTo>
                  <a:lnTo>
                    <a:pt x="82" y="560"/>
                  </a:lnTo>
                  <a:lnTo>
                    <a:pt x="80" y="560"/>
                  </a:lnTo>
                  <a:lnTo>
                    <a:pt x="82" y="554"/>
                  </a:lnTo>
                  <a:lnTo>
                    <a:pt x="84" y="548"/>
                  </a:lnTo>
                  <a:lnTo>
                    <a:pt x="84" y="554"/>
                  </a:lnTo>
                  <a:lnTo>
                    <a:pt x="82" y="560"/>
                  </a:lnTo>
                  <a:close/>
                  <a:moveTo>
                    <a:pt x="96" y="544"/>
                  </a:moveTo>
                  <a:lnTo>
                    <a:pt x="96" y="544"/>
                  </a:lnTo>
                  <a:lnTo>
                    <a:pt x="92" y="540"/>
                  </a:lnTo>
                  <a:lnTo>
                    <a:pt x="90" y="536"/>
                  </a:lnTo>
                  <a:lnTo>
                    <a:pt x="88" y="536"/>
                  </a:lnTo>
                  <a:lnTo>
                    <a:pt x="84" y="530"/>
                  </a:lnTo>
                  <a:lnTo>
                    <a:pt x="82" y="524"/>
                  </a:lnTo>
                  <a:lnTo>
                    <a:pt x="84" y="520"/>
                  </a:lnTo>
                  <a:lnTo>
                    <a:pt x="88" y="514"/>
                  </a:lnTo>
                  <a:lnTo>
                    <a:pt x="88" y="506"/>
                  </a:lnTo>
                  <a:lnTo>
                    <a:pt x="90" y="456"/>
                  </a:lnTo>
                  <a:lnTo>
                    <a:pt x="90" y="430"/>
                  </a:lnTo>
                  <a:lnTo>
                    <a:pt x="92" y="424"/>
                  </a:lnTo>
                  <a:lnTo>
                    <a:pt x="92" y="426"/>
                  </a:lnTo>
                  <a:lnTo>
                    <a:pt x="96" y="462"/>
                  </a:lnTo>
                  <a:lnTo>
                    <a:pt x="96" y="494"/>
                  </a:lnTo>
                  <a:lnTo>
                    <a:pt x="98" y="514"/>
                  </a:lnTo>
                  <a:lnTo>
                    <a:pt x="96" y="544"/>
                  </a:lnTo>
                  <a:close/>
                  <a:moveTo>
                    <a:pt x="110" y="134"/>
                  </a:moveTo>
                  <a:lnTo>
                    <a:pt x="110" y="134"/>
                  </a:lnTo>
                  <a:lnTo>
                    <a:pt x="112" y="148"/>
                  </a:lnTo>
                  <a:lnTo>
                    <a:pt x="114" y="160"/>
                  </a:lnTo>
                  <a:lnTo>
                    <a:pt x="110" y="148"/>
                  </a:lnTo>
                  <a:lnTo>
                    <a:pt x="110" y="140"/>
                  </a:lnTo>
                  <a:lnTo>
                    <a:pt x="110" y="134"/>
                  </a:lnTo>
                  <a:close/>
                  <a:moveTo>
                    <a:pt x="252" y="150"/>
                  </a:moveTo>
                  <a:lnTo>
                    <a:pt x="252" y="150"/>
                  </a:lnTo>
                  <a:lnTo>
                    <a:pt x="252" y="134"/>
                  </a:lnTo>
                  <a:lnTo>
                    <a:pt x="252" y="122"/>
                  </a:lnTo>
                  <a:lnTo>
                    <a:pt x="248" y="112"/>
                  </a:lnTo>
                  <a:lnTo>
                    <a:pt x="248" y="110"/>
                  </a:lnTo>
                  <a:lnTo>
                    <a:pt x="254" y="122"/>
                  </a:lnTo>
                  <a:lnTo>
                    <a:pt x="256" y="134"/>
                  </a:lnTo>
                  <a:lnTo>
                    <a:pt x="254" y="144"/>
                  </a:lnTo>
                  <a:lnTo>
                    <a:pt x="252" y="150"/>
                  </a:lnTo>
                  <a:close/>
                  <a:moveTo>
                    <a:pt x="250" y="108"/>
                  </a:moveTo>
                  <a:lnTo>
                    <a:pt x="250" y="108"/>
                  </a:lnTo>
                  <a:lnTo>
                    <a:pt x="244" y="98"/>
                  </a:lnTo>
                  <a:lnTo>
                    <a:pt x="240" y="86"/>
                  </a:lnTo>
                  <a:lnTo>
                    <a:pt x="246" y="98"/>
                  </a:lnTo>
                  <a:lnTo>
                    <a:pt x="250"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itchFamily="-108" charset="0"/>
              </a:endParaRPr>
            </a:p>
          </p:txBody>
        </p:sp>
        <p:sp>
          <p:nvSpPr>
            <p:cNvPr id="19" name="Freeform 293"/>
            <p:cNvSpPr>
              <a:spLocks/>
            </p:cNvSpPr>
            <p:nvPr/>
          </p:nvSpPr>
          <p:spPr bwMode="auto">
            <a:xfrm>
              <a:off x="2060575" y="1446213"/>
              <a:ext cx="387350" cy="839787"/>
            </a:xfrm>
            <a:custGeom>
              <a:avLst/>
              <a:gdLst>
                <a:gd name="T0" fmla="*/ 0 w 128"/>
                <a:gd name="T1" fmla="*/ 2147483647 h 278"/>
                <a:gd name="T2" fmla="*/ 2147483647 w 128"/>
                <a:gd name="T3" fmla="*/ 2147483647 h 278"/>
                <a:gd name="T4" fmla="*/ 2147483647 w 128"/>
                <a:gd name="T5" fmla="*/ 2147483647 h 278"/>
                <a:gd name="T6" fmla="*/ 2147483647 w 128"/>
                <a:gd name="T7" fmla="*/ 2147483647 h 278"/>
                <a:gd name="T8" fmla="*/ 2147483647 w 128"/>
                <a:gd name="T9" fmla="*/ 2147483647 h 278"/>
                <a:gd name="T10" fmla="*/ 2147483647 w 128"/>
                <a:gd name="T11" fmla="*/ 2147483647 h 278"/>
                <a:gd name="T12" fmla="*/ 2147483647 w 128"/>
                <a:gd name="T13" fmla="*/ 2147483647 h 278"/>
                <a:gd name="T14" fmla="*/ 2147483647 w 128"/>
                <a:gd name="T15" fmla="*/ 2147483647 h 278"/>
                <a:gd name="T16" fmla="*/ 2147483647 w 128"/>
                <a:gd name="T17" fmla="*/ 2147483647 h 278"/>
                <a:gd name="T18" fmla="*/ 2147483647 w 128"/>
                <a:gd name="T19" fmla="*/ 2147483647 h 278"/>
                <a:gd name="T20" fmla="*/ 2147483647 w 128"/>
                <a:gd name="T21" fmla="*/ 2147483647 h 278"/>
                <a:gd name="T22" fmla="*/ 2147483647 w 128"/>
                <a:gd name="T23" fmla="*/ 2147483647 h 278"/>
                <a:gd name="T24" fmla="*/ 2147483647 w 128"/>
                <a:gd name="T25" fmla="*/ 2147483647 h 278"/>
                <a:gd name="T26" fmla="*/ 2147483647 w 128"/>
                <a:gd name="T27" fmla="*/ 2147483647 h 278"/>
                <a:gd name="T28" fmla="*/ 2147483647 w 128"/>
                <a:gd name="T29" fmla="*/ 2147483647 h 278"/>
                <a:gd name="T30" fmla="*/ 2147483647 w 128"/>
                <a:gd name="T31" fmla="*/ 2147483647 h 278"/>
                <a:gd name="T32" fmla="*/ 2147483647 w 128"/>
                <a:gd name="T33" fmla="*/ 2147483647 h 278"/>
                <a:gd name="T34" fmla="*/ 2147483647 w 128"/>
                <a:gd name="T35" fmla="*/ 2147483647 h 278"/>
                <a:gd name="T36" fmla="*/ 2147483647 w 128"/>
                <a:gd name="T37" fmla="*/ 2147483647 h 278"/>
                <a:gd name="T38" fmla="*/ 2147483647 w 128"/>
                <a:gd name="T39" fmla="*/ 2147483647 h 278"/>
                <a:gd name="T40" fmla="*/ 2147483647 w 128"/>
                <a:gd name="T41" fmla="*/ 2147483647 h 278"/>
                <a:gd name="T42" fmla="*/ 2147483647 w 128"/>
                <a:gd name="T43" fmla="*/ 2147483647 h 278"/>
                <a:gd name="T44" fmla="*/ 2147483647 w 128"/>
                <a:gd name="T45" fmla="*/ 2147483647 h 278"/>
                <a:gd name="T46" fmla="*/ 2147483647 w 128"/>
                <a:gd name="T47" fmla="*/ 2147483647 h 278"/>
                <a:gd name="T48" fmla="*/ 2147483647 w 128"/>
                <a:gd name="T49" fmla="*/ 2147483647 h 278"/>
                <a:gd name="T50" fmla="*/ 2147483647 w 128"/>
                <a:gd name="T51" fmla="*/ 2147483647 h 278"/>
                <a:gd name="T52" fmla="*/ 2147483647 w 128"/>
                <a:gd name="T53" fmla="*/ 2147483647 h 278"/>
                <a:gd name="T54" fmla="*/ 2147483647 w 128"/>
                <a:gd name="T55" fmla="*/ 2147483647 h 278"/>
                <a:gd name="T56" fmla="*/ 2147483647 w 128"/>
                <a:gd name="T57" fmla="*/ 2147483647 h 278"/>
                <a:gd name="T58" fmla="*/ 2147483647 w 128"/>
                <a:gd name="T59" fmla="*/ 2147483647 h 278"/>
                <a:gd name="T60" fmla="*/ 2147483647 w 128"/>
                <a:gd name="T61" fmla="*/ 2147483647 h 278"/>
                <a:gd name="T62" fmla="*/ 2147483647 w 128"/>
                <a:gd name="T63" fmla="*/ 2147483647 h 278"/>
                <a:gd name="T64" fmla="*/ 2147483647 w 128"/>
                <a:gd name="T65" fmla="*/ 2147483647 h 278"/>
                <a:gd name="T66" fmla="*/ 2147483647 w 128"/>
                <a:gd name="T67" fmla="*/ 2147483647 h 278"/>
                <a:gd name="T68" fmla="*/ 2147483647 w 128"/>
                <a:gd name="T69" fmla="*/ 2147483647 h 278"/>
                <a:gd name="T70" fmla="*/ 2147483647 w 128"/>
                <a:gd name="T71" fmla="*/ 2147483647 h 278"/>
                <a:gd name="T72" fmla="*/ 2147483647 w 128"/>
                <a:gd name="T73" fmla="*/ 2147483647 h 278"/>
                <a:gd name="T74" fmla="*/ 2147483647 w 128"/>
                <a:gd name="T75" fmla="*/ 2147483647 h 278"/>
                <a:gd name="T76" fmla="*/ 2147483647 w 128"/>
                <a:gd name="T77" fmla="*/ 2147483647 h 278"/>
                <a:gd name="T78" fmla="*/ 2147483647 w 128"/>
                <a:gd name="T79" fmla="*/ 2147483647 h 278"/>
                <a:gd name="T80" fmla="*/ 2147483647 w 128"/>
                <a:gd name="T81" fmla="*/ 2147483647 h 278"/>
                <a:gd name="T82" fmla="*/ 2147483647 w 128"/>
                <a:gd name="T83" fmla="*/ 2147483647 h 278"/>
                <a:gd name="T84" fmla="*/ 2147483647 w 128"/>
                <a:gd name="T85" fmla="*/ 0 h 2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8"/>
                <a:gd name="T130" fmla="*/ 0 h 278"/>
                <a:gd name="T131" fmla="*/ 128 w 128"/>
                <a:gd name="T132" fmla="*/ 278 h 27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8" h="278">
                  <a:moveTo>
                    <a:pt x="0" y="4"/>
                  </a:moveTo>
                  <a:lnTo>
                    <a:pt x="0" y="4"/>
                  </a:lnTo>
                  <a:lnTo>
                    <a:pt x="6" y="6"/>
                  </a:lnTo>
                  <a:lnTo>
                    <a:pt x="12" y="6"/>
                  </a:lnTo>
                  <a:lnTo>
                    <a:pt x="16" y="8"/>
                  </a:lnTo>
                  <a:lnTo>
                    <a:pt x="20" y="12"/>
                  </a:lnTo>
                  <a:lnTo>
                    <a:pt x="24" y="20"/>
                  </a:lnTo>
                  <a:lnTo>
                    <a:pt x="24" y="30"/>
                  </a:lnTo>
                  <a:lnTo>
                    <a:pt x="26" y="38"/>
                  </a:lnTo>
                  <a:lnTo>
                    <a:pt x="26" y="46"/>
                  </a:lnTo>
                  <a:lnTo>
                    <a:pt x="30" y="42"/>
                  </a:lnTo>
                  <a:lnTo>
                    <a:pt x="34" y="40"/>
                  </a:lnTo>
                  <a:lnTo>
                    <a:pt x="36" y="40"/>
                  </a:lnTo>
                  <a:lnTo>
                    <a:pt x="38" y="42"/>
                  </a:lnTo>
                  <a:lnTo>
                    <a:pt x="40" y="46"/>
                  </a:lnTo>
                  <a:lnTo>
                    <a:pt x="44" y="56"/>
                  </a:lnTo>
                  <a:lnTo>
                    <a:pt x="50" y="76"/>
                  </a:lnTo>
                  <a:lnTo>
                    <a:pt x="54" y="96"/>
                  </a:lnTo>
                  <a:lnTo>
                    <a:pt x="54" y="114"/>
                  </a:lnTo>
                  <a:lnTo>
                    <a:pt x="54" y="136"/>
                  </a:lnTo>
                  <a:lnTo>
                    <a:pt x="56" y="176"/>
                  </a:lnTo>
                  <a:lnTo>
                    <a:pt x="56" y="198"/>
                  </a:lnTo>
                  <a:lnTo>
                    <a:pt x="54" y="218"/>
                  </a:lnTo>
                  <a:lnTo>
                    <a:pt x="52" y="236"/>
                  </a:lnTo>
                  <a:lnTo>
                    <a:pt x="46" y="254"/>
                  </a:lnTo>
                  <a:lnTo>
                    <a:pt x="44" y="264"/>
                  </a:lnTo>
                  <a:lnTo>
                    <a:pt x="42" y="276"/>
                  </a:lnTo>
                  <a:lnTo>
                    <a:pt x="54" y="272"/>
                  </a:lnTo>
                  <a:lnTo>
                    <a:pt x="62" y="270"/>
                  </a:lnTo>
                  <a:lnTo>
                    <a:pt x="68" y="270"/>
                  </a:lnTo>
                  <a:lnTo>
                    <a:pt x="76" y="272"/>
                  </a:lnTo>
                  <a:lnTo>
                    <a:pt x="84" y="274"/>
                  </a:lnTo>
                  <a:lnTo>
                    <a:pt x="92" y="278"/>
                  </a:lnTo>
                  <a:lnTo>
                    <a:pt x="100" y="278"/>
                  </a:lnTo>
                  <a:lnTo>
                    <a:pt x="98" y="270"/>
                  </a:lnTo>
                  <a:lnTo>
                    <a:pt x="96" y="262"/>
                  </a:lnTo>
                  <a:lnTo>
                    <a:pt x="94" y="248"/>
                  </a:lnTo>
                  <a:lnTo>
                    <a:pt x="92" y="234"/>
                  </a:lnTo>
                  <a:lnTo>
                    <a:pt x="88" y="196"/>
                  </a:lnTo>
                  <a:lnTo>
                    <a:pt x="88" y="176"/>
                  </a:lnTo>
                  <a:lnTo>
                    <a:pt x="88" y="156"/>
                  </a:lnTo>
                  <a:lnTo>
                    <a:pt x="94" y="116"/>
                  </a:lnTo>
                  <a:lnTo>
                    <a:pt x="96" y="96"/>
                  </a:lnTo>
                  <a:lnTo>
                    <a:pt x="102" y="76"/>
                  </a:lnTo>
                  <a:lnTo>
                    <a:pt x="104" y="64"/>
                  </a:lnTo>
                  <a:lnTo>
                    <a:pt x="106" y="48"/>
                  </a:lnTo>
                  <a:lnTo>
                    <a:pt x="110" y="24"/>
                  </a:lnTo>
                  <a:lnTo>
                    <a:pt x="116" y="38"/>
                  </a:lnTo>
                  <a:lnTo>
                    <a:pt x="122" y="44"/>
                  </a:lnTo>
                  <a:lnTo>
                    <a:pt x="126" y="48"/>
                  </a:lnTo>
                  <a:lnTo>
                    <a:pt x="126" y="40"/>
                  </a:lnTo>
                  <a:lnTo>
                    <a:pt x="128" y="30"/>
                  </a:lnTo>
                  <a:lnTo>
                    <a:pt x="128" y="10"/>
                  </a:lnTo>
                  <a:lnTo>
                    <a:pt x="108" y="8"/>
                  </a:lnTo>
                  <a:lnTo>
                    <a:pt x="100" y="10"/>
                  </a:lnTo>
                  <a:lnTo>
                    <a:pt x="92" y="14"/>
                  </a:lnTo>
                  <a:lnTo>
                    <a:pt x="86" y="22"/>
                  </a:lnTo>
                  <a:lnTo>
                    <a:pt x="80" y="36"/>
                  </a:lnTo>
                  <a:lnTo>
                    <a:pt x="74" y="48"/>
                  </a:lnTo>
                  <a:lnTo>
                    <a:pt x="70" y="52"/>
                  </a:lnTo>
                  <a:lnTo>
                    <a:pt x="60" y="36"/>
                  </a:lnTo>
                  <a:lnTo>
                    <a:pt x="50" y="22"/>
                  </a:lnTo>
                  <a:lnTo>
                    <a:pt x="42" y="14"/>
                  </a:lnTo>
                  <a:lnTo>
                    <a:pt x="34" y="6"/>
                  </a:lnTo>
                  <a:lnTo>
                    <a:pt x="30" y="2"/>
                  </a:lnTo>
                  <a:lnTo>
                    <a:pt x="26"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itchFamily="-108" charset="0"/>
              </a:endParaRPr>
            </a:p>
          </p:txBody>
        </p:sp>
      </p:grpSp>
      <p:sp>
        <p:nvSpPr>
          <p:cNvPr id="20" name="Content Placeholder 2"/>
          <p:cNvSpPr txBox="1">
            <a:spLocks/>
          </p:cNvSpPr>
          <p:nvPr/>
        </p:nvSpPr>
        <p:spPr>
          <a:xfrm>
            <a:off x="9059249" y="2175218"/>
            <a:ext cx="1404876" cy="276999"/>
          </a:xfrm>
          <a:prstGeom prst="rect">
            <a:avLst/>
          </a:prstGeom>
          <a:noFill/>
        </p:spPr>
        <p:txBody>
          <a:bodyPr wrap="square">
            <a:spAutoFit/>
          </a:bodyPr>
          <a:lstStyle>
            <a:defPPr>
              <a:defRPr lang="en-US"/>
            </a:defPPr>
            <a:lvl1pPr>
              <a:defRPr sz="6600" spc="-15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1200" b="1" spc="0" dirty="0">
                <a:solidFill>
                  <a:srgbClr val="01678C"/>
                </a:solidFill>
                <a:latin typeface="Raleway" panose="020B0503030101060003" pitchFamily="34" charset="0"/>
              </a:rPr>
              <a:t>Subtitle Here</a:t>
            </a:r>
          </a:p>
        </p:txBody>
      </p:sp>
      <p:sp>
        <p:nvSpPr>
          <p:cNvPr id="21" name="Rectangle 20"/>
          <p:cNvSpPr/>
          <p:nvPr/>
        </p:nvSpPr>
        <p:spPr>
          <a:xfrm>
            <a:off x="9059248" y="2389212"/>
            <a:ext cx="2273249" cy="461665"/>
          </a:xfrm>
          <a:prstGeom prst="rect">
            <a:avLst/>
          </a:prstGeom>
        </p:spPr>
        <p:txBody>
          <a:bodyPr wrap="square">
            <a:spAutoFit/>
          </a:bodyPr>
          <a:lstStyle/>
          <a:p>
            <a:pPr>
              <a:buClr>
                <a:srgbClr val="E24848"/>
              </a:buClr>
              <a:defRPr/>
            </a:pPr>
            <a:r>
              <a:rPr lang="en-US" sz="1200" noProof="1">
                <a:latin typeface="+mj-lt"/>
                <a:ea typeface="Open Sans Light" panose="020B0306030504020204" pitchFamily="34" charset="0"/>
                <a:cs typeface="Open Sans Light" panose="020B0306030504020204" pitchFamily="34" charset="0"/>
              </a:rPr>
              <a:t>Lorem ipsum dolor sit amet, consectetur adipiscing eli</a:t>
            </a:r>
          </a:p>
        </p:txBody>
      </p:sp>
      <p:sp>
        <p:nvSpPr>
          <p:cNvPr id="22" name="Content Placeholder 2"/>
          <p:cNvSpPr txBox="1">
            <a:spLocks/>
          </p:cNvSpPr>
          <p:nvPr/>
        </p:nvSpPr>
        <p:spPr>
          <a:xfrm>
            <a:off x="9196646" y="3445647"/>
            <a:ext cx="1404876" cy="276999"/>
          </a:xfrm>
          <a:prstGeom prst="rect">
            <a:avLst/>
          </a:prstGeom>
          <a:noFill/>
        </p:spPr>
        <p:txBody>
          <a:bodyPr wrap="square">
            <a:spAutoFit/>
          </a:bodyPr>
          <a:lstStyle>
            <a:defPPr>
              <a:defRPr lang="en-US"/>
            </a:defPPr>
            <a:lvl1pPr>
              <a:defRPr sz="6600" spc="-15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1200" b="1" spc="0" dirty="0">
                <a:solidFill>
                  <a:srgbClr val="01678C"/>
                </a:solidFill>
                <a:latin typeface="Raleway" panose="020B0503030101060003" pitchFamily="34" charset="0"/>
              </a:rPr>
              <a:t>Subtitle Here</a:t>
            </a:r>
          </a:p>
        </p:txBody>
      </p:sp>
      <p:sp>
        <p:nvSpPr>
          <p:cNvPr id="23" name="Rectangle 22"/>
          <p:cNvSpPr/>
          <p:nvPr/>
        </p:nvSpPr>
        <p:spPr>
          <a:xfrm>
            <a:off x="9196645" y="3659641"/>
            <a:ext cx="2273249" cy="461665"/>
          </a:xfrm>
          <a:prstGeom prst="rect">
            <a:avLst/>
          </a:prstGeom>
        </p:spPr>
        <p:txBody>
          <a:bodyPr wrap="square">
            <a:spAutoFit/>
          </a:bodyPr>
          <a:lstStyle/>
          <a:p>
            <a:pPr>
              <a:buClr>
                <a:srgbClr val="E24848"/>
              </a:buClr>
              <a:defRPr/>
            </a:pPr>
            <a:r>
              <a:rPr lang="en-US" sz="1200" noProof="1">
                <a:latin typeface="+mj-lt"/>
                <a:ea typeface="Open Sans Light" panose="020B0306030504020204" pitchFamily="34" charset="0"/>
                <a:cs typeface="Open Sans Light" panose="020B0306030504020204" pitchFamily="34" charset="0"/>
              </a:rPr>
              <a:t>Lorem ipsum dolor sit amet, consectetur adipiscing eli</a:t>
            </a:r>
          </a:p>
        </p:txBody>
      </p:sp>
      <p:sp>
        <p:nvSpPr>
          <p:cNvPr id="24" name="Content Placeholder 2"/>
          <p:cNvSpPr txBox="1">
            <a:spLocks/>
          </p:cNvSpPr>
          <p:nvPr/>
        </p:nvSpPr>
        <p:spPr>
          <a:xfrm>
            <a:off x="8898338" y="4813108"/>
            <a:ext cx="1404876" cy="276999"/>
          </a:xfrm>
          <a:prstGeom prst="rect">
            <a:avLst/>
          </a:prstGeom>
          <a:noFill/>
        </p:spPr>
        <p:txBody>
          <a:bodyPr wrap="square">
            <a:spAutoFit/>
          </a:bodyPr>
          <a:lstStyle>
            <a:defPPr>
              <a:defRPr lang="en-US"/>
            </a:defPPr>
            <a:lvl1pPr>
              <a:defRPr sz="6600" spc="-15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1200" b="1" spc="0" dirty="0">
                <a:solidFill>
                  <a:srgbClr val="01678C"/>
                </a:solidFill>
                <a:latin typeface="Raleway" panose="020B0503030101060003" pitchFamily="34" charset="0"/>
              </a:rPr>
              <a:t>Subtitle Here</a:t>
            </a:r>
          </a:p>
        </p:txBody>
      </p:sp>
      <p:sp>
        <p:nvSpPr>
          <p:cNvPr id="25" name="Rectangle 24"/>
          <p:cNvSpPr/>
          <p:nvPr/>
        </p:nvSpPr>
        <p:spPr>
          <a:xfrm>
            <a:off x="8898337" y="5027102"/>
            <a:ext cx="2273249" cy="461665"/>
          </a:xfrm>
          <a:prstGeom prst="rect">
            <a:avLst/>
          </a:prstGeom>
        </p:spPr>
        <p:txBody>
          <a:bodyPr wrap="square">
            <a:spAutoFit/>
          </a:bodyPr>
          <a:lstStyle/>
          <a:p>
            <a:pPr>
              <a:buClr>
                <a:srgbClr val="E24848"/>
              </a:buClr>
              <a:defRPr/>
            </a:pPr>
            <a:r>
              <a:rPr lang="en-US" sz="1200" noProof="1">
                <a:latin typeface="+mj-lt"/>
                <a:ea typeface="Open Sans Light" panose="020B0306030504020204" pitchFamily="34" charset="0"/>
                <a:cs typeface="Open Sans Light" panose="020B0306030504020204" pitchFamily="34" charset="0"/>
              </a:rPr>
              <a:t>Lorem ipsum dolor sit amet, consectetur adipiscing eli</a:t>
            </a:r>
          </a:p>
        </p:txBody>
      </p:sp>
      <p:sp>
        <p:nvSpPr>
          <p:cNvPr id="27" name="Rectangle 26"/>
          <p:cNvSpPr/>
          <p:nvPr/>
        </p:nvSpPr>
        <p:spPr>
          <a:xfrm>
            <a:off x="744192" y="2520392"/>
            <a:ext cx="4012128" cy="1242420"/>
          </a:xfrm>
          <a:prstGeom prst="rect">
            <a:avLst/>
          </a:prstGeom>
        </p:spPr>
        <p:txBody>
          <a:bodyPr vert="horz" wrap="square" lIns="91416" tIns="45708" rIns="91416" bIns="45708" rtlCol="0" anchor="ctr">
            <a:noAutofit/>
          </a:bodyPr>
          <a:lstStyle/>
          <a:p>
            <a:pPr>
              <a:lnSpc>
                <a:spcPct val="90000"/>
              </a:lnSpc>
              <a:spcBef>
                <a:spcPct val="0"/>
              </a:spcBef>
            </a:pPr>
            <a:r>
              <a:rPr lang="en-US" sz="2400" noProof="1">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rPr>
              <a:t>Definiteness Of Purpose Is </a:t>
            </a:r>
            <a:r>
              <a:rPr lang="id-ID" sz="2400" noProof="1">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rPr>
              <a:t> </a:t>
            </a:r>
            <a:r>
              <a:rPr lang="en-US" sz="2400" noProof="1">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rPr>
              <a:t>The Starting Point </a:t>
            </a:r>
          </a:p>
          <a:p>
            <a:pPr>
              <a:lnSpc>
                <a:spcPct val="90000"/>
              </a:lnSpc>
              <a:spcBef>
                <a:spcPct val="0"/>
              </a:spcBef>
            </a:pPr>
            <a:r>
              <a:rPr lang="en-US" sz="2400" b="1" noProof="1">
                <a:solidFill>
                  <a:srgbClr val="01678C"/>
                </a:solidFill>
                <a:latin typeface="Montserrat" panose="00000500000000000000" pitchFamily="2" charset="0"/>
                <a:ea typeface="Roboto" panose="02000000000000000000" pitchFamily="2" charset="0"/>
                <a:cs typeface="Times New Roman" panose="02020603050405020304" pitchFamily="18" charset="0"/>
              </a:rPr>
              <a:t>Of All Achievement</a:t>
            </a:r>
          </a:p>
        </p:txBody>
      </p:sp>
      <p:sp>
        <p:nvSpPr>
          <p:cNvPr id="28" name="Rectangle 27"/>
          <p:cNvSpPr/>
          <p:nvPr/>
        </p:nvSpPr>
        <p:spPr>
          <a:xfrm>
            <a:off x="733815" y="3816594"/>
            <a:ext cx="3822236" cy="877005"/>
          </a:xfrm>
          <a:prstGeom prst="rect">
            <a:avLst/>
          </a:prstGeom>
        </p:spPr>
        <p:txBody>
          <a:bodyPr wrap="square" anchor="ctr">
            <a:noAutofit/>
          </a:bodyPr>
          <a:lstStyle/>
          <a:p>
            <a:pPr>
              <a:buClr>
                <a:srgbClr val="E24848"/>
              </a:buClr>
              <a:defRPr/>
            </a:pPr>
            <a:r>
              <a:rPr lang="en-US" sz="1200" noProof="1">
                <a:solidFill>
                  <a:schemeClr val="tx1">
                    <a:lumMod val="85000"/>
                    <a:lumOff val="15000"/>
                  </a:schemeClr>
                </a:solidFill>
                <a:latin typeface="Montserrat" panose="00000500000000000000" pitchFamily="50" charset="0"/>
                <a:ea typeface="Open Sans Light" panose="020B0306030504020204" pitchFamily="34" charset="0"/>
                <a:cs typeface="Open Sans Light" panose="020B0306030504020204" pitchFamily="34" charset="0"/>
              </a:rPr>
              <a:t>Lorem ipsum dolor sit amet, consectetur adipiscing elit. Nulla imperdiet volutpat dui at ermentuLorem ipsum dolor sit amet, consectetur</a:t>
            </a:r>
          </a:p>
        </p:txBody>
      </p:sp>
    </p:spTree>
    <p:extLst>
      <p:ext uri="{BB962C8B-B14F-4D97-AF65-F5344CB8AC3E}">
        <p14:creationId xmlns:p14="http://schemas.microsoft.com/office/powerpoint/2010/main" val="3423360047"/>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23" y="6664283"/>
            <a:ext cx="12189983" cy="206419"/>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
          <p:cNvSpPr/>
          <p:nvPr/>
        </p:nvSpPr>
        <p:spPr>
          <a:xfrm>
            <a:off x="5056966" y="6530678"/>
            <a:ext cx="2078068" cy="222924"/>
          </a:xfrm>
          <a:prstGeom prst="roundRect">
            <a:avLst>
              <a:gd name="adj" fmla="val 50000"/>
            </a:avLst>
          </a:prstGeom>
          <a:solidFill>
            <a:srgbClr val="018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effectLst>
                <a:outerShdw blurRad="63500" sx="102000" sy="102000" algn="ctr" rotWithShape="0">
                  <a:prstClr val="black">
                    <a:alpha val="40000"/>
                  </a:prstClr>
                </a:outerShdw>
              </a:effectLst>
              <a:latin typeface="+mj-lt"/>
            </a:endParaRPr>
          </a:p>
        </p:txBody>
      </p:sp>
      <p:cxnSp>
        <p:nvCxnSpPr>
          <p:cNvPr id="4" name="Straight Connector 3"/>
          <p:cNvCxnSpPr/>
          <p:nvPr/>
        </p:nvCxnSpPr>
        <p:spPr>
          <a:xfrm>
            <a:off x="6512721" y="6567488"/>
            <a:ext cx="0" cy="154781"/>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6665393" y="6505535"/>
            <a:ext cx="335348" cy="261610"/>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17</a:t>
            </a:r>
          </a:p>
        </p:txBody>
      </p:sp>
      <p:sp>
        <p:nvSpPr>
          <p:cNvPr id="6" name="Date Placeholder 1"/>
          <p:cNvSpPr txBox="1">
            <a:spLocks/>
          </p:cNvSpPr>
          <p:nvPr>
            <p:custDataLst>
              <p:tags r:id="rId1"/>
            </p:custDataLst>
          </p:nvPr>
        </p:nvSpPr>
        <p:spPr>
          <a:xfrm>
            <a:off x="5006809" y="6498189"/>
            <a:ext cx="1530941"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Segoe UI" panose="020B0502040204020203" pitchFamily="34" charset="0"/>
                <a:ea typeface="Open Sans Light" panose="020B0306030504020204" pitchFamily="34" charset="0"/>
                <a:cs typeface="Segoe UI" panose="020B0502040204020203" pitchFamily="34" charset="0"/>
              </a:rPr>
              <a:t>www.yourcompanyname.com</a:t>
            </a:r>
          </a:p>
        </p:txBody>
      </p:sp>
      <p:sp>
        <p:nvSpPr>
          <p:cNvPr id="12" name="Title 11"/>
          <p:cNvSpPr txBox="1">
            <a:spLocks/>
          </p:cNvSpPr>
          <p:nvPr/>
        </p:nvSpPr>
        <p:spPr>
          <a:xfrm>
            <a:off x="4378420" y="1189094"/>
            <a:ext cx="3435161" cy="192764"/>
          </a:xfrm>
          <a:prstGeom prst="rect">
            <a:avLst/>
          </a:prstGeom>
        </p:spPr>
        <p:txBody>
          <a:bodyPr vert="horz"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dirty="0">
                <a:solidFill>
                  <a:schemeClr val="tx1">
                    <a:lumMod val="85000"/>
                    <a:lumOff val="15000"/>
                  </a:schemeClr>
                </a:solidFill>
                <a:ea typeface="Roboto" panose="02000000000000000000" pitchFamily="2" charset="0"/>
                <a:cs typeface="Open Sans Light" panose="020B0306030504020204" pitchFamily="34" charset="0"/>
              </a:rPr>
              <a:t>Insert Your Creative Idea </a:t>
            </a:r>
          </a:p>
        </p:txBody>
      </p:sp>
      <p:sp>
        <p:nvSpPr>
          <p:cNvPr id="13" name="Title 11"/>
          <p:cNvSpPr txBox="1">
            <a:spLocks/>
          </p:cNvSpPr>
          <p:nvPr/>
        </p:nvSpPr>
        <p:spPr>
          <a:xfrm>
            <a:off x="987778" y="557390"/>
            <a:ext cx="10216444"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1" spc="-150" dirty="0">
                <a:solidFill>
                  <a:srgbClr val="01678C"/>
                </a:solidFill>
                <a:latin typeface="Montserrat" panose="00000500000000000000" pitchFamily="2" charset="0"/>
                <a:ea typeface="Roboto" panose="02000000000000000000" pitchFamily="2" charset="0"/>
                <a:cs typeface="Times New Roman" panose="02020603050405020304" pitchFamily="18" charset="0"/>
              </a:rPr>
              <a:t>Marketing</a:t>
            </a:r>
            <a:r>
              <a:rPr lang="en-US" sz="3600" b="1" spc="-150" dirty="0">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rPr>
              <a:t> </a:t>
            </a:r>
            <a:r>
              <a:rPr lang="en-US" sz="3600" spc="-150" dirty="0">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rPr>
              <a:t>Infographic </a:t>
            </a:r>
          </a:p>
        </p:txBody>
      </p:sp>
      <p:sp>
        <p:nvSpPr>
          <p:cNvPr id="8" name="Freeform 5"/>
          <p:cNvSpPr>
            <a:spLocks/>
          </p:cNvSpPr>
          <p:nvPr/>
        </p:nvSpPr>
        <p:spPr bwMode="auto">
          <a:xfrm>
            <a:off x="4009572" y="2081180"/>
            <a:ext cx="4114800" cy="3593963"/>
          </a:xfrm>
          <a:custGeom>
            <a:avLst/>
            <a:gdLst>
              <a:gd name="T0" fmla="*/ 1199 w 1272"/>
              <a:gd name="T1" fmla="*/ 585 h 1111"/>
              <a:gd name="T2" fmla="*/ 1228 w 1272"/>
              <a:gd name="T3" fmla="*/ 365 h 1111"/>
              <a:gd name="T4" fmla="*/ 1070 w 1272"/>
              <a:gd name="T5" fmla="*/ 234 h 1111"/>
              <a:gd name="T6" fmla="*/ 845 w 1272"/>
              <a:gd name="T7" fmla="*/ 20 h 1111"/>
              <a:gd name="T8" fmla="*/ 603 w 1272"/>
              <a:gd name="T9" fmla="*/ 59 h 1111"/>
              <a:gd name="T10" fmla="*/ 469 w 1272"/>
              <a:gd name="T11" fmla="*/ 46 h 1111"/>
              <a:gd name="T12" fmla="*/ 381 w 1272"/>
              <a:gd name="T13" fmla="*/ 111 h 1111"/>
              <a:gd name="T14" fmla="*/ 198 w 1272"/>
              <a:gd name="T15" fmla="*/ 161 h 1111"/>
              <a:gd name="T16" fmla="*/ 108 w 1272"/>
              <a:gd name="T17" fmla="*/ 317 h 1111"/>
              <a:gd name="T18" fmla="*/ 5 w 1272"/>
              <a:gd name="T19" fmla="*/ 433 h 1111"/>
              <a:gd name="T20" fmla="*/ 33 w 1272"/>
              <a:gd name="T21" fmla="*/ 534 h 1111"/>
              <a:gd name="T22" fmla="*/ 38 w 1272"/>
              <a:gd name="T23" fmla="*/ 670 h 1111"/>
              <a:gd name="T24" fmla="*/ 319 w 1272"/>
              <a:gd name="T25" fmla="*/ 771 h 1111"/>
              <a:gd name="T26" fmla="*/ 344 w 1272"/>
              <a:gd name="T27" fmla="*/ 759 h 1111"/>
              <a:gd name="T28" fmla="*/ 349 w 1272"/>
              <a:gd name="T29" fmla="*/ 773 h 1111"/>
              <a:gd name="T30" fmla="*/ 630 w 1272"/>
              <a:gd name="T31" fmla="*/ 874 h 1111"/>
              <a:gd name="T32" fmla="*/ 641 w 1272"/>
              <a:gd name="T33" fmla="*/ 869 h 1111"/>
              <a:gd name="T34" fmla="*/ 768 w 1272"/>
              <a:gd name="T35" fmla="*/ 901 h 1111"/>
              <a:gd name="T36" fmla="*/ 790 w 1272"/>
              <a:gd name="T37" fmla="*/ 955 h 1111"/>
              <a:gd name="T38" fmla="*/ 1000 w 1272"/>
              <a:gd name="T39" fmla="*/ 1111 h 1111"/>
              <a:gd name="T40" fmla="*/ 1037 w 1272"/>
              <a:gd name="T41" fmla="*/ 1077 h 1111"/>
              <a:gd name="T42" fmla="*/ 1036 w 1272"/>
              <a:gd name="T43" fmla="*/ 1076 h 1111"/>
              <a:gd name="T44" fmla="*/ 906 w 1272"/>
              <a:gd name="T45" fmla="*/ 901 h 1111"/>
              <a:gd name="T46" fmla="*/ 907 w 1272"/>
              <a:gd name="T47" fmla="*/ 893 h 1111"/>
              <a:gd name="T48" fmla="*/ 1106 w 1272"/>
              <a:gd name="T49" fmla="*/ 904 h 1111"/>
              <a:gd name="T50" fmla="*/ 1228 w 1272"/>
              <a:gd name="T51" fmla="*/ 632 h 1111"/>
              <a:gd name="T52" fmla="*/ 1199 w 1272"/>
              <a:gd name="T53" fmla="*/ 585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72" h="1111">
                <a:moveTo>
                  <a:pt x="1199" y="585"/>
                </a:moveTo>
                <a:cubicBezTo>
                  <a:pt x="1249" y="533"/>
                  <a:pt x="1263" y="446"/>
                  <a:pt x="1228" y="365"/>
                </a:cubicBezTo>
                <a:cubicBezTo>
                  <a:pt x="1197" y="291"/>
                  <a:pt x="1135" y="243"/>
                  <a:pt x="1070" y="234"/>
                </a:cubicBezTo>
                <a:cubicBezTo>
                  <a:pt x="1083" y="144"/>
                  <a:pt x="985" y="49"/>
                  <a:pt x="845" y="20"/>
                </a:cubicBezTo>
                <a:cubicBezTo>
                  <a:pt x="749" y="0"/>
                  <a:pt x="657" y="17"/>
                  <a:pt x="603" y="59"/>
                </a:cubicBezTo>
                <a:cubicBezTo>
                  <a:pt x="563" y="37"/>
                  <a:pt x="515" y="31"/>
                  <a:pt x="469" y="46"/>
                </a:cubicBezTo>
                <a:cubicBezTo>
                  <a:pt x="432" y="58"/>
                  <a:pt x="401" y="82"/>
                  <a:pt x="381" y="111"/>
                </a:cubicBezTo>
                <a:cubicBezTo>
                  <a:pt x="323" y="99"/>
                  <a:pt x="255" y="116"/>
                  <a:pt x="198" y="161"/>
                </a:cubicBezTo>
                <a:cubicBezTo>
                  <a:pt x="144" y="203"/>
                  <a:pt x="113" y="261"/>
                  <a:pt x="108" y="317"/>
                </a:cubicBezTo>
                <a:cubicBezTo>
                  <a:pt x="54" y="331"/>
                  <a:pt x="12" y="375"/>
                  <a:pt x="5" y="433"/>
                </a:cubicBezTo>
                <a:cubicBezTo>
                  <a:pt x="0" y="470"/>
                  <a:pt x="11" y="506"/>
                  <a:pt x="33" y="534"/>
                </a:cubicBezTo>
                <a:cubicBezTo>
                  <a:pt x="19" y="578"/>
                  <a:pt x="20" y="625"/>
                  <a:pt x="38" y="670"/>
                </a:cubicBezTo>
                <a:cubicBezTo>
                  <a:pt x="82" y="773"/>
                  <a:pt x="208" y="818"/>
                  <a:pt x="319" y="771"/>
                </a:cubicBezTo>
                <a:cubicBezTo>
                  <a:pt x="327" y="767"/>
                  <a:pt x="336" y="763"/>
                  <a:pt x="344" y="759"/>
                </a:cubicBezTo>
                <a:cubicBezTo>
                  <a:pt x="346" y="763"/>
                  <a:pt x="347" y="768"/>
                  <a:pt x="349" y="773"/>
                </a:cubicBezTo>
                <a:cubicBezTo>
                  <a:pt x="393" y="876"/>
                  <a:pt x="519" y="921"/>
                  <a:pt x="630" y="874"/>
                </a:cubicBezTo>
                <a:cubicBezTo>
                  <a:pt x="633" y="873"/>
                  <a:pt x="637" y="871"/>
                  <a:pt x="641" y="869"/>
                </a:cubicBezTo>
                <a:cubicBezTo>
                  <a:pt x="671" y="902"/>
                  <a:pt x="721" y="916"/>
                  <a:pt x="768" y="901"/>
                </a:cubicBezTo>
                <a:cubicBezTo>
                  <a:pt x="774" y="920"/>
                  <a:pt x="781" y="938"/>
                  <a:pt x="790" y="955"/>
                </a:cubicBezTo>
                <a:cubicBezTo>
                  <a:pt x="837" y="1044"/>
                  <a:pt x="918" y="1100"/>
                  <a:pt x="1000" y="1111"/>
                </a:cubicBezTo>
                <a:cubicBezTo>
                  <a:pt x="1037" y="1077"/>
                  <a:pt x="1037" y="1077"/>
                  <a:pt x="1037" y="1077"/>
                </a:cubicBezTo>
                <a:cubicBezTo>
                  <a:pt x="1037" y="1077"/>
                  <a:pt x="1036" y="1076"/>
                  <a:pt x="1036" y="1076"/>
                </a:cubicBezTo>
                <a:cubicBezTo>
                  <a:pt x="961" y="1053"/>
                  <a:pt x="906" y="983"/>
                  <a:pt x="906" y="901"/>
                </a:cubicBezTo>
                <a:cubicBezTo>
                  <a:pt x="906" y="898"/>
                  <a:pt x="906" y="896"/>
                  <a:pt x="907" y="893"/>
                </a:cubicBezTo>
                <a:cubicBezTo>
                  <a:pt x="964" y="927"/>
                  <a:pt x="1038" y="933"/>
                  <a:pt x="1106" y="904"/>
                </a:cubicBezTo>
                <a:cubicBezTo>
                  <a:pt x="1217" y="857"/>
                  <a:pt x="1272" y="735"/>
                  <a:pt x="1228" y="632"/>
                </a:cubicBezTo>
                <a:cubicBezTo>
                  <a:pt x="1220" y="614"/>
                  <a:pt x="1211" y="599"/>
                  <a:pt x="1199" y="585"/>
                </a:cubicBezTo>
                <a:close/>
              </a:path>
            </a:pathLst>
          </a:custGeom>
          <a:solidFill>
            <a:srgbClr val="018ABB"/>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10"/>
          <p:cNvSpPr>
            <a:spLocks/>
          </p:cNvSpPr>
          <p:nvPr/>
        </p:nvSpPr>
        <p:spPr bwMode="auto">
          <a:xfrm>
            <a:off x="4828304" y="3316966"/>
            <a:ext cx="3296068" cy="2358178"/>
          </a:xfrm>
          <a:custGeom>
            <a:avLst/>
            <a:gdLst>
              <a:gd name="T0" fmla="*/ 853 w 1019"/>
              <a:gd name="T1" fmla="*/ 522 h 729"/>
              <a:gd name="T2" fmla="*/ 975 w 1019"/>
              <a:gd name="T3" fmla="*/ 250 h 729"/>
              <a:gd name="T4" fmla="*/ 946 w 1019"/>
              <a:gd name="T5" fmla="*/ 203 h 729"/>
              <a:gd name="T6" fmla="*/ 991 w 1019"/>
              <a:gd name="T7" fmla="*/ 110 h 729"/>
              <a:gd name="T8" fmla="*/ 580 w 1019"/>
              <a:gd name="T9" fmla="*/ 105 h 729"/>
              <a:gd name="T10" fmla="*/ 524 w 1019"/>
              <a:gd name="T11" fmla="*/ 258 h 729"/>
              <a:gd name="T12" fmla="*/ 505 w 1019"/>
              <a:gd name="T13" fmla="*/ 253 h 729"/>
              <a:gd name="T14" fmla="*/ 0 w 1019"/>
              <a:gd name="T15" fmla="*/ 406 h 729"/>
              <a:gd name="T16" fmla="*/ 66 w 1019"/>
              <a:gd name="T17" fmla="*/ 389 h 729"/>
              <a:gd name="T18" fmla="*/ 91 w 1019"/>
              <a:gd name="T19" fmla="*/ 377 h 729"/>
              <a:gd name="T20" fmla="*/ 96 w 1019"/>
              <a:gd name="T21" fmla="*/ 391 h 729"/>
              <a:gd name="T22" fmla="*/ 377 w 1019"/>
              <a:gd name="T23" fmla="*/ 492 h 729"/>
              <a:gd name="T24" fmla="*/ 388 w 1019"/>
              <a:gd name="T25" fmla="*/ 487 h 729"/>
              <a:gd name="T26" fmla="*/ 515 w 1019"/>
              <a:gd name="T27" fmla="*/ 519 h 729"/>
              <a:gd name="T28" fmla="*/ 537 w 1019"/>
              <a:gd name="T29" fmla="*/ 573 h 729"/>
              <a:gd name="T30" fmla="*/ 747 w 1019"/>
              <a:gd name="T31" fmla="*/ 729 h 729"/>
              <a:gd name="T32" fmla="*/ 784 w 1019"/>
              <a:gd name="T33" fmla="*/ 695 h 729"/>
              <a:gd name="T34" fmla="*/ 783 w 1019"/>
              <a:gd name="T35" fmla="*/ 694 h 729"/>
              <a:gd name="T36" fmla="*/ 653 w 1019"/>
              <a:gd name="T37" fmla="*/ 519 h 729"/>
              <a:gd name="T38" fmla="*/ 654 w 1019"/>
              <a:gd name="T39" fmla="*/ 511 h 729"/>
              <a:gd name="T40" fmla="*/ 853 w 1019"/>
              <a:gd name="T41" fmla="*/ 52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19" h="729">
                <a:moveTo>
                  <a:pt x="853" y="522"/>
                </a:moveTo>
                <a:cubicBezTo>
                  <a:pt x="964" y="475"/>
                  <a:pt x="1019" y="353"/>
                  <a:pt x="975" y="250"/>
                </a:cubicBezTo>
                <a:cubicBezTo>
                  <a:pt x="967" y="232"/>
                  <a:pt x="958" y="217"/>
                  <a:pt x="946" y="203"/>
                </a:cubicBezTo>
                <a:cubicBezTo>
                  <a:pt x="969" y="178"/>
                  <a:pt x="985" y="146"/>
                  <a:pt x="991" y="110"/>
                </a:cubicBezTo>
                <a:cubicBezTo>
                  <a:pt x="851" y="5"/>
                  <a:pt x="673" y="0"/>
                  <a:pt x="580" y="105"/>
                </a:cubicBezTo>
                <a:cubicBezTo>
                  <a:pt x="543" y="147"/>
                  <a:pt x="524" y="200"/>
                  <a:pt x="524" y="258"/>
                </a:cubicBezTo>
                <a:cubicBezTo>
                  <a:pt x="518" y="256"/>
                  <a:pt x="511" y="255"/>
                  <a:pt x="505" y="253"/>
                </a:cubicBezTo>
                <a:cubicBezTo>
                  <a:pt x="294" y="202"/>
                  <a:pt x="90" y="270"/>
                  <a:pt x="0" y="406"/>
                </a:cubicBezTo>
                <a:cubicBezTo>
                  <a:pt x="22" y="404"/>
                  <a:pt x="44" y="398"/>
                  <a:pt x="66" y="389"/>
                </a:cubicBezTo>
                <a:cubicBezTo>
                  <a:pt x="74" y="385"/>
                  <a:pt x="83" y="381"/>
                  <a:pt x="91" y="377"/>
                </a:cubicBezTo>
                <a:cubicBezTo>
                  <a:pt x="93" y="381"/>
                  <a:pt x="94" y="386"/>
                  <a:pt x="96" y="391"/>
                </a:cubicBezTo>
                <a:cubicBezTo>
                  <a:pt x="140" y="494"/>
                  <a:pt x="266" y="539"/>
                  <a:pt x="377" y="492"/>
                </a:cubicBezTo>
                <a:cubicBezTo>
                  <a:pt x="380" y="491"/>
                  <a:pt x="384" y="489"/>
                  <a:pt x="388" y="487"/>
                </a:cubicBezTo>
                <a:cubicBezTo>
                  <a:pt x="418" y="520"/>
                  <a:pt x="468" y="534"/>
                  <a:pt x="515" y="519"/>
                </a:cubicBezTo>
                <a:cubicBezTo>
                  <a:pt x="521" y="538"/>
                  <a:pt x="528" y="556"/>
                  <a:pt x="537" y="573"/>
                </a:cubicBezTo>
                <a:cubicBezTo>
                  <a:pt x="584" y="662"/>
                  <a:pt x="665" y="718"/>
                  <a:pt x="747" y="729"/>
                </a:cubicBezTo>
                <a:cubicBezTo>
                  <a:pt x="784" y="695"/>
                  <a:pt x="784" y="695"/>
                  <a:pt x="784" y="695"/>
                </a:cubicBezTo>
                <a:cubicBezTo>
                  <a:pt x="784" y="695"/>
                  <a:pt x="783" y="694"/>
                  <a:pt x="783" y="694"/>
                </a:cubicBezTo>
                <a:cubicBezTo>
                  <a:pt x="708" y="671"/>
                  <a:pt x="653" y="601"/>
                  <a:pt x="653" y="519"/>
                </a:cubicBezTo>
                <a:cubicBezTo>
                  <a:pt x="653" y="516"/>
                  <a:pt x="653" y="514"/>
                  <a:pt x="654" y="511"/>
                </a:cubicBezTo>
                <a:cubicBezTo>
                  <a:pt x="711" y="545"/>
                  <a:pt x="785" y="551"/>
                  <a:pt x="853" y="522"/>
                </a:cubicBezTo>
                <a:close/>
              </a:path>
            </a:pathLst>
          </a:custGeom>
          <a:solidFill>
            <a:srgbClr val="01678C"/>
          </a:solidFill>
          <a:ln w="603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11"/>
          <p:cNvSpPr>
            <a:spLocks/>
          </p:cNvSpPr>
          <p:nvPr/>
        </p:nvSpPr>
        <p:spPr bwMode="auto">
          <a:xfrm>
            <a:off x="5658567" y="2081180"/>
            <a:ext cx="2436976" cy="2529227"/>
          </a:xfrm>
          <a:custGeom>
            <a:avLst/>
            <a:gdLst>
              <a:gd name="T0" fmla="*/ 718 w 753"/>
              <a:gd name="T1" fmla="*/ 632 h 782"/>
              <a:gd name="T2" fmla="*/ 689 w 753"/>
              <a:gd name="T3" fmla="*/ 585 h 782"/>
              <a:gd name="T4" fmla="*/ 718 w 753"/>
              <a:gd name="T5" fmla="*/ 365 h 782"/>
              <a:gd name="T6" fmla="*/ 560 w 753"/>
              <a:gd name="T7" fmla="*/ 234 h 782"/>
              <a:gd name="T8" fmla="*/ 335 w 753"/>
              <a:gd name="T9" fmla="*/ 20 h 782"/>
              <a:gd name="T10" fmla="*/ 93 w 753"/>
              <a:gd name="T11" fmla="*/ 59 h 782"/>
              <a:gd name="T12" fmla="*/ 36 w 753"/>
              <a:gd name="T13" fmla="*/ 146 h 782"/>
              <a:gd name="T14" fmla="*/ 233 w 753"/>
              <a:gd name="T15" fmla="*/ 450 h 782"/>
              <a:gd name="T16" fmla="*/ 362 w 753"/>
              <a:gd name="T17" fmla="*/ 458 h 782"/>
              <a:gd name="T18" fmla="*/ 406 w 753"/>
              <a:gd name="T19" fmla="*/ 614 h 782"/>
              <a:gd name="T20" fmla="*/ 489 w 753"/>
              <a:gd name="T21" fmla="*/ 667 h 782"/>
              <a:gd name="T22" fmla="*/ 590 w 753"/>
              <a:gd name="T23" fmla="*/ 777 h 782"/>
              <a:gd name="T24" fmla="*/ 732 w 753"/>
              <a:gd name="T25" fmla="*/ 689 h 782"/>
              <a:gd name="T26" fmla="*/ 718 w 753"/>
              <a:gd name="T27" fmla="*/ 632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3" h="782">
                <a:moveTo>
                  <a:pt x="718" y="632"/>
                </a:moveTo>
                <a:cubicBezTo>
                  <a:pt x="710" y="614"/>
                  <a:pt x="701" y="599"/>
                  <a:pt x="689" y="585"/>
                </a:cubicBezTo>
                <a:cubicBezTo>
                  <a:pt x="739" y="533"/>
                  <a:pt x="753" y="446"/>
                  <a:pt x="718" y="365"/>
                </a:cubicBezTo>
                <a:cubicBezTo>
                  <a:pt x="687" y="291"/>
                  <a:pt x="625" y="243"/>
                  <a:pt x="560" y="234"/>
                </a:cubicBezTo>
                <a:cubicBezTo>
                  <a:pt x="573" y="144"/>
                  <a:pt x="475" y="49"/>
                  <a:pt x="335" y="20"/>
                </a:cubicBezTo>
                <a:cubicBezTo>
                  <a:pt x="239" y="0"/>
                  <a:pt x="147" y="17"/>
                  <a:pt x="93" y="59"/>
                </a:cubicBezTo>
                <a:cubicBezTo>
                  <a:pt x="91" y="58"/>
                  <a:pt x="46" y="111"/>
                  <a:pt x="36" y="146"/>
                </a:cubicBezTo>
                <a:cubicBezTo>
                  <a:pt x="0" y="273"/>
                  <a:pt x="89" y="409"/>
                  <a:pt x="233" y="450"/>
                </a:cubicBezTo>
                <a:cubicBezTo>
                  <a:pt x="277" y="462"/>
                  <a:pt x="321" y="464"/>
                  <a:pt x="362" y="458"/>
                </a:cubicBezTo>
                <a:cubicBezTo>
                  <a:pt x="354" y="515"/>
                  <a:pt x="368" y="571"/>
                  <a:pt x="406" y="614"/>
                </a:cubicBezTo>
                <a:cubicBezTo>
                  <a:pt x="428" y="639"/>
                  <a:pt x="457" y="657"/>
                  <a:pt x="489" y="667"/>
                </a:cubicBezTo>
                <a:cubicBezTo>
                  <a:pt x="481" y="730"/>
                  <a:pt x="524" y="774"/>
                  <a:pt x="590" y="777"/>
                </a:cubicBezTo>
                <a:cubicBezTo>
                  <a:pt x="703" y="782"/>
                  <a:pt x="729" y="689"/>
                  <a:pt x="732" y="689"/>
                </a:cubicBezTo>
                <a:cubicBezTo>
                  <a:pt x="730" y="669"/>
                  <a:pt x="726" y="650"/>
                  <a:pt x="718" y="632"/>
                </a:cubicBezTo>
                <a:close/>
              </a:path>
            </a:pathLst>
          </a:custGeom>
          <a:solidFill>
            <a:srgbClr val="01678C"/>
          </a:solidFill>
          <a:ln w="603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2"/>
          <p:cNvSpPr>
            <a:spLocks/>
          </p:cNvSpPr>
          <p:nvPr/>
        </p:nvSpPr>
        <p:spPr bwMode="auto">
          <a:xfrm>
            <a:off x="4009572" y="3094025"/>
            <a:ext cx="1339569" cy="1633619"/>
          </a:xfrm>
          <a:custGeom>
            <a:avLst/>
            <a:gdLst>
              <a:gd name="T0" fmla="*/ 377 w 414"/>
              <a:gd name="T1" fmla="*/ 215 h 505"/>
              <a:gd name="T2" fmla="*/ 374 w 414"/>
              <a:gd name="T3" fmla="*/ 70 h 505"/>
              <a:gd name="T4" fmla="*/ 249 w 414"/>
              <a:gd name="T5" fmla="*/ 49 h 505"/>
              <a:gd name="T6" fmla="*/ 132 w 414"/>
              <a:gd name="T7" fmla="*/ 0 h 505"/>
              <a:gd name="T8" fmla="*/ 108 w 414"/>
              <a:gd name="T9" fmla="*/ 4 h 505"/>
              <a:gd name="T10" fmla="*/ 5 w 414"/>
              <a:gd name="T11" fmla="*/ 120 h 505"/>
              <a:gd name="T12" fmla="*/ 33 w 414"/>
              <a:gd name="T13" fmla="*/ 221 h 505"/>
              <a:gd name="T14" fmla="*/ 38 w 414"/>
              <a:gd name="T15" fmla="*/ 357 h 505"/>
              <a:gd name="T16" fmla="*/ 319 w 414"/>
              <a:gd name="T17" fmla="*/ 458 h 505"/>
              <a:gd name="T18" fmla="*/ 344 w 414"/>
              <a:gd name="T19" fmla="*/ 446 h 505"/>
              <a:gd name="T20" fmla="*/ 398 w 414"/>
              <a:gd name="T21" fmla="*/ 307 h 505"/>
              <a:gd name="T22" fmla="*/ 377 w 414"/>
              <a:gd name="T23" fmla="*/ 215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4" h="505">
                <a:moveTo>
                  <a:pt x="377" y="215"/>
                </a:moveTo>
                <a:cubicBezTo>
                  <a:pt x="414" y="174"/>
                  <a:pt x="413" y="110"/>
                  <a:pt x="374" y="70"/>
                </a:cubicBezTo>
                <a:cubicBezTo>
                  <a:pt x="340" y="35"/>
                  <a:pt x="289" y="28"/>
                  <a:pt x="249" y="49"/>
                </a:cubicBezTo>
                <a:cubicBezTo>
                  <a:pt x="219" y="19"/>
                  <a:pt x="178" y="0"/>
                  <a:pt x="132" y="0"/>
                </a:cubicBezTo>
                <a:cubicBezTo>
                  <a:pt x="124" y="0"/>
                  <a:pt x="108" y="3"/>
                  <a:pt x="108" y="4"/>
                </a:cubicBezTo>
                <a:cubicBezTo>
                  <a:pt x="54" y="18"/>
                  <a:pt x="12" y="62"/>
                  <a:pt x="5" y="120"/>
                </a:cubicBezTo>
                <a:cubicBezTo>
                  <a:pt x="0" y="157"/>
                  <a:pt x="11" y="193"/>
                  <a:pt x="33" y="221"/>
                </a:cubicBezTo>
                <a:cubicBezTo>
                  <a:pt x="19" y="265"/>
                  <a:pt x="20" y="312"/>
                  <a:pt x="38" y="357"/>
                </a:cubicBezTo>
                <a:cubicBezTo>
                  <a:pt x="82" y="460"/>
                  <a:pt x="208" y="505"/>
                  <a:pt x="319" y="458"/>
                </a:cubicBezTo>
                <a:cubicBezTo>
                  <a:pt x="327" y="454"/>
                  <a:pt x="336" y="450"/>
                  <a:pt x="344" y="446"/>
                </a:cubicBezTo>
                <a:cubicBezTo>
                  <a:pt x="344" y="446"/>
                  <a:pt x="404" y="391"/>
                  <a:pt x="398" y="307"/>
                </a:cubicBezTo>
                <a:cubicBezTo>
                  <a:pt x="396" y="274"/>
                  <a:pt x="391" y="242"/>
                  <a:pt x="377" y="215"/>
                </a:cubicBezTo>
                <a:close/>
              </a:path>
            </a:pathLst>
          </a:custGeom>
          <a:solidFill>
            <a:srgbClr val="018ABB"/>
          </a:solidFill>
          <a:ln w="603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 name="Text Placeholder 2"/>
          <p:cNvSpPr txBox="1">
            <a:spLocks/>
          </p:cNvSpPr>
          <p:nvPr/>
        </p:nvSpPr>
        <p:spPr>
          <a:xfrm>
            <a:off x="1006133" y="2031828"/>
            <a:ext cx="2005411" cy="333728"/>
          </a:xfrm>
          <a:prstGeom prst="rect">
            <a:avLst/>
          </a:prstGeom>
        </p:spPr>
        <p:txBody>
          <a:bodyPr vert="horz" lIns="121920" tIns="60960" rIns="121920" bIns="60960" rtlCol="0" anchor="ctr">
            <a:normAutofit/>
          </a:bodyPr>
          <a:lstStyle>
            <a:lvl1pPr marL="0" indent="0" algn="l" defTabSz="914400" rtl="0" eaLnBrk="1" latinLnBrk="0" hangingPunct="1">
              <a:lnSpc>
                <a:spcPct val="100000"/>
              </a:lnSpc>
              <a:spcBef>
                <a:spcPts val="1000"/>
              </a:spcBef>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1pPr>
            <a:lvl2pPr marL="457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2pPr>
            <a:lvl3pPr marL="914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000" kern="1200">
                <a:solidFill>
                  <a:schemeClr val="tx1"/>
                </a:solidFill>
                <a:latin typeface="Roboto" pitchFamily="2" charset="0"/>
                <a:ea typeface="Roboto" pitchFamily="2" charset="0"/>
                <a:cs typeface="+mn-cs"/>
              </a:defRPr>
            </a:lvl3pPr>
            <a:lvl4pPr marL="1371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4pPr>
            <a:lvl5pPr marL="18288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5pPr>
            <a:lvl6pPr marL="22860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9pPr>
          </a:lstStyle>
          <a:p>
            <a:pPr>
              <a:spcBef>
                <a:spcPts val="0"/>
              </a:spcBef>
            </a:pPr>
            <a:r>
              <a:rPr lang="en-AU" b="1" dirty="0">
                <a:solidFill>
                  <a:srgbClr val="01678C"/>
                </a:solidFill>
                <a:latin typeface="Montserrat" panose="00000500000000000000" pitchFamily="2" charset="0"/>
                <a:cs typeface="Open Sans"/>
              </a:rPr>
              <a:t>BRANDING</a:t>
            </a:r>
            <a:r>
              <a:rPr lang="en-AU" b="1" dirty="0">
                <a:latin typeface="Montserrat" panose="00000500000000000000" pitchFamily="2" charset="0"/>
                <a:cs typeface="Open Sans"/>
              </a:rPr>
              <a:t> </a:t>
            </a:r>
            <a:r>
              <a:rPr lang="en-AU" dirty="0">
                <a:latin typeface="Montserrat" panose="00000500000000000000" pitchFamily="2" charset="0"/>
                <a:cs typeface="Open Sans"/>
              </a:rPr>
              <a:t>PRODUCT</a:t>
            </a:r>
            <a:endParaRPr lang="en-AU" sz="1000" dirty="0">
              <a:latin typeface="Montserrat" panose="00000500000000000000" pitchFamily="2" charset="0"/>
              <a:cs typeface="Open Sans"/>
            </a:endParaRPr>
          </a:p>
        </p:txBody>
      </p:sp>
      <p:sp>
        <p:nvSpPr>
          <p:cNvPr id="15" name="Text Placeholder 2"/>
          <p:cNvSpPr txBox="1">
            <a:spLocks/>
          </p:cNvSpPr>
          <p:nvPr/>
        </p:nvSpPr>
        <p:spPr>
          <a:xfrm>
            <a:off x="958750" y="4063071"/>
            <a:ext cx="2005411" cy="333728"/>
          </a:xfrm>
          <a:prstGeom prst="rect">
            <a:avLst/>
          </a:prstGeom>
        </p:spPr>
        <p:txBody>
          <a:bodyPr vert="horz" lIns="121920" tIns="60960" rIns="121920" bIns="60960" rtlCol="0" anchor="ctr">
            <a:normAutofit/>
          </a:bodyPr>
          <a:lstStyle>
            <a:lvl1pPr marL="0" indent="0" algn="l" defTabSz="914400" rtl="0" eaLnBrk="1" latinLnBrk="0" hangingPunct="1">
              <a:lnSpc>
                <a:spcPct val="100000"/>
              </a:lnSpc>
              <a:spcBef>
                <a:spcPts val="1000"/>
              </a:spcBef>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1pPr>
            <a:lvl2pPr marL="457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2pPr>
            <a:lvl3pPr marL="914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000" kern="1200">
                <a:solidFill>
                  <a:schemeClr val="tx1"/>
                </a:solidFill>
                <a:latin typeface="Roboto" pitchFamily="2" charset="0"/>
                <a:ea typeface="Roboto" pitchFamily="2" charset="0"/>
                <a:cs typeface="+mn-cs"/>
              </a:defRPr>
            </a:lvl3pPr>
            <a:lvl4pPr marL="1371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4pPr>
            <a:lvl5pPr marL="18288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5pPr>
            <a:lvl6pPr marL="22860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9pPr>
          </a:lstStyle>
          <a:p>
            <a:pPr>
              <a:spcBef>
                <a:spcPts val="0"/>
              </a:spcBef>
            </a:pPr>
            <a:r>
              <a:rPr lang="en-AU" b="1" dirty="0">
                <a:solidFill>
                  <a:srgbClr val="01678C"/>
                </a:solidFill>
                <a:latin typeface="Montserrat" panose="00000500000000000000" pitchFamily="2" charset="0"/>
                <a:cs typeface="Open Sans"/>
              </a:rPr>
              <a:t>GRAPHIC </a:t>
            </a:r>
            <a:r>
              <a:rPr lang="en-AU" dirty="0">
                <a:latin typeface="Montserrat" panose="00000500000000000000" pitchFamily="2" charset="0"/>
                <a:cs typeface="Open Sans"/>
              </a:rPr>
              <a:t>DESIGN</a:t>
            </a:r>
            <a:endParaRPr lang="en-AU" sz="1000" dirty="0">
              <a:latin typeface="Montserrat" panose="00000500000000000000" pitchFamily="2" charset="0"/>
              <a:cs typeface="Open Sans"/>
            </a:endParaRPr>
          </a:p>
        </p:txBody>
      </p:sp>
      <p:sp>
        <p:nvSpPr>
          <p:cNvPr id="16" name="Text Placeholder 2"/>
          <p:cNvSpPr txBox="1">
            <a:spLocks/>
          </p:cNvSpPr>
          <p:nvPr/>
        </p:nvSpPr>
        <p:spPr>
          <a:xfrm>
            <a:off x="9074782" y="2031828"/>
            <a:ext cx="2005411" cy="333728"/>
          </a:xfrm>
          <a:prstGeom prst="rect">
            <a:avLst/>
          </a:prstGeom>
        </p:spPr>
        <p:txBody>
          <a:bodyPr vert="horz" lIns="121920" tIns="60960" rIns="121920" bIns="60960" rtlCol="0" anchor="ctr">
            <a:normAutofit/>
          </a:bodyPr>
          <a:lstStyle>
            <a:lvl1pPr marL="0" indent="0" algn="l" defTabSz="914400" rtl="0" eaLnBrk="1" latinLnBrk="0" hangingPunct="1">
              <a:lnSpc>
                <a:spcPct val="100000"/>
              </a:lnSpc>
              <a:spcBef>
                <a:spcPts val="1000"/>
              </a:spcBef>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1pPr>
            <a:lvl2pPr marL="457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2pPr>
            <a:lvl3pPr marL="914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000" kern="1200">
                <a:solidFill>
                  <a:schemeClr val="tx1"/>
                </a:solidFill>
                <a:latin typeface="Roboto" pitchFamily="2" charset="0"/>
                <a:ea typeface="Roboto" pitchFamily="2" charset="0"/>
                <a:cs typeface="+mn-cs"/>
              </a:defRPr>
            </a:lvl3pPr>
            <a:lvl4pPr marL="1371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4pPr>
            <a:lvl5pPr marL="18288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5pPr>
            <a:lvl6pPr marL="22860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9pPr>
          </a:lstStyle>
          <a:p>
            <a:pPr>
              <a:spcBef>
                <a:spcPts val="0"/>
              </a:spcBef>
            </a:pPr>
            <a:r>
              <a:rPr lang="en-AU" b="1" dirty="0">
                <a:solidFill>
                  <a:srgbClr val="01678C"/>
                </a:solidFill>
                <a:latin typeface="Montserrat" panose="00000500000000000000" pitchFamily="2" charset="0"/>
                <a:cs typeface="Open Sans"/>
              </a:rPr>
              <a:t>STANDARIZATION</a:t>
            </a:r>
            <a:endParaRPr lang="en-AU" sz="1000" dirty="0">
              <a:solidFill>
                <a:srgbClr val="01678C"/>
              </a:solidFill>
              <a:latin typeface="Montserrat" panose="00000500000000000000" pitchFamily="2" charset="0"/>
              <a:cs typeface="Open Sans"/>
            </a:endParaRPr>
          </a:p>
        </p:txBody>
      </p:sp>
      <p:sp>
        <p:nvSpPr>
          <p:cNvPr id="17" name="Text Placeholder 2"/>
          <p:cNvSpPr txBox="1">
            <a:spLocks/>
          </p:cNvSpPr>
          <p:nvPr/>
        </p:nvSpPr>
        <p:spPr>
          <a:xfrm>
            <a:off x="9074782" y="4063071"/>
            <a:ext cx="2005411" cy="333728"/>
          </a:xfrm>
          <a:prstGeom prst="rect">
            <a:avLst/>
          </a:prstGeom>
        </p:spPr>
        <p:txBody>
          <a:bodyPr vert="horz" lIns="121920" tIns="60960" rIns="121920" bIns="60960" rtlCol="0" anchor="ctr">
            <a:normAutofit/>
          </a:bodyPr>
          <a:lstStyle>
            <a:lvl1pPr marL="0" indent="0" algn="l" defTabSz="914400" rtl="0" eaLnBrk="1" latinLnBrk="0" hangingPunct="1">
              <a:lnSpc>
                <a:spcPct val="100000"/>
              </a:lnSpc>
              <a:spcBef>
                <a:spcPts val="1000"/>
              </a:spcBef>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1pPr>
            <a:lvl2pPr marL="457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2pPr>
            <a:lvl3pPr marL="914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000" kern="1200">
                <a:solidFill>
                  <a:schemeClr val="tx1"/>
                </a:solidFill>
                <a:latin typeface="Roboto" pitchFamily="2" charset="0"/>
                <a:ea typeface="Roboto" pitchFamily="2" charset="0"/>
                <a:cs typeface="+mn-cs"/>
              </a:defRPr>
            </a:lvl3pPr>
            <a:lvl4pPr marL="1371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4pPr>
            <a:lvl5pPr marL="18288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5pPr>
            <a:lvl6pPr marL="22860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9pPr>
          </a:lstStyle>
          <a:p>
            <a:pPr>
              <a:spcBef>
                <a:spcPts val="0"/>
              </a:spcBef>
            </a:pPr>
            <a:r>
              <a:rPr lang="en-AU" b="1" dirty="0">
                <a:solidFill>
                  <a:srgbClr val="01678C"/>
                </a:solidFill>
                <a:latin typeface="Montserrat" panose="00000500000000000000" pitchFamily="2" charset="0"/>
                <a:cs typeface="Open Sans"/>
              </a:rPr>
              <a:t>MARKETING</a:t>
            </a:r>
            <a:r>
              <a:rPr lang="en-AU" b="1" dirty="0">
                <a:latin typeface="Montserrat" panose="00000500000000000000" pitchFamily="2" charset="0"/>
                <a:cs typeface="Open Sans"/>
              </a:rPr>
              <a:t> </a:t>
            </a:r>
            <a:r>
              <a:rPr lang="en-AU" dirty="0">
                <a:latin typeface="Montserrat" panose="00000500000000000000" pitchFamily="2" charset="0"/>
                <a:cs typeface="Open Sans"/>
              </a:rPr>
              <a:t>SERVICE</a:t>
            </a:r>
            <a:endParaRPr lang="en-AU" sz="1000" dirty="0">
              <a:latin typeface="Montserrat" panose="00000500000000000000" pitchFamily="2" charset="0"/>
              <a:cs typeface="Open Sans"/>
            </a:endParaRPr>
          </a:p>
        </p:txBody>
      </p:sp>
      <p:sp>
        <p:nvSpPr>
          <p:cNvPr id="18" name="Rectangle 17"/>
          <p:cNvSpPr/>
          <p:nvPr/>
        </p:nvSpPr>
        <p:spPr>
          <a:xfrm>
            <a:off x="1006133" y="2383218"/>
            <a:ext cx="2167336" cy="738664"/>
          </a:xfrm>
          <a:prstGeom prst="rect">
            <a:avLst/>
          </a:prstGeom>
        </p:spPr>
        <p:txBody>
          <a:bodyPr wrap="square">
            <a:spAutoFit/>
          </a:bodyPr>
          <a:lstStyle/>
          <a:p>
            <a:pPr>
              <a:buClr>
                <a:srgbClr val="E24848"/>
              </a:buClr>
              <a:defRPr/>
            </a:pPr>
            <a:r>
              <a:rPr lang="en-US" sz="105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p>
        </p:txBody>
      </p:sp>
      <p:sp>
        <p:nvSpPr>
          <p:cNvPr id="19" name="Rectangle 18"/>
          <p:cNvSpPr/>
          <p:nvPr/>
        </p:nvSpPr>
        <p:spPr>
          <a:xfrm>
            <a:off x="1006133" y="4396799"/>
            <a:ext cx="2167336" cy="738664"/>
          </a:xfrm>
          <a:prstGeom prst="rect">
            <a:avLst/>
          </a:prstGeom>
        </p:spPr>
        <p:txBody>
          <a:bodyPr wrap="square">
            <a:spAutoFit/>
          </a:bodyPr>
          <a:lstStyle/>
          <a:p>
            <a:pPr>
              <a:buClr>
                <a:srgbClr val="E24848"/>
              </a:buClr>
              <a:defRPr/>
            </a:pPr>
            <a:r>
              <a:rPr lang="en-US" sz="105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p>
        </p:txBody>
      </p:sp>
      <p:sp>
        <p:nvSpPr>
          <p:cNvPr id="20" name="Rectangle 19"/>
          <p:cNvSpPr/>
          <p:nvPr/>
        </p:nvSpPr>
        <p:spPr>
          <a:xfrm>
            <a:off x="9074782" y="2383218"/>
            <a:ext cx="2167336" cy="738664"/>
          </a:xfrm>
          <a:prstGeom prst="rect">
            <a:avLst/>
          </a:prstGeom>
        </p:spPr>
        <p:txBody>
          <a:bodyPr wrap="square">
            <a:spAutoFit/>
          </a:bodyPr>
          <a:lstStyle/>
          <a:p>
            <a:pPr>
              <a:buClr>
                <a:srgbClr val="E24848"/>
              </a:buClr>
              <a:defRPr/>
            </a:pPr>
            <a:r>
              <a:rPr lang="en-US" sz="105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p>
        </p:txBody>
      </p:sp>
      <p:sp>
        <p:nvSpPr>
          <p:cNvPr id="21" name="Rectangle 20"/>
          <p:cNvSpPr/>
          <p:nvPr/>
        </p:nvSpPr>
        <p:spPr>
          <a:xfrm>
            <a:off x="9074782" y="4396799"/>
            <a:ext cx="2167336" cy="738664"/>
          </a:xfrm>
          <a:prstGeom prst="rect">
            <a:avLst/>
          </a:prstGeom>
        </p:spPr>
        <p:txBody>
          <a:bodyPr wrap="square">
            <a:spAutoFit/>
          </a:bodyPr>
          <a:lstStyle/>
          <a:p>
            <a:pPr>
              <a:buClr>
                <a:srgbClr val="E24848"/>
              </a:buClr>
              <a:defRPr/>
            </a:pPr>
            <a:r>
              <a:rPr lang="en-US" sz="105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p>
        </p:txBody>
      </p:sp>
      <p:sp>
        <p:nvSpPr>
          <p:cNvPr id="22" name="Arc 21"/>
          <p:cNvSpPr/>
          <p:nvPr/>
        </p:nvSpPr>
        <p:spPr>
          <a:xfrm rot="4693921" flipH="1">
            <a:off x="3820987" y="2044327"/>
            <a:ext cx="914400" cy="914400"/>
          </a:xfrm>
          <a:prstGeom prst="arc">
            <a:avLst>
              <a:gd name="adj1" fmla="val 16200000"/>
              <a:gd name="adj2" fmla="val 3335068"/>
            </a:avLst>
          </a:prstGeom>
          <a:ln>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Arc 22"/>
          <p:cNvSpPr/>
          <p:nvPr/>
        </p:nvSpPr>
        <p:spPr>
          <a:xfrm rot="2902964" flipH="1">
            <a:off x="2982166" y="3621002"/>
            <a:ext cx="914400" cy="914400"/>
          </a:xfrm>
          <a:prstGeom prst="arc">
            <a:avLst>
              <a:gd name="adj1" fmla="val 16200000"/>
              <a:gd name="adj2" fmla="val 3335068"/>
            </a:avLst>
          </a:prstGeom>
          <a:ln>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Arc 23"/>
          <p:cNvSpPr/>
          <p:nvPr/>
        </p:nvSpPr>
        <p:spPr>
          <a:xfrm rot="16906079">
            <a:off x="7492408" y="2044327"/>
            <a:ext cx="914400" cy="914400"/>
          </a:xfrm>
          <a:prstGeom prst="arc">
            <a:avLst>
              <a:gd name="adj1" fmla="val 16200000"/>
              <a:gd name="adj2" fmla="val 3335068"/>
            </a:avLst>
          </a:prstGeom>
          <a:ln>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 name="Arc 24"/>
          <p:cNvSpPr/>
          <p:nvPr/>
        </p:nvSpPr>
        <p:spPr>
          <a:xfrm rot="2902964" flipV="1">
            <a:off x="7850207" y="4251323"/>
            <a:ext cx="914400" cy="914400"/>
          </a:xfrm>
          <a:prstGeom prst="arc">
            <a:avLst>
              <a:gd name="adj1" fmla="val 16200000"/>
              <a:gd name="adj2" fmla="val 3335068"/>
            </a:avLst>
          </a:prstGeom>
          <a:ln>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Text Placeholder 2"/>
          <p:cNvSpPr txBox="1">
            <a:spLocks/>
          </p:cNvSpPr>
          <p:nvPr/>
        </p:nvSpPr>
        <p:spPr>
          <a:xfrm>
            <a:off x="4987312" y="2648217"/>
            <a:ext cx="870231" cy="576311"/>
          </a:xfrm>
          <a:prstGeom prst="rect">
            <a:avLst/>
          </a:prstGeom>
        </p:spPr>
        <p:txBody>
          <a:bodyPr vert="horz" lIns="121920" tIns="60960" rIns="121920" bIns="60960" rtlCol="0" anchor="ctr">
            <a:noAutofit/>
          </a:bodyPr>
          <a:lstStyle>
            <a:lvl1pPr marL="0" indent="0" algn="l" defTabSz="914400" rtl="0" eaLnBrk="1" latinLnBrk="0" hangingPunct="1">
              <a:lnSpc>
                <a:spcPct val="100000"/>
              </a:lnSpc>
              <a:spcBef>
                <a:spcPts val="1000"/>
              </a:spcBef>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1pPr>
            <a:lvl2pPr marL="457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2pPr>
            <a:lvl3pPr marL="914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000" kern="1200">
                <a:solidFill>
                  <a:schemeClr val="tx1"/>
                </a:solidFill>
                <a:latin typeface="Roboto" pitchFamily="2" charset="0"/>
                <a:ea typeface="Roboto" pitchFamily="2" charset="0"/>
                <a:cs typeface="+mn-cs"/>
              </a:defRPr>
            </a:lvl3pPr>
            <a:lvl4pPr marL="1371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4pPr>
            <a:lvl5pPr marL="18288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5pPr>
            <a:lvl6pPr marL="22860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9pPr>
          </a:lstStyle>
          <a:p>
            <a:pPr algn="ctr">
              <a:spcBef>
                <a:spcPts val="0"/>
              </a:spcBef>
            </a:pPr>
            <a:r>
              <a:rPr lang="id-ID" sz="2000" b="1" dirty="0">
                <a:latin typeface="Montserrat" panose="00000500000000000000" pitchFamily="2" charset="0"/>
                <a:cs typeface="Open Sans"/>
              </a:rPr>
              <a:t>45%</a:t>
            </a:r>
            <a:endParaRPr lang="en-AU" sz="1400" dirty="0">
              <a:latin typeface="Montserrat" panose="00000500000000000000" pitchFamily="2" charset="0"/>
              <a:cs typeface="Open Sans"/>
            </a:endParaRPr>
          </a:p>
        </p:txBody>
      </p:sp>
      <p:sp>
        <p:nvSpPr>
          <p:cNvPr id="27" name="Text Placeholder 2"/>
          <p:cNvSpPr txBox="1">
            <a:spLocks/>
          </p:cNvSpPr>
          <p:nvPr/>
        </p:nvSpPr>
        <p:spPr>
          <a:xfrm>
            <a:off x="4316549" y="3576156"/>
            <a:ext cx="870231" cy="576311"/>
          </a:xfrm>
          <a:prstGeom prst="rect">
            <a:avLst/>
          </a:prstGeom>
        </p:spPr>
        <p:txBody>
          <a:bodyPr vert="horz" lIns="121920" tIns="60960" rIns="121920" bIns="60960" rtlCol="0" anchor="ctr">
            <a:noAutofit/>
          </a:bodyPr>
          <a:lstStyle>
            <a:lvl1pPr marL="0" indent="0" algn="l" defTabSz="914400" rtl="0" eaLnBrk="1" latinLnBrk="0" hangingPunct="1">
              <a:lnSpc>
                <a:spcPct val="100000"/>
              </a:lnSpc>
              <a:spcBef>
                <a:spcPts val="1000"/>
              </a:spcBef>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1pPr>
            <a:lvl2pPr marL="457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2pPr>
            <a:lvl3pPr marL="914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000" kern="1200">
                <a:solidFill>
                  <a:schemeClr val="tx1"/>
                </a:solidFill>
                <a:latin typeface="Roboto" pitchFamily="2" charset="0"/>
                <a:ea typeface="Roboto" pitchFamily="2" charset="0"/>
                <a:cs typeface="+mn-cs"/>
              </a:defRPr>
            </a:lvl3pPr>
            <a:lvl4pPr marL="1371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4pPr>
            <a:lvl5pPr marL="18288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5pPr>
            <a:lvl6pPr marL="22860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9pPr>
          </a:lstStyle>
          <a:p>
            <a:pPr algn="ctr">
              <a:spcBef>
                <a:spcPts val="0"/>
              </a:spcBef>
            </a:pPr>
            <a:r>
              <a:rPr lang="id-ID" sz="2000" b="1" dirty="0">
                <a:solidFill>
                  <a:schemeClr val="bg1"/>
                </a:solidFill>
                <a:latin typeface="Montserrat" panose="00000500000000000000" pitchFamily="2" charset="0"/>
                <a:cs typeface="Open Sans"/>
              </a:rPr>
              <a:t>45%</a:t>
            </a:r>
            <a:endParaRPr lang="en-AU" sz="1400" dirty="0">
              <a:solidFill>
                <a:schemeClr val="bg1"/>
              </a:solidFill>
              <a:latin typeface="Montserrat" panose="00000500000000000000" pitchFamily="2" charset="0"/>
              <a:cs typeface="Open Sans"/>
            </a:endParaRPr>
          </a:p>
        </p:txBody>
      </p:sp>
      <p:sp>
        <p:nvSpPr>
          <p:cNvPr id="28" name="Text Placeholder 2"/>
          <p:cNvSpPr txBox="1">
            <a:spLocks/>
          </p:cNvSpPr>
          <p:nvPr/>
        </p:nvSpPr>
        <p:spPr>
          <a:xfrm>
            <a:off x="6129683" y="4240530"/>
            <a:ext cx="870231" cy="576311"/>
          </a:xfrm>
          <a:prstGeom prst="rect">
            <a:avLst/>
          </a:prstGeom>
        </p:spPr>
        <p:txBody>
          <a:bodyPr vert="horz" lIns="121920" tIns="60960" rIns="121920" bIns="60960" rtlCol="0" anchor="ctr">
            <a:noAutofit/>
          </a:bodyPr>
          <a:lstStyle>
            <a:lvl1pPr marL="0" indent="0" algn="l" defTabSz="914400" rtl="0" eaLnBrk="1" latinLnBrk="0" hangingPunct="1">
              <a:lnSpc>
                <a:spcPct val="100000"/>
              </a:lnSpc>
              <a:spcBef>
                <a:spcPts val="1000"/>
              </a:spcBef>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1pPr>
            <a:lvl2pPr marL="457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2pPr>
            <a:lvl3pPr marL="914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000" kern="1200">
                <a:solidFill>
                  <a:schemeClr val="tx1"/>
                </a:solidFill>
                <a:latin typeface="Roboto" pitchFamily="2" charset="0"/>
                <a:ea typeface="Roboto" pitchFamily="2" charset="0"/>
                <a:cs typeface="+mn-cs"/>
              </a:defRPr>
            </a:lvl3pPr>
            <a:lvl4pPr marL="1371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4pPr>
            <a:lvl5pPr marL="18288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5pPr>
            <a:lvl6pPr marL="22860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9pPr>
          </a:lstStyle>
          <a:p>
            <a:pPr algn="ctr">
              <a:spcBef>
                <a:spcPts val="0"/>
              </a:spcBef>
            </a:pPr>
            <a:r>
              <a:rPr lang="id-ID" sz="2000" b="1" dirty="0">
                <a:solidFill>
                  <a:schemeClr val="bg1"/>
                </a:solidFill>
                <a:latin typeface="Montserrat" panose="00000500000000000000" pitchFamily="2" charset="0"/>
                <a:cs typeface="Open Sans"/>
              </a:rPr>
              <a:t>45%</a:t>
            </a:r>
            <a:endParaRPr lang="en-AU" sz="1400" dirty="0">
              <a:solidFill>
                <a:schemeClr val="bg1"/>
              </a:solidFill>
              <a:latin typeface="Montserrat" panose="00000500000000000000" pitchFamily="2" charset="0"/>
              <a:cs typeface="Open Sans"/>
            </a:endParaRPr>
          </a:p>
        </p:txBody>
      </p:sp>
      <p:sp>
        <p:nvSpPr>
          <p:cNvPr id="29" name="Text Placeholder 2"/>
          <p:cNvSpPr txBox="1">
            <a:spLocks/>
          </p:cNvSpPr>
          <p:nvPr/>
        </p:nvSpPr>
        <p:spPr>
          <a:xfrm>
            <a:off x="6660448" y="2805869"/>
            <a:ext cx="870231" cy="576311"/>
          </a:xfrm>
          <a:prstGeom prst="rect">
            <a:avLst/>
          </a:prstGeom>
        </p:spPr>
        <p:txBody>
          <a:bodyPr vert="horz" lIns="121920" tIns="60960" rIns="121920" bIns="60960" rtlCol="0" anchor="ctr">
            <a:noAutofit/>
          </a:bodyPr>
          <a:lstStyle>
            <a:lvl1pPr marL="0" indent="0" algn="l" defTabSz="914400" rtl="0" eaLnBrk="1" latinLnBrk="0" hangingPunct="1">
              <a:lnSpc>
                <a:spcPct val="100000"/>
              </a:lnSpc>
              <a:spcBef>
                <a:spcPts val="1000"/>
              </a:spcBef>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1pPr>
            <a:lvl2pPr marL="457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2pPr>
            <a:lvl3pPr marL="914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000" kern="1200">
                <a:solidFill>
                  <a:schemeClr val="tx1"/>
                </a:solidFill>
                <a:latin typeface="Roboto" pitchFamily="2" charset="0"/>
                <a:ea typeface="Roboto" pitchFamily="2" charset="0"/>
                <a:cs typeface="+mn-cs"/>
              </a:defRPr>
            </a:lvl3pPr>
            <a:lvl4pPr marL="1371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4pPr>
            <a:lvl5pPr marL="18288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5pPr>
            <a:lvl6pPr marL="22860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9pPr>
          </a:lstStyle>
          <a:p>
            <a:pPr algn="ctr">
              <a:spcBef>
                <a:spcPts val="0"/>
              </a:spcBef>
            </a:pPr>
            <a:r>
              <a:rPr lang="id-ID" sz="2000" b="1" dirty="0">
                <a:solidFill>
                  <a:schemeClr val="bg1"/>
                </a:solidFill>
                <a:latin typeface="Montserrat" panose="00000500000000000000" pitchFamily="2" charset="0"/>
                <a:cs typeface="Open Sans"/>
              </a:rPr>
              <a:t>45%</a:t>
            </a:r>
            <a:endParaRPr lang="en-AU" sz="1400" dirty="0">
              <a:solidFill>
                <a:schemeClr val="bg1"/>
              </a:solidFill>
              <a:latin typeface="Montserrat" panose="00000500000000000000" pitchFamily="2" charset="0"/>
              <a:cs typeface="Open Sans"/>
            </a:endParaRPr>
          </a:p>
        </p:txBody>
      </p:sp>
    </p:spTree>
    <p:extLst>
      <p:ext uri="{BB962C8B-B14F-4D97-AF65-F5344CB8AC3E}">
        <p14:creationId xmlns:p14="http://schemas.microsoft.com/office/powerpoint/2010/main" val="138083315"/>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23" y="6664283"/>
            <a:ext cx="12189983" cy="206419"/>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
          <p:cNvSpPr/>
          <p:nvPr/>
        </p:nvSpPr>
        <p:spPr>
          <a:xfrm>
            <a:off x="5056966" y="6530678"/>
            <a:ext cx="2078068" cy="222924"/>
          </a:xfrm>
          <a:prstGeom prst="roundRect">
            <a:avLst>
              <a:gd name="adj" fmla="val 50000"/>
            </a:avLst>
          </a:prstGeom>
          <a:solidFill>
            <a:srgbClr val="018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effectLst>
                <a:outerShdw blurRad="63500" sx="102000" sy="102000" algn="ctr" rotWithShape="0">
                  <a:prstClr val="black">
                    <a:alpha val="40000"/>
                  </a:prstClr>
                </a:outerShdw>
              </a:effectLst>
              <a:latin typeface="+mj-lt"/>
            </a:endParaRPr>
          </a:p>
        </p:txBody>
      </p:sp>
      <p:cxnSp>
        <p:nvCxnSpPr>
          <p:cNvPr id="4" name="Straight Connector 3"/>
          <p:cNvCxnSpPr/>
          <p:nvPr/>
        </p:nvCxnSpPr>
        <p:spPr>
          <a:xfrm>
            <a:off x="6512721" y="6567488"/>
            <a:ext cx="0" cy="154781"/>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6665393" y="6505535"/>
            <a:ext cx="335348" cy="261610"/>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18</a:t>
            </a:r>
          </a:p>
        </p:txBody>
      </p:sp>
      <p:sp>
        <p:nvSpPr>
          <p:cNvPr id="6" name="Date Placeholder 1"/>
          <p:cNvSpPr txBox="1">
            <a:spLocks/>
          </p:cNvSpPr>
          <p:nvPr>
            <p:custDataLst>
              <p:tags r:id="rId1"/>
            </p:custDataLst>
          </p:nvPr>
        </p:nvSpPr>
        <p:spPr>
          <a:xfrm>
            <a:off x="5006809" y="6498189"/>
            <a:ext cx="1530941"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Segoe UI" panose="020B0502040204020203" pitchFamily="34" charset="0"/>
                <a:ea typeface="Open Sans Light" panose="020B0306030504020204" pitchFamily="34" charset="0"/>
                <a:cs typeface="Segoe UI" panose="020B0502040204020203" pitchFamily="34" charset="0"/>
              </a:rPr>
              <a:t>www.yourcompanyname.com</a:t>
            </a:r>
          </a:p>
        </p:txBody>
      </p:sp>
      <p:grpSp>
        <p:nvGrpSpPr>
          <p:cNvPr id="7" name="Group 6">
            <a:extLst>
              <a:ext uri="{FF2B5EF4-FFF2-40B4-BE49-F238E27FC236}">
                <a16:creationId xmlns:a16="http://schemas.microsoft.com/office/drawing/2014/main" id="{A4063E93-6A05-456E-9C55-093850ED6149}"/>
              </a:ext>
            </a:extLst>
          </p:cNvPr>
          <p:cNvGrpSpPr/>
          <p:nvPr/>
        </p:nvGrpSpPr>
        <p:grpSpPr>
          <a:xfrm>
            <a:off x="6233686" y="1559388"/>
            <a:ext cx="5958314" cy="4731355"/>
            <a:chOff x="6621735" y="1591217"/>
            <a:chExt cx="5570266" cy="4423215"/>
          </a:xfrm>
        </p:grpSpPr>
        <p:sp>
          <p:nvSpPr>
            <p:cNvPr id="8" name="Oval 36">
              <a:extLst>
                <a:ext uri="{FF2B5EF4-FFF2-40B4-BE49-F238E27FC236}">
                  <a16:creationId xmlns:a16="http://schemas.microsoft.com/office/drawing/2014/main" id="{E9226767-BA03-4369-A7D7-5A74690709D0}"/>
                </a:ext>
              </a:extLst>
            </p:cNvPr>
            <p:cNvSpPr>
              <a:spLocks noChangeArrowheads="1"/>
            </p:cNvSpPr>
            <p:nvPr/>
          </p:nvSpPr>
          <p:spPr bwMode="auto">
            <a:xfrm>
              <a:off x="10324919" y="4799912"/>
              <a:ext cx="839340" cy="90814"/>
            </a:xfrm>
            <a:prstGeom prst="ellipse">
              <a:avLst/>
            </a:pr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 name="Freeform 59">
              <a:extLst>
                <a:ext uri="{FF2B5EF4-FFF2-40B4-BE49-F238E27FC236}">
                  <a16:creationId xmlns:a16="http://schemas.microsoft.com/office/drawing/2014/main" id="{FF0351EF-FC5C-48AC-94A4-85741873E48D}"/>
                </a:ext>
              </a:extLst>
            </p:cNvPr>
            <p:cNvSpPr>
              <a:spLocks noChangeArrowheads="1"/>
            </p:cNvSpPr>
            <p:nvPr/>
          </p:nvSpPr>
          <p:spPr bwMode="auto">
            <a:xfrm>
              <a:off x="10379040" y="3235895"/>
              <a:ext cx="729891" cy="1609882"/>
            </a:xfrm>
            <a:custGeom>
              <a:avLst/>
              <a:gdLst>
                <a:gd name="connsiteX0" fmla="*/ 169222 w 813338"/>
                <a:gd name="connsiteY0" fmla="*/ 413985 h 1793936"/>
                <a:gd name="connsiteX1" fmla="*/ 643042 w 813338"/>
                <a:gd name="connsiteY1" fmla="*/ 413985 h 1793936"/>
                <a:gd name="connsiteX2" fmla="*/ 727653 w 813338"/>
                <a:gd name="connsiteY2" fmla="*/ 486487 h 1793936"/>
                <a:gd name="connsiteX3" fmla="*/ 812264 w 813338"/>
                <a:gd name="connsiteY3" fmla="*/ 935998 h 1793936"/>
                <a:gd name="connsiteX4" fmla="*/ 812264 w 813338"/>
                <a:gd name="connsiteY4" fmla="*/ 948082 h 1793936"/>
                <a:gd name="connsiteX5" fmla="*/ 812264 w 813338"/>
                <a:gd name="connsiteY5" fmla="*/ 960165 h 1793936"/>
                <a:gd name="connsiteX6" fmla="*/ 727653 w 813338"/>
                <a:gd name="connsiteY6" fmla="*/ 1044751 h 1793936"/>
                <a:gd name="connsiteX7" fmla="*/ 643042 w 813338"/>
                <a:gd name="connsiteY7" fmla="*/ 974666 h 1793936"/>
                <a:gd name="connsiteX8" fmla="*/ 589858 w 813338"/>
                <a:gd name="connsiteY8" fmla="*/ 641157 h 1793936"/>
                <a:gd name="connsiteX9" fmla="*/ 589858 w 813338"/>
                <a:gd name="connsiteY9" fmla="*/ 1706934 h 1793936"/>
                <a:gd name="connsiteX10" fmla="*/ 502830 w 813338"/>
                <a:gd name="connsiteY10" fmla="*/ 1793936 h 1793936"/>
                <a:gd name="connsiteX11" fmla="*/ 415802 w 813338"/>
                <a:gd name="connsiteY11" fmla="*/ 1706934 h 1793936"/>
                <a:gd name="connsiteX12" fmla="*/ 415802 w 813338"/>
                <a:gd name="connsiteY12" fmla="*/ 1180088 h 1793936"/>
                <a:gd name="connsiteX13" fmla="*/ 396462 w 813338"/>
                <a:gd name="connsiteY13" fmla="*/ 1180088 h 1793936"/>
                <a:gd name="connsiteX14" fmla="*/ 396462 w 813338"/>
                <a:gd name="connsiteY14" fmla="*/ 1706934 h 1793936"/>
                <a:gd name="connsiteX15" fmla="*/ 309434 w 813338"/>
                <a:gd name="connsiteY15" fmla="*/ 1793936 h 1793936"/>
                <a:gd name="connsiteX16" fmla="*/ 222406 w 813338"/>
                <a:gd name="connsiteY16" fmla="*/ 1706934 h 1793936"/>
                <a:gd name="connsiteX17" fmla="*/ 224823 w 813338"/>
                <a:gd name="connsiteY17" fmla="*/ 641157 h 1793936"/>
                <a:gd name="connsiteX18" fmla="*/ 171639 w 813338"/>
                <a:gd name="connsiteY18" fmla="*/ 974666 h 1793936"/>
                <a:gd name="connsiteX19" fmla="*/ 84611 w 813338"/>
                <a:gd name="connsiteY19" fmla="*/ 1044751 h 1793936"/>
                <a:gd name="connsiteX20" fmla="*/ 0 w 813338"/>
                <a:gd name="connsiteY20" fmla="*/ 960165 h 1793936"/>
                <a:gd name="connsiteX21" fmla="*/ 0 w 813338"/>
                <a:gd name="connsiteY21" fmla="*/ 948082 h 1793936"/>
                <a:gd name="connsiteX22" fmla="*/ 0 w 813338"/>
                <a:gd name="connsiteY22" fmla="*/ 935998 h 1793936"/>
                <a:gd name="connsiteX23" fmla="*/ 84611 w 813338"/>
                <a:gd name="connsiteY23" fmla="*/ 486487 h 1793936"/>
                <a:gd name="connsiteX24" fmla="*/ 169222 w 813338"/>
                <a:gd name="connsiteY24" fmla="*/ 413985 h 1793936"/>
                <a:gd name="connsiteX25" fmla="*/ 406829 w 813338"/>
                <a:gd name="connsiteY25" fmla="*/ 0 h 1793936"/>
                <a:gd name="connsiteX26" fmla="*/ 591844 w 813338"/>
                <a:gd name="connsiteY26" fmla="*/ 185016 h 1793936"/>
                <a:gd name="connsiteX27" fmla="*/ 406829 w 813338"/>
                <a:gd name="connsiteY27" fmla="*/ 370032 h 1793936"/>
                <a:gd name="connsiteX28" fmla="*/ 221814 w 813338"/>
                <a:gd name="connsiteY28" fmla="*/ 185016 h 1793936"/>
                <a:gd name="connsiteX29" fmla="*/ 406829 w 813338"/>
                <a:gd name="connsiteY29" fmla="*/ 0 h 179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13338" h="1793936">
                  <a:moveTo>
                    <a:pt x="169222" y="413985"/>
                  </a:moveTo>
                  <a:cubicBezTo>
                    <a:pt x="169222" y="413985"/>
                    <a:pt x="169222" y="413985"/>
                    <a:pt x="643042" y="413985"/>
                  </a:cubicBezTo>
                  <a:cubicBezTo>
                    <a:pt x="686556" y="413985"/>
                    <a:pt x="720400" y="445403"/>
                    <a:pt x="727653" y="486487"/>
                  </a:cubicBezTo>
                  <a:cubicBezTo>
                    <a:pt x="727653" y="486487"/>
                    <a:pt x="727653" y="486487"/>
                    <a:pt x="812264" y="935998"/>
                  </a:cubicBezTo>
                  <a:cubicBezTo>
                    <a:pt x="814681" y="940832"/>
                    <a:pt x="812264" y="943248"/>
                    <a:pt x="812264" y="948082"/>
                  </a:cubicBezTo>
                  <a:cubicBezTo>
                    <a:pt x="812264" y="950499"/>
                    <a:pt x="812264" y="955332"/>
                    <a:pt x="812264" y="960165"/>
                  </a:cubicBezTo>
                  <a:cubicBezTo>
                    <a:pt x="812264" y="1006083"/>
                    <a:pt x="773584" y="1044751"/>
                    <a:pt x="727653" y="1044751"/>
                  </a:cubicBezTo>
                  <a:cubicBezTo>
                    <a:pt x="686556" y="1044751"/>
                    <a:pt x="650294" y="1015750"/>
                    <a:pt x="643042" y="974666"/>
                  </a:cubicBezTo>
                  <a:cubicBezTo>
                    <a:pt x="643042" y="974666"/>
                    <a:pt x="643042" y="974666"/>
                    <a:pt x="589858" y="641157"/>
                  </a:cubicBezTo>
                  <a:cubicBezTo>
                    <a:pt x="589858" y="641157"/>
                    <a:pt x="589858" y="641157"/>
                    <a:pt x="589858" y="1706934"/>
                  </a:cubicBezTo>
                  <a:cubicBezTo>
                    <a:pt x="589858" y="1755269"/>
                    <a:pt x="551179" y="1793936"/>
                    <a:pt x="502830" y="1793936"/>
                  </a:cubicBezTo>
                  <a:cubicBezTo>
                    <a:pt x="454481" y="1793936"/>
                    <a:pt x="415802" y="1755269"/>
                    <a:pt x="415802" y="1706934"/>
                  </a:cubicBezTo>
                  <a:cubicBezTo>
                    <a:pt x="415802" y="1706934"/>
                    <a:pt x="415802" y="1706934"/>
                    <a:pt x="415802" y="1180088"/>
                  </a:cubicBezTo>
                  <a:cubicBezTo>
                    <a:pt x="415802" y="1180088"/>
                    <a:pt x="415802" y="1180088"/>
                    <a:pt x="396462" y="1180088"/>
                  </a:cubicBezTo>
                  <a:cubicBezTo>
                    <a:pt x="396462" y="1180088"/>
                    <a:pt x="396462" y="1180088"/>
                    <a:pt x="396462" y="1706934"/>
                  </a:cubicBezTo>
                  <a:cubicBezTo>
                    <a:pt x="396462" y="1755269"/>
                    <a:pt x="357783" y="1793936"/>
                    <a:pt x="309434" y="1793936"/>
                  </a:cubicBezTo>
                  <a:cubicBezTo>
                    <a:pt x="261085" y="1793936"/>
                    <a:pt x="222406" y="1755269"/>
                    <a:pt x="222406" y="1706934"/>
                  </a:cubicBezTo>
                  <a:cubicBezTo>
                    <a:pt x="222406" y="1706934"/>
                    <a:pt x="222406" y="1706934"/>
                    <a:pt x="224823" y="641157"/>
                  </a:cubicBezTo>
                  <a:cubicBezTo>
                    <a:pt x="224823" y="641157"/>
                    <a:pt x="224823" y="641157"/>
                    <a:pt x="171639" y="974666"/>
                  </a:cubicBezTo>
                  <a:cubicBezTo>
                    <a:pt x="161969" y="1015750"/>
                    <a:pt x="128125" y="1044751"/>
                    <a:pt x="84611" y="1044751"/>
                  </a:cubicBezTo>
                  <a:cubicBezTo>
                    <a:pt x="38679" y="1044751"/>
                    <a:pt x="0" y="1006083"/>
                    <a:pt x="0" y="960165"/>
                  </a:cubicBezTo>
                  <a:cubicBezTo>
                    <a:pt x="0" y="955332"/>
                    <a:pt x="0" y="950499"/>
                    <a:pt x="0" y="948082"/>
                  </a:cubicBezTo>
                  <a:cubicBezTo>
                    <a:pt x="0" y="943248"/>
                    <a:pt x="0" y="940832"/>
                    <a:pt x="0" y="935998"/>
                  </a:cubicBezTo>
                  <a:cubicBezTo>
                    <a:pt x="0" y="935998"/>
                    <a:pt x="0" y="935998"/>
                    <a:pt x="84611" y="486487"/>
                  </a:cubicBezTo>
                  <a:cubicBezTo>
                    <a:pt x="91863" y="445403"/>
                    <a:pt x="128125" y="413985"/>
                    <a:pt x="169222" y="413985"/>
                  </a:cubicBezTo>
                  <a:close/>
                  <a:moveTo>
                    <a:pt x="406829" y="0"/>
                  </a:moveTo>
                  <a:cubicBezTo>
                    <a:pt x="509010" y="0"/>
                    <a:pt x="591844" y="82834"/>
                    <a:pt x="591844" y="185016"/>
                  </a:cubicBezTo>
                  <a:cubicBezTo>
                    <a:pt x="591844" y="287198"/>
                    <a:pt x="509010" y="370032"/>
                    <a:pt x="406829" y="370032"/>
                  </a:cubicBezTo>
                  <a:cubicBezTo>
                    <a:pt x="304648" y="370032"/>
                    <a:pt x="221814" y="287198"/>
                    <a:pt x="221814" y="185016"/>
                  </a:cubicBezTo>
                  <a:cubicBezTo>
                    <a:pt x="221814" y="82834"/>
                    <a:pt x="304648" y="0"/>
                    <a:pt x="406829"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0" name="Oval 38">
              <a:extLst>
                <a:ext uri="{FF2B5EF4-FFF2-40B4-BE49-F238E27FC236}">
                  <a16:creationId xmlns:a16="http://schemas.microsoft.com/office/drawing/2014/main" id="{EBA1734A-93A6-4368-951B-F9D22FCD3064}"/>
                </a:ext>
              </a:extLst>
            </p:cNvPr>
            <p:cNvSpPr>
              <a:spLocks noChangeArrowheads="1"/>
            </p:cNvSpPr>
            <p:nvPr/>
          </p:nvSpPr>
          <p:spPr bwMode="auto">
            <a:xfrm>
              <a:off x="9114069" y="4799912"/>
              <a:ext cx="839340" cy="90814"/>
            </a:xfrm>
            <a:prstGeom prst="ellipse">
              <a:avLst/>
            </a:prstGeom>
            <a:solidFill>
              <a:srgbClr val="EBEBEB"/>
            </a:solidFill>
            <a:ln>
              <a:noFill/>
            </a:ln>
            <a:effectLst>
              <a:softEdge rad="31750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 name="Oval 39">
              <a:extLst>
                <a:ext uri="{FF2B5EF4-FFF2-40B4-BE49-F238E27FC236}">
                  <a16:creationId xmlns:a16="http://schemas.microsoft.com/office/drawing/2014/main" id="{2491F16D-E708-4113-B321-E13F4322713A}"/>
                </a:ext>
              </a:extLst>
            </p:cNvPr>
            <p:cNvSpPr>
              <a:spLocks noChangeArrowheads="1"/>
            </p:cNvSpPr>
            <p:nvPr/>
          </p:nvSpPr>
          <p:spPr bwMode="auto">
            <a:xfrm>
              <a:off x="9114069" y="4799912"/>
              <a:ext cx="839340" cy="90814"/>
            </a:xfrm>
            <a:prstGeom prst="ellipse">
              <a:avLst/>
            </a:pr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2" name="Oval 40">
              <a:extLst>
                <a:ext uri="{FF2B5EF4-FFF2-40B4-BE49-F238E27FC236}">
                  <a16:creationId xmlns:a16="http://schemas.microsoft.com/office/drawing/2014/main" id="{D43A4954-227D-4B56-9A44-A1B75AED2194}"/>
                </a:ext>
              </a:extLst>
            </p:cNvPr>
            <p:cNvSpPr>
              <a:spLocks noChangeArrowheads="1"/>
            </p:cNvSpPr>
            <p:nvPr/>
          </p:nvSpPr>
          <p:spPr bwMode="auto">
            <a:xfrm>
              <a:off x="7832586" y="4799912"/>
              <a:ext cx="839340" cy="90814"/>
            </a:xfrm>
            <a:prstGeom prst="ellipse">
              <a:avLst/>
            </a:prstGeom>
            <a:solidFill>
              <a:srgbClr val="000000"/>
            </a:solidFill>
            <a:ln>
              <a:noFill/>
            </a:ln>
            <a:effectLst>
              <a:softEdge rad="31750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3" name="Oval 41">
              <a:extLst>
                <a:ext uri="{FF2B5EF4-FFF2-40B4-BE49-F238E27FC236}">
                  <a16:creationId xmlns:a16="http://schemas.microsoft.com/office/drawing/2014/main" id="{EA580799-0F5B-415A-B6C6-6C7ABAD8DA24}"/>
                </a:ext>
              </a:extLst>
            </p:cNvPr>
            <p:cNvSpPr>
              <a:spLocks noChangeArrowheads="1"/>
            </p:cNvSpPr>
            <p:nvPr/>
          </p:nvSpPr>
          <p:spPr bwMode="auto">
            <a:xfrm>
              <a:off x="7832586" y="4799912"/>
              <a:ext cx="839340" cy="90814"/>
            </a:xfrm>
            <a:prstGeom prst="ellipse">
              <a:avLst/>
            </a:pr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4" name="Oval 42">
              <a:extLst>
                <a:ext uri="{FF2B5EF4-FFF2-40B4-BE49-F238E27FC236}">
                  <a16:creationId xmlns:a16="http://schemas.microsoft.com/office/drawing/2014/main" id="{500D7809-8AD7-4862-9326-D732D46F21F5}"/>
                </a:ext>
              </a:extLst>
            </p:cNvPr>
            <p:cNvSpPr>
              <a:spLocks noChangeArrowheads="1"/>
            </p:cNvSpPr>
            <p:nvPr/>
          </p:nvSpPr>
          <p:spPr bwMode="auto">
            <a:xfrm>
              <a:off x="6621735" y="4799912"/>
              <a:ext cx="839340" cy="90814"/>
            </a:xfrm>
            <a:prstGeom prst="ellipse">
              <a:avLst/>
            </a:prstGeom>
            <a:solidFill>
              <a:srgbClr val="000000"/>
            </a:solidFill>
            <a:ln>
              <a:noFill/>
            </a:ln>
            <a:effectLst>
              <a:softEdge rad="31750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5" name="Oval 43">
              <a:extLst>
                <a:ext uri="{FF2B5EF4-FFF2-40B4-BE49-F238E27FC236}">
                  <a16:creationId xmlns:a16="http://schemas.microsoft.com/office/drawing/2014/main" id="{DB0E7EED-A198-4E2C-A516-47A5851D2B91}"/>
                </a:ext>
              </a:extLst>
            </p:cNvPr>
            <p:cNvSpPr>
              <a:spLocks noChangeArrowheads="1"/>
            </p:cNvSpPr>
            <p:nvPr/>
          </p:nvSpPr>
          <p:spPr bwMode="auto">
            <a:xfrm>
              <a:off x="6621735" y="4799912"/>
              <a:ext cx="839340" cy="90814"/>
            </a:xfrm>
            <a:prstGeom prst="ellipse">
              <a:avLst/>
            </a:pr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6" name="Oval 44">
              <a:extLst>
                <a:ext uri="{FF2B5EF4-FFF2-40B4-BE49-F238E27FC236}">
                  <a16:creationId xmlns:a16="http://schemas.microsoft.com/office/drawing/2014/main" id="{BCA43342-405D-400C-8C53-55B9D9E86AC9}"/>
                </a:ext>
              </a:extLst>
            </p:cNvPr>
            <p:cNvSpPr>
              <a:spLocks noChangeArrowheads="1"/>
            </p:cNvSpPr>
            <p:nvPr/>
          </p:nvSpPr>
          <p:spPr bwMode="auto">
            <a:xfrm>
              <a:off x="9368164" y="5298928"/>
              <a:ext cx="1242957" cy="132094"/>
            </a:xfrm>
            <a:prstGeom prst="ellipse">
              <a:avLst/>
            </a:prstGeom>
            <a:solidFill>
              <a:srgbClr val="EBEBEB"/>
            </a:solidFill>
            <a:ln>
              <a:noFill/>
            </a:ln>
            <a:effectLst>
              <a:softEdge rad="31750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7" name="Oval 45">
              <a:extLst>
                <a:ext uri="{FF2B5EF4-FFF2-40B4-BE49-F238E27FC236}">
                  <a16:creationId xmlns:a16="http://schemas.microsoft.com/office/drawing/2014/main" id="{01A7AA1B-0EC3-4294-84E3-C4F8AF1B9745}"/>
                </a:ext>
              </a:extLst>
            </p:cNvPr>
            <p:cNvSpPr>
              <a:spLocks noChangeArrowheads="1"/>
            </p:cNvSpPr>
            <p:nvPr/>
          </p:nvSpPr>
          <p:spPr bwMode="auto">
            <a:xfrm>
              <a:off x="9368164" y="5298928"/>
              <a:ext cx="1242957" cy="132094"/>
            </a:xfrm>
            <a:prstGeom prst="ellipse">
              <a:avLst/>
            </a:pr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8" name="Oval 46">
              <a:extLst>
                <a:ext uri="{FF2B5EF4-FFF2-40B4-BE49-F238E27FC236}">
                  <a16:creationId xmlns:a16="http://schemas.microsoft.com/office/drawing/2014/main" id="{79718A15-1179-412A-BAD7-28C1CF68FC2E}"/>
                </a:ext>
              </a:extLst>
            </p:cNvPr>
            <p:cNvSpPr>
              <a:spLocks noChangeArrowheads="1"/>
            </p:cNvSpPr>
            <p:nvPr/>
          </p:nvSpPr>
          <p:spPr bwMode="auto">
            <a:xfrm>
              <a:off x="7147355" y="5298928"/>
              <a:ext cx="1244790" cy="132094"/>
            </a:xfrm>
            <a:prstGeom prst="ellipse">
              <a:avLst/>
            </a:pr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9" name="Freeform 73">
              <a:extLst>
                <a:ext uri="{FF2B5EF4-FFF2-40B4-BE49-F238E27FC236}">
                  <a16:creationId xmlns:a16="http://schemas.microsoft.com/office/drawing/2014/main" id="{9AC76440-B37E-4CCF-A521-15DDEDE464DE}"/>
                </a:ext>
              </a:extLst>
            </p:cNvPr>
            <p:cNvSpPr>
              <a:spLocks noChangeArrowheads="1"/>
            </p:cNvSpPr>
            <p:nvPr/>
          </p:nvSpPr>
          <p:spPr bwMode="auto">
            <a:xfrm>
              <a:off x="9168191" y="3235895"/>
              <a:ext cx="731096" cy="1609882"/>
            </a:xfrm>
            <a:custGeom>
              <a:avLst/>
              <a:gdLst>
                <a:gd name="connsiteX0" fmla="*/ 169222 w 814681"/>
                <a:gd name="connsiteY0" fmla="*/ 413985 h 1793936"/>
                <a:gd name="connsiteX1" fmla="*/ 643042 w 814681"/>
                <a:gd name="connsiteY1" fmla="*/ 413985 h 1793936"/>
                <a:gd name="connsiteX2" fmla="*/ 727653 w 814681"/>
                <a:gd name="connsiteY2" fmla="*/ 486487 h 1793936"/>
                <a:gd name="connsiteX3" fmla="*/ 812264 w 814681"/>
                <a:gd name="connsiteY3" fmla="*/ 935998 h 1793936"/>
                <a:gd name="connsiteX4" fmla="*/ 812264 w 814681"/>
                <a:gd name="connsiteY4" fmla="*/ 948082 h 1793936"/>
                <a:gd name="connsiteX5" fmla="*/ 814681 w 814681"/>
                <a:gd name="connsiteY5" fmla="*/ 960165 h 1793936"/>
                <a:gd name="connsiteX6" fmla="*/ 727653 w 814681"/>
                <a:gd name="connsiteY6" fmla="*/ 1044751 h 1793936"/>
                <a:gd name="connsiteX7" fmla="*/ 643042 w 814681"/>
                <a:gd name="connsiteY7" fmla="*/ 974666 h 1793936"/>
                <a:gd name="connsiteX8" fmla="*/ 589858 w 814681"/>
                <a:gd name="connsiteY8" fmla="*/ 641157 h 1793936"/>
                <a:gd name="connsiteX9" fmla="*/ 589858 w 814681"/>
                <a:gd name="connsiteY9" fmla="*/ 1706934 h 1793936"/>
                <a:gd name="connsiteX10" fmla="*/ 502830 w 814681"/>
                <a:gd name="connsiteY10" fmla="*/ 1793936 h 1793936"/>
                <a:gd name="connsiteX11" fmla="*/ 418219 w 814681"/>
                <a:gd name="connsiteY11" fmla="*/ 1706934 h 1793936"/>
                <a:gd name="connsiteX12" fmla="*/ 418219 w 814681"/>
                <a:gd name="connsiteY12" fmla="*/ 1180088 h 1793936"/>
                <a:gd name="connsiteX13" fmla="*/ 396462 w 814681"/>
                <a:gd name="connsiteY13" fmla="*/ 1180088 h 1793936"/>
                <a:gd name="connsiteX14" fmla="*/ 396462 w 814681"/>
                <a:gd name="connsiteY14" fmla="*/ 1706934 h 1793936"/>
                <a:gd name="connsiteX15" fmla="*/ 309434 w 814681"/>
                <a:gd name="connsiteY15" fmla="*/ 1793936 h 1793936"/>
                <a:gd name="connsiteX16" fmla="*/ 224823 w 814681"/>
                <a:gd name="connsiteY16" fmla="*/ 1706934 h 1793936"/>
                <a:gd name="connsiteX17" fmla="*/ 224823 w 814681"/>
                <a:gd name="connsiteY17" fmla="*/ 641157 h 1793936"/>
                <a:gd name="connsiteX18" fmla="*/ 171639 w 814681"/>
                <a:gd name="connsiteY18" fmla="*/ 974666 h 1793936"/>
                <a:gd name="connsiteX19" fmla="*/ 87028 w 814681"/>
                <a:gd name="connsiteY19" fmla="*/ 1044751 h 1793936"/>
                <a:gd name="connsiteX20" fmla="*/ 0 w 814681"/>
                <a:gd name="connsiteY20" fmla="*/ 960165 h 1793936"/>
                <a:gd name="connsiteX21" fmla="*/ 0 w 814681"/>
                <a:gd name="connsiteY21" fmla="*/ 948082 h 1793936"/>
                <a:gd name="connsiteX22" fmla="*/ 0 w 814681"/>
                <a:gd name="connsiteY22" fmla="*/ 935998 h 1793936"/>
                <a:gd name="connsiteX23" fmla="*/ 84611 w 814681"/>
                <a:gd name="connsiteY23" fmla="*/ 486487 h 1793936"/>
                <a:gd name="connsiteX24" fmla="*/ 169222 w 814681"/>
                <a:gd name="connsiteY24" fmla="*/ 413985 h 1793936"/>
                <a:gd name="connsiteX25" fmla="*/ 407851 w 814681"/>
                <a:gd name="connsiteY25" fmla="*/ 0 h 1793936"/>
                <a:gd name="connsiteX26" fmla="*/ 592866 w 814681"/>
                <a:gd name="connsiteY26" fmla="*/ 185016 h 1793936"/>
                <a:gd name="connsiteX27" fmla="*/ 407851 w 814681"/>
                <a:gd name="connsiteY27" fmla="*/ 370032 h 1793936"/>
                <a:gd name="connsiteX28" fmla="*/ 222836 w 814681"/>
                <a:gd name="connsiteY28" fmla="*/ 185016 h 1793936"/>
                <a:gd name="connsiteX29" fmla="*/ 407851 w 814681"/>
                <a:gd name="connsiteY29" fmla="*/ 0 h 179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14681" h="1793936">
                  <a:moveTo>
                    <a:pt x="169222" y="413985"/>
                  </a:moveTo>
                  <a:cubicBezTo>
                    <a:pt x="169222" y="413985"/>
                    <a:pt x="169222" y="413985"/>
                    <a:pt x="643042" y="413985"/>
                  </a:cubicBezTo>
                  <a:cubicBezTo>
                    <a:pt x="686556" y="413985"/>
                    <a:pt x="722818" y="445403"/>
                    <a:pt x="727653" y="486487"/>
                  </a:cubicBezTo>
                  <a:cubicBezTo>
                    <a:pt x="727653" y="486487"/>
                    <a:pt x="727653" y="486487"/>
                    <a:pt x="812264" y="935998"/>
                  </a:cubicBezTo>
                  <a:cubicBezTo>
                    <a:pt x="814681" y="940832"/>
                    <a:pt x="814681" y="943248"/>
                    <a:pt x="812264" y="948082"/>
                  </a:cubicBezTo>
                  <a:cubicBezTo>
                    <a:pt x="812264" y="950499"/>
                    <a:pt x="814681" y="955332"/>
                    <a:pt x="814681" y="960165"/>
                  </a:cubicBezTo>
                  <a:cubicBezTo>
                    <a:pt x="814681" y="1006083"/>
                    <a:pt x="776002" y="1044751"/>
                    <a:pt x="727653" y="1044751"/>
                  </a:cubicBezTo>
                  <a:cubicBezTo>
                    <a:pt x="686556" y="1044751"/>
                    <a:pt x="650294" y="1015750"/>
                    <a:pt x="643042" y="974666"/>
                  </a:cubicBezTo>
                  <a:cubicBezTo>
                    <a:pt x="643042" y="974666"/>
                    <a:pt x="643042" y="974666"/>
                    <a:pt x="589858" y="641157"/>
                  </a:cubicBezTo>
                  <a:cubicBezTo>
                    <a:pt x="589858" y="641157"/>
                    <a:pt x="589858" y="641157"/>
                    <a:pt x="589858" y="1706934"/>
                  </a:cubicBezTo>
                  <a:cubicBezTo>
                    <a:pt x="589858" y="1755269"/>
                    <a:pt x="551179" y="1793936"/>
                    <a:pt x="502830" y="1793936"/>
                  </a:cubicBezTo>
                  <a:cubicBezTo>
                    <a:pt x="456898" y="1793936"/>
                    <a:pt x="418219" y="1755269"/>
                    <a:pt x="418219" y="1706934"/>
                  </a:cubicBezTo>
                  <a:cubicBezTo>
                    <a:pt x="418219" y="1706934"/>
                    <a:pt x="418219" y="1706934"/>
                    <a:pt x="418219" y="1180088"/>
                  </a:cubicBezTo>
                  <a:cubicBezTo>
                    <a:pt x="418219" y="1180088"/>
                    <a:pt x="418219" y="1180088"/>
                    <a:pt x="396462" y="1180088"/>
                  </a:cubicBezTo>
                  <a:cubicBezTo>
                    <a:pt x="396462" y="1180088"/>
                    <a:pt x="396462" y="1180088"/>
                    <a:pt x="396462" y="1706934"/>
                  </a:cubicBezTo>
                  <a:cubicBezTo>
                    <a:pt x="396462" y="1755269"/>
                    <a:pt x="357783" y="1793936"/>
                    <a:pt x="309434" y="1793936"/>
                  </a:cubicBezTo>
                  <a:cubicBezTo>
                    <a:pt x="263502" y="1793936"/>
                    <a:pt x="224823" y="1755269"/>
                    <a:pt x="224823" y="1706934"/>
                  </a:cubicBezTo>
                  <a:cubicBezTo>
                    <a:pt x="224823" y="1706934"/>
                    <a:pt x="224823" y="1706934"/>
                    <a:pt x="224823" y="641157"/>
                  </a:cubicBezTo>
                  <a:cubicBezTo>
                    <a:pt x="224823" y="641157"/>
                    <a:pt x="224823" y="641157"/>
                    <a:pt x="171639" y="974666"/>
                  </a:cubicBezTo>
                  <a:cubicBezTo>
                    <a:pt x="164387" y="1015750"/>
                    <a:pt x="128125" y="1044751"/>
                    <a:pt x="87028" y="1044751"/>
                  </a:cubicBezTo>
                  <a:cubicBezTo>
                    <a:pt x="38679" y="1044751"/>
                    <a:pt x="0" y="1006083"/>
                    <a:pt x="0" y="960165"/>
                  </a:cubicBezTo>
                  <a:cubicBezTo>
                    <a:pt x="0" y="955332"/>
                    <a:pt x="0" y="950499"/>
                    <a:pt x="0" y="948082"/>
                  </a:cubicBezTo>
                  <a:cubicBezTo>
                    <a:pt x="0" y="943248"/>
                    <a:pt x="0" y="940832"/>
                    <a:pt x="0" y="935998"/>
                  </a:cubicBezTo>
                  <a:cubicBezTo>
                    <a:pt x="0" y="935998"/>
                    <a:pt x="0" y="935998"/>
                    <a:pt x="84611" y="486487"/>
                  </a:cubicBezTo>
                  <a:cubicBezTo>
                    <a:pt x="91863" y="445403"/>
                    <a:pt x="128125" y="413985"/>
                    <a:pt x="169222" y="413985"/>
                  </a:cubicBezTo>
                  <a:close/>
                  <a:moveTo>
                    <a:pt x="407851" y="0"/>
                  </a:moveTo>
                  <a:cubicBezTo>
                    <a:pt x="510032" y="0"/>
                    <a:pt x="592866" y="82834"/>
                    <a:pt x="592866" y="185016"/>
                  </a:cubicBezTo>
                  <a:cubicBezTo>
                    <a:pt x="592866" y="287198"/>
                    <a:pt x="510032" y="370032"/>
                    <a:pt x="407851" y="370032"/>
                  </a:cubicBezTo>
                  <a:cubicBezTo>
                    <a:pt x="305670" y="370032"/>
                    <a:pt x="222836" y="287198"/>
                    <a:pt x="222836" y="185016"/>
                  </a:cubicBezTo>
                  <a:cubicBezTo>
                    <a:pt x="222836" y="82834"/>
                    <a:pt x="305670" y="0"/>
                    <a:pt x="407851" y="0"/>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0" name="Freeform 74">
              <a:extLst>
                <a:ext uri="{FF2B5EF4-FFF2-40B4-BE49-F238E27FC236}">
                  <a16:creationId xmlns:a16="http://schemas.microsoft.com/office/drawing/2014/main" id="{ADA3F744-1BAF-4669-B5A4-290A911005EE}"/>
                </a:ext>
              </a:extLst>
            </p:cNvPr>
            <p:cNvSpPr>
              <a:spLocks noChangeArrowheads="1"/>
            </p:cNvSpPr>
            <p:nvPr/>
          </p:nvSpPr>
          <p:spPr bwMode="auto">
            <a:xfrm>
              <a:off x="7886707" y="3235895"/>
              <a:ext cx="731096" cy="1609882"/>
            </a:xfrm>
            <a:custGeom>
              <a:avLst/>
              <a:gdLst>
                <a:gd name="connsiteX0" fmla="*/ 171639 w 814681"/>
                <a:gd name="connsiteY0" fmla="*/ 413985 h 1793936"/>
                <a:gd name="connsiteX1" fmla="*/ 643042 w 814681"/>
                <a:gd name="connsiteY1" fmla="*/ 413985 h 1793936"/>
                <a:gd name="connsiteX2" fmla="*/ 730070 w 814681"/>
                <a:gd name="connsiteY2" fmla="*/ 486487 h 1793936"/>
                <a:gd name="connsiteX3" fmla="*/ 814681 w 814681"/>
                <a:gd name="connsiteY3" fmla="*/ 935998 h 1793936"/>
                <a:gd name="connsiteX4" fmla="*/ 812264 w 814681"/>
                <a:gd name="connsiteY4" fmla="*/ 948082 h 1793936"/>
                <a:gd name="connsiteX5" fmla="*/ 814681 w 814681"/>
                <a:gd name="connsiteY5" fmla="*/ 960165 h 1793936"/>
                <a:gd name="connsiteX6" fmla="*/ 727653 w 814681"/>
                <a:gd name="connsiteY6" fmla="*/ 1044751 h 1793936"/>
                <a:gd name="connsiteX7" fmla="*/ 643042 w 814681"/>
                <a:gd name="connsiteY7" fmla="*/ 974666 h 1793936"/>
                <a:gd name="connsiteX8" fmla="*/ 589858 w 814681"/>
                <a:gd name="connsiteY8" fmla="*/ 641157 h 1793936"/>
                <a:gd name="connsiteX9" fmla="*/ 589858 w 814681"/>
                <a:gd name="connsiteY9" fmla="*/ 1706934 h 1793936"/>
                <a:gd name="connsiteX10" fmla="*/ 505248 w 814681"/>
                <a:gd name="connsiteY10" fmla="*/ 1793936 h 1793936"/>
                <a:gd name="connsiteX11" fmla="*/ 418219 w 814681"/>
                <a:gd name="connsiteY11" fmla="*/ 1706934 h 1793936"/>
                <a:gd name="connsiteX12" fmla="*/ 418219 w 814681"/>
                <a:gd name="connsiteY12" fmla="*/ 1180088 h 1793936"/>
                <a:gd name="connsiteX13" fmla="*/ 396462 w 814681"/>
                <a:gd name="connsiteY13" fmla="*/ 1180088 h 1793936"/>
                <a:gd name="connsiteX14" fmla="*/ 396462 w 814681"/>
                <a:gd name="connsiteY14" fmla="*/ 1706934 h 1793936"/>
                <a:gd name="connsiteX15" fmla="*/ 311851 w 814681"/>
                <a:gd name="connsiteY15" fmla="*/ 1793936 h 1793936"/>
                <a:gd name="connsiteX16" fmla="*/ 224823 w 814681"/>
                <a:gd name="connsiteY16" fmla="*/ 1706934 h 1793936"/>
                <a:gd name="connsiteX17" fmla="*/ 224823 w 814681"/>
                <a:gd name="connsiteY17" fmla="*/ 641157 h 1793936"/>
                <a:gd name="connsiteX18" fmla="*/ 171639 w 814681"/>
                <a:gd name="connsiteY18" fmla="*/ 974666 h 1793936"/>
                <a:gd name="connsiteX19" fmla="*/ 87028 w 814681"/>
                <a:gd name="connsiteY19" fmla="*/ 1044751 h 1793936"/>
                <a:gd name="connsiteX20" fmla="*/ 0 w 814681"/>
                <a:gd name="connsiteY20" fmla="*/ 960165 h 1793936"/>
                <a:gd name="connsiteX21" fmla="*/ 2417 w 814681"/>
                <a:gd name="connsiteY21" fmla="*/ 948082 h 1793936"/>
                <a:gd name="connsiteX22" fmla="*/ 0 w 814681"/>
                <a:gd name="connsiteY22" fmla="*/ 935998 h 1793936"/>
                <a:gd name="connsiteX23" fmla="*/ 84611 w 814681"/>
                <a:gd name="connsiteY23" fmla="*/ 486487 h 1793936"/>
                <a:gd name="connsiteX24" fmla="*/ 171639 w 814681"/>
                <a:gd name="connsiteY24" fmla="*/ 413985 h 1793936"/>
                <a:gd name="connsiteX25" fmla="*/ 406828 w 814681"/>
                <a:gd name="connsiteY25" fmla="*/ 0 h 1793936"/>
                <a:gd name="connsiteX26" fmla="*/ 591843 w 814681"/>
                <a:gd name="connsiteY26" fmla="*/ 185016 h 1793936"/>
                <a:gd name="connsiteX27" fmla="*/ 406828 w 814681"/>
                <a:gd name="connsiteY27" fmla="*/ 370032 h 1793936"/>
                <a:gd name="connsiteX28" fmla="*/ 221813 w 814681"/>
                <a:gd name="connsiteY28" fmla="*/ 185016 h 1793936"/>
                <a:gd name="connsiteX29" fmla="*/ 406828 w 814681"/>
                <a:gd name="connsiteY29" fmla="*/ 0 h 179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14681" h="1793936">
                  <a:moveTo>
                    <a:pt x="171639" y="413985"/>
                  </a:moveTo>
                  <a:cubicBezTo>
                    <a:pt x="171639" y="413985"/>
                    <a:pt x="171639" y="413985"/>
                    <a:pt x="643042" y="413985"/>
                  </a:cubicBezTo>
                  <a:cubicBezTo>
                    <a:pt x="686556" y="413985"/>
                    <a:pt x="722818" y="445403"/>
                    <a:pt x="730070" y="486487"/>
                  </a:cubicBezTo>
                  <a:cubicBezTo>
                    <a:pt x="730070" y="486487"/>
                    <a:pt x="730070" y="486487"/>
                    <a:pt x="814681" y="935998"/>
                  </a:cubicBezTo>
                  <a:cubicBezTo>
                    <a:pt x="814681" y="940832"/>
                    <a:pt x="814681" y="943248"/>
                    <a:pt x="812264" y="948082"/>
                  </a:cubicBezTo>
                  <a:cubicBezTo>
                    <a:pt x="814681" y="950499"/>
                    <a:pt x="814681" y="955332"/>
                    <a:pt x="814681" y="960165"/>
                  </a:cubicBezTo>
                  <a:cubicBezTo>
                    <a:pt x="814681" y="1006083"/>
                    <a:pt x="776002" y="1044751"/>
                    <a:pt x="727653" y="1044751"/>
                  </a:cubicBezTo>
                  <a:cubicBezTo>
                    <a:pt x="686556" y="1044751"/>
                    <a:pt x="650295" y="1015750"/>
                    <a:pt x="643042" y="974666"/>
                  </a:cubicBezTo>
                  <a:cubicBezTo>
                    <a:pt x="643042" y="974666"/>
                    <a:pt x="643042" y="974666"/>
                    <a:pt x="589858" y="641157"/>
                  </a:cubicBezTo>
                  <a:cubicBezTo>
                    <a:pt x="589858" y="641157"/>
                    <a:pt x="589858" y="641157"/>
                    <a:pt x="589858" y="1706934"/>
                  </a:cubicBezTo>
                  <a:cubicBezTo>
                    <a:pt x="589858" y="1755269"/>
                    <a:pt x="551179" y="1793936"/>
                    <a:pt x="505248" y="1793936"/>
                  </a:cubicBezTo>
                  <a:cubicBezTo>
                    <a:pt x="456898" y="1793936"/>
                    <a:pt x="418219" y="1755269"/>
                    <a:pt x="418219" y="1706934"/>
                  </a:cubicBezTo>
                  <a:cubicBezTo>
                    <a:pt x="418219" y="1706934"/>
                    <a:pt x="418219" y="1706934"/>
                    <a:pt x="418219" y="1180088"/>
                  </a:cubicBezTo>
                  <a:cubicBezTo>
                    <a:pt x="418219" y="1180088"/>
                    <a:pt x="418219" y="1180088"/>
                    <a:pt x="396462" y="1180088"/>
                  </a:cubicBezTo>
                  <a:cubicBezTo>
                    <a:pt x="396462" y="1180088"/>
                    <a:pt x="396462" y="1180088"/>
                    <a:pt x="396462" y="1706934"/>
                  </a:cubicBezTo>
                  <a:cubicBezTo>
                    <a:pt x="396462" y="1755269"/>
                    <a:pt x="357783" y="1793936"/>
                    <a:pt x="311851" y="1793936"/>
                  </a:cubicBezTo>
                  <a:cubicBezTo>
                    <a:pt x="263502" y="1793936"/>
                    <a:pt x="224823" y="1755269"/>
                    <a:pt x="224823" y="1706934"/>
                  </a:cubicBezTo>
                  <a:cubicBezTo>
                    <a:pt x="224823" y="1706934"/>
                    <a:pt x="224823" y="1706934"/>
                    <a:pt x="224823" y="641157"/>
                  </a:cubicBezTo>
                  <a:cubicBezTo>
                    <a:pt x="224823" y="641157"/>
                    <a:pt x="224823" y="641157"/>
                    <a:pt x="171639" y="974666"/>
                  </a:cubicBezTo>
                  <a:cubicBezTo>
                    <a:pt x="164386" y="1015750"/>
                    <a:pt x="128125" y="1044751"/>
                    <a:pt x="87028" y="1044751"/>
                  </a:cubicBezTo>
                  <a:cubicBezTo>
                    <a:pt x="38679" y="1044751"/>
                    <a:pt x="0" y="1006083"/>
                    <a:pt x="0" y="960165"/>
                  </a:cubicBezTo>
                  <a:cubicBezTo>
                    <a:pt x="0" y="955332"/>
                    <a:pt x="0" y="950499"/>
                    <a:pt x="2417" y="948082"/>
                  </a:cubicBezTo>
                  <a:cubicBezTo>
                    <a:pt x="0" y="943248"/>
                    <a:pt x="0" y="940832"/>
                    <a:pt x="0" y="935998"/>
                  </a:cubicBezTo>
                  <a:cubicBezTo>
                    <a:pt x="0" y="935998"/>
                    <a:pt x="0" y="935998"/>
                    <a:pt x="84611" y="486487"/>
                  </a:cubicBezTo>
                  <a:cubicBezTo>
                    <a:pt x="91863" y="445403"/>
                    <a:pt x="128125" y="413985"/>
                    <a:pt x="171639" y="413985"/>
                  </a:cubicBezTo>
                  <a:close/>
                  <a:moveTo>
                    <a:pt x="406828" y="0"/>
                  </a:moveTo>
                  <a:cubicBezTo>
                    <a:pt x="509009" y="0"/>
                    <a:pt x="591843" y="82834"/>
                    <a:pt x="591843" y="185016"/>
                  </a:cubicBezTo>
                  <a:cubicBezTo>
                    <a:pt x="591843" y="287198"/>
                    <a:pt x="509009" y="370032"/>
                    <a:pt x="406828" y="370032"/>
                  </a:cubicBezTo>
                  <a:cubicBezTo>
                    <a:pt x="304647" y="370032"/>
                    <a:pt x="221813" y="287198"/>
                    <a:pt x="221813" y="185016"/>
                  </a:cubicBezTo>
                  <a:cubicBezTo>
                    <a:pt x="221813" y="82834"/>
                    <a:pt x="304647" y="0"/>
                    <a:pt x="406828" y="0"/>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1" name="Freeform 75">
              <a:extLst>
                <a:ext uri="{FF2B5EF4-FFF2-40B4-BE49-F238E27FC236}">
                  <a16:creationId xmlns:a16="http://schemas.microsoft.com/office/drawing/2014/main" id="{F5E99650-D040-42C9-804D-830A61A48AE2}"/>
                </a:ext>
              </a:extLst>
            </p:cNvPr>
            <p:cNvSpPr>
              <a:spLocks noChangeArrowheads="1"/>
            </p:cNvSpPr>
            <p:nvPr/>
          </p:nvSpPr>
          <p:spPr bwMode="auto">
            <a:xfrm>
              <a:off x="6675856" y="3235895"/>
              <a:ext cx="731096" cy="1609882"/>
            </a:xfrm>
            <a:custGeom>
              <a:avLst/>
              <a:gdLst>
                <a:gd name="connsiteX0" fmla="*/ 171639 w 814681"/>
                <a:gd name="connsiteY0" fmla="*/ 413985 h 1793936"/>
                <a:gd name="connsiteX1" fmla="*/ 645460 w 814681"/>
                <a:gd name="connsiteY1" fmla="*/ 413985 h 1793936"/>
                <a:gd name="connsiteX2" fmla="*/ 730070 w 814681"/>
                <a:gd name="connsiteY2" fmla="*/ 486487 h 1793936"/>
                <a:gd name="connsiteX3" fmla="*/ 814681 w 814681"/>
                <a:gd name="connsiteY3" fmla="*/ 935998 h 1793936"/>
                <a:gd name="connsiteX4" fmla="*/ 814681 w 814681"/>
                <a:gd name="connsiteY4" fmla="*/ 948082 h 1793936"/>
                <a:gd name="connsiteX5" fmla="*/ 814681 w 814681"/>
                <a:gd name="connsiteY5" fmla="*/ 960165 h 1793936"/>
                <a:gd name="connsiteX6" fmla="*/ 727653 w 814681"/>
                <a:gd name="connsiteY6" fmla="*/ 1044751 h 1793936"/>
                <a:gd name="connsiteX7" fmla="*/ 643042 w 814681"/>
                <a:gd name="connsiteY7" fmla="*/ 974666 h 1793936"/>
                <a:gd name="connsiteX8" fmla="*/ 589858 w 814681"/>
                <a:gd name="connsiteY8" fmla="*/ 641157 h 1793936"/>
                <a:gd name="connsiteX9" fmla="*/ 589858 w 814681"/>
                <a:gd name="connsiteY9" fmla="*/ 1706934 h 1793936"/>
                <a:gd name="connsiteX10" fmla="*/ 505248 w 814681"/>
                <a:gd name="connsiteY10" fmla="*/ 1793936 h 1793936"/>
                <a:gd name="connsiteX11" fmla="*/ 418219 w 814681"/>
                <a:gd name="connsiteY11" fmla="*/ 1706934 h 1793936"/>
                <a:gd name="connsiteX12" fmla="*/ 418219 w 814681"/>
                <a:gd name="connsiteY12" fmla="*/ 1180088 h 1793936"/>
                <a:gd name="connsiteX13" fmla="*/ 396462 w 814681"/>
                <a:gd name="connsiteY13" fmla="*/ 1180088 h 1793936"/>
                <a:gd name="connsiteX14" fmla="*/ 396462 w 814681"/>
                <a:gd name="connsiteY14" fmla="*/ 1706934 h 1793936"/>
                <a:gd name="connsiteX15" fmla="*/ 311851 w 814681"/>
                <a:gd name="connsiteY15" fmla="*/ 1793936 h 1793936"/>
                <a:gd name="connsiteX16" fmla="*/ 224823 w 814681"/>
                <a:gd name="connsiteY16" fmla="*/ 1706934 h 1793936"/>
                <a:gd name="connsiteX17" fmla="*/ 224823 w 814681"/>
                <a:gd name="connsiteY17" fmla="*/ 641157 h 1793936"/>
                <a:gd name="connsiteX18" fmla="*/ 171639 w 814681"/>
                <a:gd name="connsiteY18" fmla="*/ 974666 h 1793936"/>
                <a:gd name="connsiteX19" fmla="*/ 87028 w 814681"/>
                <a:gd name="connsiteY19" fmla="*/ 1044751 h 1793936"/>
                <a:gd name="connsiteX20" fmla="*/ 0 w 814681"/>
                <a:gd name="connsiteY20" fmla="*/ 960165 h 1793936"/>
                <a:gd name="connsiteX21" fmla="*/ 2417 w 814681"/>
                <a:gd name="connsiteY21" fmla="*/ 948082 h 1793936"/>
                <a:gd name="connsiteX22" fmla="*/ 0 w 814681"/>
                <a:gd name="connsiteY22" fmla="*/ 935998 h 1793936"/>
                <a:gd name="connsiteX23" fmla="*/ 87028 w 814681"/>
                <a:gd name="connsiteY23" fmla="*/ 486487 h 1793936"/>
                <a:gd name="connsiteX24" fmla="*/ 171639 w 814681"/>
                <a:gd name="connsiteY24" fmla="*/ 413985 h 1793936"/>
                <a:gd name="connsiteX25" fmla="*/ 407851 w 814681"/>
                <a:gd name="connsiteY25" fmla="*/ 0 h 1793936"/>
                <a:gd name="connsiteX26" fmla="*/ 592866 w 814681"/>
                <a:gd name="connsiteY26" fmla="*/ 185016 h 1793936"/>
                <a:gd name="connsiteX27" fmla="*/ 407851 w 814681"/>
                <a:gd name="connsiteY27" fmla="*/ 370032 h 1793936"/>
                <a:gd name="connsiteX28" fmla="*/ 222836 w 814681"/>
                <a:gd name="connsiteY28" fmla="*/ 185016 h 1793936"/>
                <a:gd name="connsiteX29" fmla="*/ 407851 w 814681"/>
                <a:gd name="connsiteY29" fmla="*/ 0 h 179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14681" h="1793936">
                  <a:moveTo>
                    <a:pt x="171639" y="413985"/>
                  </a:moveTo>
                  <a:cubicBezTo>
                    <a:pt x="171639" y="413985"/>
                    <a:pt x="171639" y="413985"/>
                    <a:pt x="645460" y="413985"/>
                  </a:cubicBezTo>
                  <a:cubicBezTo>
                    <a:pt x="686556" y="413985"/>
                    <a:pt x="722818" y="445403"/>
                    <a:pt x="730070" y="486487"/>
                  </a:cubicBezTo>
                  <a:cubicBezTo>
                    <a:pt x="730070" y="486487"/>
                    <a:pt x="730070" y="486487"/>
                    <a:pt x="814681" y="935998"/>
                  </a:cubicBezTo>
                  <a:cubicBezTo>
                    <a:pt x="814681" y="940832"/>
                    <a:pt x="814681" y="943248"/>
                    <a:pt x="814681" y="948082"/>
                  </a:cubicBezTo>
                  <a:cubicBezTo>
                    <a:pt x="814681" y="950499"/>
                    <a:pt x="814681" y="955332"/>
                    <a:pt x="814681" y="960165"/>
                  </a:cubicBezTo>
                  <a:cubicBezTo>
                    <a:pt x="814681" y="1006083"/>
                    <a:pt x="776002" y="1044751"/>
                    <a:pt x="727653" y="1044751"/>
                  </a:cubicBezTo>
                  <a:cubicBezTo>
                    <a:pt x="686556" y="1044751"/>
                    <a:pt x="650295" y="1015750"/>
                    <a:pt x="643042" y="974666"/>
                  </a:cubicBezTo>
                  <a:cubicBezTo>
                    <a:pt x="643042" y="974666"/>
                    <a:pt x="643042" y="974666"/>
                    <a:pt x="589858" y="641157"/>
                  </a:cubicBezTo>
                  <a:cubicBezTo>
                    <a:pt x="589858" y="641157"/>
                    <a:pt x="589858" y="641157"/>
                    <a:pt x="589858" y="1706934"/>
                  </a:cubicBezTo>
                  <a:cubicBezTo>
                    <a:pt x="589858" y="1755269"/>
                    <a:pt x="551179" y="1793936"/>
                    <a:pt x="505248" y="1793936"/>
                  </a:cubicBezTo>
                  <a:cubicBezTo>
                    <a:pt x="456898" y="1793936"/>
                    <a:pt x="418219" y="1755269"/>
                    <a:pt x="418219" y="1706934"/>
                  </a:cubicBezTo>
                  <a:cubicBezTo>
                    <a:pt x="418219" y="1706934"/>
                    <a:pt x="418219" y="1706934"/>
                    <a:pt x="418219" y="1180088"/>
                  </a:cubicBezTo>
                  <a:cubicBezTo>
                    <a:pt x="418219" y="1180088"/>
                    <a:pt x="418219" y="1180088"/>
                    <a:pt x="396462" y="1180088"/>
                  </a:cubicBezTo>
                  <a:cubicBezTo>
                    <a:pt x="396462" y="1180088"/>
                    <a:pt x="396462" y="1180088"/>
                    <a:pt x="396462" y="1706934"/>
                  </a:cubicBezTo>
                  <a:cubicBezTo>
                    <a:pt x="396462" y="1755269"/>
                    <a:pt x="357783" y="1793936"/>
                    <a:pt x="311851" y="1793936"/>
                  </a:cubicBezTo>
                  <a:cubicBezTo>
                    <a:pt x="263502" y="1793936"/>
                    <a:pt x="224823" y="1755269"/>
                    <a:pt x="224823" y="1706934"/>
                  </a:cubicBezTo>
                  <a:cubicBezTo>
                    <a:pt x="224823" y="1706934"/>
                    <a:pt x="224823" y="1706934"/>
                    <a:pt x="224823" y="641157"/>
                  </a:cubicBezTo>
                  <a:cubicBezTo>
                    <a:pt x="224823" y="641157"/>
                    <a:pt x="224823" y="641157"/>
                    <a:pt x="171639" y="974666"/>
                  </a:cubicBezTo>
                  <a:cubicBezTo>
                    <a:pt x="164386" y="1015750"/>
                    <a:pt x="128125" y="1044751"/>
                    <a:pt x="87028" y="1044751"/>
                  </a:cubicBezTo>
                  <a:cubicBezTo>
                    <a:pt x="38679" y="1044751"/>
                    <a:pt x="0" y="1006083"/>
                    <a:pt x="0" y="960165"/>
                  </a:cubicBezTo>
                  <a:cubicBezTo>
                    <a:pt x="0" y="955332"/>
                    <a:pt x="0" y="950499"/>
                    <a:pt x="2417" y="948082"/>
                  </a:cubicBezTo>
                  <a:cubicBezTo>
                    <a:pt x="0" y="943248"/>
                    <a:pt x="0" y="940832"/>
                    <a:pt x="0" y="935998"/>
                  </a:cubicBezTo>
                  <a:cubicBezTo>
                    <a:pt x="0" y="935998"/>
                    <a:pt x="0" y="935998"/>
                    <a:pt x="87028" y="486487"/>
                  </a:cubicBezTo>
                  <a:cubicBezTo>
                    <a:pt x="91863" y="445403"/>
                    <a:pt x="128125" y="413985"/>
                    <a:pt x="171639" y="413985"/>
                  </a:cubicBezTo>
                  <a:close/>
                  <a:moveTo>
                    <a:pt x="407851" y="0"/>
                  </a:moveTo>
                  <a:cubicBezTo>
                    <a:pt x="510032" y="0"/>
                    <a:pt x="592866" y="82834"/>
                    <a:pt x="592866" y="185016"/>
                  </a:cubicBezTo>
                  <a:cubicBezTo>
                    <a:pt x="592866" y="287198"/>
                    <a:pt x="510032" y="370032"/>
                    <a:pt x="407851" y="370032"/>
                  </a:cubicBezTo>
                  <a:cubicBezTo>
                    <a:pt x="305670" y="370032"/>
                    <a:pt x="222836" y="287198"/>
                    <a:pt x="222836" y="185016"/>
                  </a:cubicBezTo>
                  <a:cubicBezTo>
                    <a:pt x="222836" y="82834"/>
                    <a:pt x="305670" y="0"/>
                    <a:pt x="407851"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 name="Oval 54">
              <a:extLst>
                <a:ext uri="{FF2B5EF4-FFF2-40B4-BE49-F238E27FC236}">
                  <a16:creationId xmlns:a16="http://schemas.microsoft.com/office/drawing/2014/main" id="{E07749AA-989B-4A7E-9287-43C531DCDE75}"/>
                </a:ext>
              </a:extLst>
            </p:cNvPr>
            <p:cNvSpPr>
              <a:spLocks noChangeArrowheads="1"/>
            </p:cNvSpPr>
            <p:nvPr/>
          </p:nvSpPr>
          <p:spPr bwMode="auto">
            <a:xfrm>
              <a:off x="7901383" y="5808954"/>
              <a:ext cx="1907089" cy="205478"/>
            </a:xfrm>
            <a:prstGeom prst="ellipse">
              <a:avLst/>
            </a:prstGeom>
            <a:solidFill>
              <a:srgbClr val="14130A"/>
            </a:solidFill>
            <a:ln>
              <a:noFill/>
            </a:ln>
            <a:effectLst>
              <a:softEdge rad="31750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3" name="Oval 55">
              <a:extLst>
                <a:ext uri="{FF2B5EF4-FFF2-40B4-BE49-F238E27FC236}">
                  <a16:creationId xmlns:a16="http://schemas.microsoft.com/office/drawing/2014/main" id="{1D86FDCC-933E-4BA3-BF73-52E90CC4DEE6}"/>
                </a:ext>
              </a:extLst>
            </p:cNvPr>
            <p:cNvSpPr>
              <a:spLocks noChangeArrowheads="1"/>
            </p:cNvSpPr>
            <p:nvPr/>
          </p:nvSpPr>
          <p:spPr bwMode="auto">
            <a:xfrm>
              <a:off x="7901383" y="5808954"/>
              <a:ext cx="1907089" cy="205478"/>
            </a:xfrm>
            <a:prstGeom prst="ellipse">
              <a:avLst/>
            </a:pr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24" name="Freeform 78">
              <a:extLst>
                <a:ext uri="{FF2B5EF4-FFF2-40B4-BE49-F238E27FC236}">
                  <a16:creationId xmlns:a16="http://schemas.microsoft.com/office/drawing/2014/main" id="{12C174BF-DA4A-402F-9581-589705AA7853}"/>
                </a:ext>
              </a:extLst>
            </p:cNvPr>
            <p:cNvSpPr>
              <a:spLocks noChangeArrowheads="1"/>
            </p:cNvSpPr>
            <p:nvPr/>
          </p:nvSpPr>
          <p:spPr bwMode="auto">
            <a:xfrm>
              <a:off x="9447970" y="2979966"/>
              <a:ext cx="1082426" cy="2385926"/>
            </a:xfrm>
            <a:custGeom>
              <a:avLst/>
              <a:gdLst>
                <a:gd name="connsiteX0" fmla="*/ 251388 w 1206178"/>
                <a:gd name="connsiteY0" fmla="*/ 616378 h 2658704"/>
                <a:gd name="connsiteX1" fmla="*/ 952373 w 1206178"/>
                <a:gd name="connsiteY1" fmla="*/ 616378 h 2658704"/>
                <a:gd name="connsiteX2" fmla="*/ 1078067 w 1206178"/>
                <a:gd name="connsiteY2" fmla="*/ 722724 h 2658704"/>
                <a:gd name="connsiteX3" fmla="*/ 1203761 w 1206178"/>
                <a:gd name="connsiteY3" fmla="*/ 1389803 h 2658704"/>
                <a:gd name="connsiteX4" fmla="*/ 1203761 w 1206178"/>
                <a:gd name="connsiteY4" fmla="*/ 1404305 h 2658704"/>
                <a:gd name="connsiteX5" fmla="*/ 1206178 w 1206178"/>
                <a:gd name="connsiteY5" fmla="*/ 1421224 h 2658704"/>
                <a:gd name="connsiteX6" fmla="*/ 1078067 w 1206178"/>
                <a:gd name="connsiteY6" fmla="*/ 1549322 h 2658704"/>
                <a:gd name="connsiteX7" fmla="*/ 952373 w 1206178"/>
                <a:gd name="connsiteY7" fmla="*/ 1445393 h 2658704"/>
                <a:gd name="connsiteX8" fmla="*/ 872606 w 1206178"/>
                <a:gd name="connsiteY8" fmla="*/ 949918 h 2658704"/>
                <a:gd name="connsiteX9" fmla="*/ 872606 w 1206178"/>
                <a:gd name="connsiteY9" fmla="*/ 2530606 h 2658704"/>
                <a:gd name="connsiteX10" fmla="*/ 744495 w 1206178"/>
                <a:gd name="connsiteY10" fmla="*/ 2658704 h 2658704"/>
                <a:gd name="connsiteX11" fmla="*/ 618801 w 1206178"/>
                <a:gd name="connsiteY11" fmla="*/ 2530606 h 2658704"/>
                <a:gd name="connsiteX12" fmla="*/ 618801 w 1206178"/>
                <a:gd name="connsiteY12" fmla="*/ 1747513 h 2658704"/>
                <a:gd name="connsiteX13" fmla="*/ 587377 w 1206178"/>
                <a:gd name="connsiteY13" fmla="*/ 1747513 h 2658704"/>
                <a:gd name="connsiteX14" fmla="*/ 587377 w 1206178"/>
                <a:gd name="connsiteY14" fmla="*/ 2530606 h 2658704"/>
                <a:gd name="connsiteX15" fmla="*/ 459266 w 1206178"/>
                <a:gd name="connsiteY15" fmla="*/ 2658704 h 2658704"/>
                <a:gd name="connsiteX16" fmla="*/ 331155 w 1206178"/>
                <a:gd name="connsiteY16" fmla="*/ 2530606 h 2658704"/>
                <a:gd name="connsiteX17" fmla="*/ 333572 w 1206178"/>
                <a:gd name="connsiteY17" fmla="*/ 949918 h 2658704"/>
                <a:gd name="connsiteX18" fmla="*/ 253805 w 1206178"/>
                <a:gd name="connsiteY18" fmla="*/ 1445393 h 2658704"/>
                <a:gd name="connsiteX19" fmla="*/ 128111 w 1206178"/>
                <a:gd name="connsiteY19" fmla="*/ 1549322 h 2658704"/>
                <a:gd name="connsiteX20" fmla="*/ 0 w 1206178"/>
                <a:gd name="connsiteY20" fmla="*/ 1421224 h 2658704"/>
                <a:gd name="connsiteX21" fmla="*/ 0 w 1206178"/>
                <a:gd name="connsiteY21" fmla="*/ 1404305 h 2658704"/>
                <a:gd name="connsiteX22" fmla="*/ 0 w 1206178"/>
                <a:gd name="connsiteY22" fmla="*/ 1389803 h 2658704"/>
                <a:gd name="connsiteX23" fmla="*/ 125694 w 1206178"/>
                <a:gd name="connsiteY23" fmla="*/ 722724 h 2658704"/>
                <a:gd name="connsiteX24" fmla="*/ 251388 w 1206178"/>
                <a:gd name="connsiteY24" fmla="*/ 616378 h 2658704"/>
                <a:gd name="connsiteX25" fmla="*/ 603600 w 1206178"/>
                <a:gd name="connsiteY25" fmla="*/ 0 h 2658704"/>
                <a:gd name="connsiteX26" fmla="*/ 878057 w 1206178"/>
                <a:gd name="connsiteY26" fmla="*/ 274457 h 2658704"/>
                <a:gd name="connsiteX27" fmla="*/ 603600 w 1206178"/>
                <a:gd name="connsiteY27" fmla="*/ 548914 h 2658704"/>
                <a:gd name="connsiteX28" fmla="*/ 329143 w 1206178"/>
                <a:gd name="connsiteY28" fmla="*/ 274457 h 2658704"/>
                <a:gd name="connsiteX29" fmla="*/ 603600 w 1206178"/>
                <a:gd name="connsiteY29" fmla="*/ 0 h 265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6178" h="2658704">
                  <a:moveTo>
                    <a:pt x="251388" y="616378"/>
                  </a:moveTo>
                  <a:cubicBezTo>
                    <a:pt x="251388" y="616378"/>
                    <a:pt x="251388" y="616378"/>
                    <a:pt x="952373" y="616378"/>
                  </a:cubicBezTo>
                  <a:cubicBezTo>
                    <a:pt x="1015220" y="616378"/>
                    <a:pt x="1068398" y="659883"/>
                    <a:pt x="1078067" y="722724"/>
                  </a:cubicBezTo>
                  <a:cubicBezTo>
                    <a:pt x="1078067" y="722724"/>
                    <a:pt x="1078067" y="722724"/>
                    <a:pt x="1203761" y="1389803"/>
                  </a:cubicBezTo>
                  <a:cubicBezTo>
                    <a:pt x="1206178" y="1394637"/>
                    <a:pt x="1206178" y="1399471"/>
                    <a:pt x="1203761" y="1404305"/>
                  </a:cubicBezTo>
                  <a:cubicBezTo>
                    <a:pt x="1203761" y="1411556"/>
                    <a:pt x="1206178" y="1416390"/>
                    <a:pt x="1206178" y="1421224"/>
                  </a:cubicBezTo>
                  <a:cubicBezTo>
                    <a:pt x="1206178" y="1493732"/>
                    <a:pt x="1148165" y="1549322"/>
                    <a:pt x="1078067" y="1549322"/>
                  </a:cubicBezTo>
                  <a:cubicBezTo>
                    <a:pt x="1015220" y="1549322"/>
                    <a:pt x="962042" y="1505817"/>
                    <a:pt x="952373" y="1445393"/>
                  </a:cubicBezTo>
                  <a:cubicBezTo>
                    <a:pt x="952373" y="1445393"/>
                    <a:pt x="952373" y="1445393"/>
                    <a:pt x="872606" y="949918"/>
                  </a:cubicBezTo>
                  <a:cubicBezTo>
                    <a:pt x="872606" y="949918"/>
                    <a:pt x="872606" y="949918"/>
                    <a:pt x="872606" y="2530606"/>
                  </a:cubicBezTo>
                  <a:cubicBezTo>
                    <a:pt x="872606" y="2600697"/>
                    <a:pt x="817010" y="2658704"/>
                    <a:pt x="744495" y="2658704"/>
                  </a:cubicBezTo>
                  <a:cubicBezTo>
                    <a:pt x="674396" y="2658704"/>
                    <a:pt x="618801" y="2600697"/>
                    <a:pt x="618801" y="2530606"/>
                  </a:cubicBezTo>
                  <a:cubicBezTo>
                    <a:pt x="618801" y="2530606"/>
                    <a:pt x="618801" y="2530606"/>
                    <a:pt x="618801" y="1747513"/>
                  </a:cubicBezTo>
                  <a:cubicBezTo>
                    <a:pt x="618801" y="1747513"/>
                    <a:pt x="618801" y="1747513"/>
                    <a:pt x="587377" y="1747513"/>
                  </a:cubicBezTo>
                  <a:cubicBezTo>
                    <a:pt x="587377" y="1747513"/>
                    <a:pt x="587377" y="1747513"/>
                    <a:pt x="587377" y="2530606"/>
                  </a:cubicBezTo>
                  <a:cubicBezTo>
                    <a:pt x="587377" y="2600697"/>
                    <a:pt x="529365" y="2658704"/>
                    <a:pt x="459266" y="2658704"/>
                  </a:cubicBezTo>
                  <a:cubicBezTo>
                    <a:pt x="389168" y="2658704"/>
                    <a:pt x="331155" y="2600697"/>
                    <a:pt x="331155" y="2530606"/>
                  </a:cubicBezTo>
                  <a:cubicBezTo>
                    <a:pt x="331155" y="2530606"/>
                    <a:pt x="331155" y="2530606"/>
                    <a:pt x="333572" y="949918"/>
                  </a:cubicBezTo>
                  <a:cubicBezTo>
                    <a:pt x="333572" y="949918"/>
                    <a:pt x="333572" y="949918"/>
                    <a:pt x="253805" y="1445393"/>
                  </a:cubicBezTo>
                  <a:cubicBezTo>
                    <a:pt x="241719" y="1505817"/>
                    <a:pt x="188541" y="1549322"/>
                    <a:pt x="128111" y="1549322"/>
                  </a:cubicBezTo>
                  <a:cubicBezTo>
                    <a:pt x="58013" y="1549322"/>
                    <a:pt x="0" y="1493732"/>
                    <a:pt x="0" y="1421224"/>
                  </a:cubicBezTo>
                  <a:cubicBezTo>
                    <a:pt x="0" y="1416390"/>
                    <a:pt x="0" y="1411556"/>
                    <a:pt x="0" y="1404305"/>
                  </a:cubicBezTo>
                  <a:cubicBezTo>
                    <a:pt x="0" y="1399471"/>
                    <a:pt x="0" y="1394637"/>
                    <a:pt x="0" y="1389803"/>
                  </a:cubicBezTo>
                  <a:cubicBezTo>
                    <a:pt x="0" y="1389803"/>
                    <a:pt x="0" y="1389803"/>
                    <a:pt x="125694" y="722724"/>
                  </a:cubicBezTo>
                  <a:cubicBezTo>
                    <a:pt x="135363" y="659883"/>
                    <a:pt x="188541" y="616378"/>
                    <a:pt x="251388" y="616378"/>
                  </a:cubicBezTo>
                  <a:close/>
                  <a:moveTo>
                    <a:pt x="603600" y="0"/>
                  </a:moveTo>
                  <a:cubicBezTo>
                    <a:pt x="755178" y="0"/>
                    <a:pt x="878057" y="122879"/>
                    <a:pt x="878057" y="274457"/>
                  </a:cubicBezTo>
                  <a:cubicBezTo>
                    <a:pt x="878057" y="426035"/>
                    <a:pt x="755178" y="548914"/>
                    <a:pt x="603600" y="548914"/>
                  </a:cubicBezTo>
                  <a:cubicBezTo>
                    <a:pt x="452022" y="548914"/>
                    <a:pt x="329143" y="426035"/>
                    <a:pt x="329143" y="274457"/>
                  </a:cubicBezTo>
                  <a:cubicBezTo>
                    <a:pt x="329143" y="122879"/>
                    <a:pt x="452022" y="0"/>
                    <a:pt x="603600" y="0"/>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5" name="Freeform 79">
              <a:extLst>
                <a:ext uri="{FF2B5EF4-FFF2-40B4-BE49-F238E27FC236}">
                  <a16:creationId xmlns:a16="http://schemas.microsoft.com/office/drawing/2014/main" id="{6F8A5021-059C-4BB5-A56C-E0F8D60E8AFE}"/>
                </a:ext>
              </a:extLst>
            </p:cNvPr>
            <p:cNvSpPr>
              <a:spLocks noChangeArrowheads="1"/>
            </p:cNvSpPr>
            <p:nvPr/>
          </p:nvSpPr>
          <p:spPr bwMode="auto">
            <a:xfrm>
              <a:off x="7227701" y="2979966"/>
              <a:ext cx="1082515" cy="2385926"/>
            </a:xfrm>
            <a:custGeom>
              <a:avLst/>
              <a:gdLst>
                <a:gd name="connsiteX0" fmla="*/ 253123 w 1206277"/>
                <a:gd name="connsiteY0" fmla="*/ 616378 h 2658704"/>
                <a:gd name="connsiteX1" fmla="*/ 953893 w 1206277"/>
                <a:gd name="connsiteY1" fmla="*/ 616378 h 2658704"/>
                <a:gd name="connsiteX2" fmla="*/ 1079548 w 1206277"/>
                <a:gd name="connsiteY2" fmla="*/ 722724 h 2658704"/>
                <a:gd name="connsiteX3" fmla="*/ 1205204 w 1206277"/>
                <a:gd name="connsiteY3" fmla="*/ 1389803 h 2658704"/>
                <a:gd name="connsiteX4" fmla="*/ 1205204 w 1206277"/>
                <a:gd name="connsiteY4" fmla="*/ 1404305 h 2658704"/>
                <a:gd name="connsiteX5" fmla="*/ 1205204 w 1206277"/>
                <a:gd name="connsiteY5" fmla="*/ 1421224 h 2658704"/>
                <a:gd name="connsiteX6" fmla="*/ 1077132 w 1206277"/>
                <a:gd name="connsiteY6" fmla="*/ 1549322 h 2658704"/>
                <a:gd name="connsiteX7" fmla="*/ 951477 w 1206277"/>
                <a:gd name="connsiteY7" fmla="*/ 1445393 h 2658704"/>
                <a:gd name="connsiteX8" fmla="*/ 874150 w 1206277"/>
                <a:gd name="connsiteY8" fmla="*/ 949918 h 2658704"/>
                <a:gd name="connsiteX9" fmla="*/ 874150 w 1206277"/>
                <a:gd name="connsiteY9" fmla="*/ 2530606 h 2658704"/>
                <a:gd name="connsiteX10" fmla="*/ 746079 w 1206277"/>
                <a:gd name="connsiteY10" fmla="*/ 2658704 h 2658704"/>
                <a:gd name="connsiteX11" fmla="*/ 618007 w 1206277"/>
                <a:gd name="connsiteY11" fmla="*/ 2530606 h 2658704"/>
                <a:gd name="connsiteX12" fmla="*/ 618007 w 1206277"/>
                <a:gd name="connsiteY12" fmla="*/ 1747513 h 2658704"/>
                <a:gd name="connsiteX13" fmla="*/ 589010 w 1206277"/>
                <a:gd name="connsiteY13" fmla="*/ 1747513 h 2658704"/>
                <a:gd name="connsiteX14" fmla="*/ 589010 w 1206277"/>
                <a:gd name="connsiteY14" fmla="*/ 2530606 h 2658704"/>
                <a:gd name="connsiteX15" fmla="*/ 460938 w 1206277"/>
                <a:gd name="connsiteY15" fmla="*/ 2658704 h 2658704"/>
                <a:gd name="connsiteX16" fmla="*/ 332866 w 1206277"/>
                <a:gd name="connsiteY16" fmla="*/ 2530606 h 2658704"/>
                <a:gd name="connsiteX17" fmla="*/ 332866 w 1206277"/>
                <a:gd name="connsiteY17" fmla="*/ 949918 h 2658704"/>
                <a:gd name="connsiteX18" fmla="*/ 253123 w 1206277"/>
                <a:gd name="connsiteY18" fmla="*/ 1445393 h 2658704"/>
                <a:gd name="connsiteX19" fmla="*/ 127467 w 1206277"/>
                <a:gd name="connsiteY19" fmla="*/ 1549322 h 2658704"/>
                <a:gd name="connsiteX20" fmla="*/ 1812 w 1206277"/>
                <a:gd name="connsiteY20" fmla="*/ 1421224 h 2658704"/>
                <a:gd name="connsiteX21" fmla="*/ 1812 w 1206277"/>
                <a:gd name="connsiteY21" fmla="*/ 1404305 h 2658704"/>
                <a:gd name="connsiteX22" fmla="*/ 1812 w 1206277"/>
                <a:gd name="connsiteY22" fmla="*/ 1389803 h 2658704"/>
                <a:gd name="connsiteX23" fmla="*/ 127467 w 1206277"/>
                <a:gd name="connsiteY23" fmla="*/ 722724 h 2658704"/>
                <a:gd name="connsiteX24" fmla="*/ 253123 w 1206277"/>
                <a:gd name="connsiteY24" fmla="*/ 616378 h 2658704"/>
                <a:gd name="connsiteX25" fmla="*/ 603509 w 1206277"/>
                <a:gd name="connsiteY25" fmla="*/ 0 h 2658704"/>
                <a:gd name="connsiteX26" fmla="*/ 876433 w 1206277"/>
                <a:gd name="connsiteY26" fmla="*/ 274457 h 2658704"/>
                <a:gd name="connsiteX27" fmla="*/ 603509 w 1206277"/>
                <a:gd name="connsiteY27" fmla="*/ 548914 h 2658704"/>
                <a:gd name="connsiteX28" fmla="*/ 330585 w 1206277"/>
                <a:gd name="connsiteY28" fmla="*/ 274457 h 2658704"/>
                <a:gd name="connsiteX29" fmla="*/ 603509 w 1206277"/>
                <a:gd name="connsiteY29" fmla="*/ 0 h 265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6277" h="2658704">
                  <a:moveTo>
                    <a:pt x="253123" y="616378"/>
                  </a:moveTo>
                  <a:cubicBezTo>
                    <a:pt x="253123" y="616378"/>
                    <a:pt x="253123" y="616378"/>
                    <a:pt x="953893" y="616378"/>
                  </a:cubicBezTo>
                  <a:cubicBezTo>
                    <a:pt x="1016721" y="616378"/>
                    <a:pt x="1069883" y="659883"/>
                    <a:pt x="1079548" y="722724"/>
                  </a:cubicBezTo>
                  <a:cubicBezTo>
                    <a:pt x="1079548" y="722724"/>
                    <a:pt x="1079548" y="722724"/>
                    <a:pt x="1205204" y="1389803"/>
                  </a:cubicBezTo>
                  <a:cubicBezTo>
                    <a:pt x="1207620" y="1394637"/>
                    <a:pt x="1205204" y="1399471"/>
                    <a:pt x="1205204" y="1404305"/>
                  </a:cubicBezTo>
                  <a:cubicBezTo>
                    <a:pt x="1205204" y="1411556"/>
                    <a:pt x="1205204" y="1416390"/>
                    <a:pt x="1205204" y="1421224"/>
                  </a:cubicBezTo>
                  <a:cubicBezTo>
                    <a:pt x="1205204" y="1493732"/>
                    <a:pt x="1149625" y="1549322"/>
                    <a:pt x="1077132" y="1549322"/>
                  </a:cubicBezTo>
                  <a:cubicBezTo>
                    <a:pt x="1016721" y="1549322"/>
                    <a:pt x="963559" y="1505817"/>
                    <a:pt x="951477" y="1445393"/>
                  </a:cubicBezTo>
                  <a:cubicBezTo>
                    <a:pt x="951477" y="1445393"/>
                    <a:pt x="951477" y="1445393"/>
                    <a:pt x="874150" y="949918"/>
                  </a:cubicBezTo>
                  <a:cubicBezTo>
                    <a:pt x="874150" y="949918"/>
                    <a:pt x="874150" y="949918"/>
                    <a:pt x="874150" y="2530606"/>
                  </a:cubicBezTo>
                  <a:cubicBezTo>
                    <a:pt x="874150" y="2600697"/>
                    <a:pt x="816156" y="2658704"/>
                    <a:pt x="746079" y="2658704"/>
                  </a:cubicBezTo>
                  <a:cubicBezTo>
                    <a:pt x="676002" y="2658704"/>
                    <a:pt x="618007" y="2600697"/>
                    <a:pt x="618007" y="2530606"/>
                  </a:cubicBezTo>
                  <a:cubicBezTo>
                    <a:pt x="618007" y="2530606"/>
                    <a:pt x="618007" y="2530606"/>
                    <a:pt x="618007" y="1747513"/>
                  </a:cubicBezTo>
                  <a:cubicBezTo>
                    <a:pt x="618007" y="1747513"/>
                    <a:pt x="618007" y="1747513"/>
                    <a:pt x="589010" y="1747513"/>
                  </a:cubicBezTo>
                  <a:cubicBezTo>
                    <a:pt x="589010" y="1747513"/>
                    <a:pt x="589010" y="1747513"/>
                    <a:pt x="589010" y="2530606"/>
                  </a:cubicBezTo>
                  <a:cubicBezTo>
                    <a:pt x="589010" y="2600697"/>
                    <a:pt x="531015" y="2658704"/>
                    <a:pt x="460938" y="2658704"/>
                  </a:cubicBezTo>
                  <a:cubicBezTo>
                    <a:pt x="390861" y="2658704"/>
                    <a:pt x="332866" y="2600697"/>
                    <a:pt x="332866" y="2530606"/>
                  </a:cubicBezTo>
                  <a:cubicBezTo>
                    <a:pt x="332866" y="2530606"/>
                    <a:pt x="332866" y="2530606"/>
                    <a:pt x="332866" y="949918"/>
                  </a:cubicBezTo>
                  <a:cubicBezTo>
                    <a:pt x="332866" y="949918"/>
                    <a:pt x="332866" y="949918"/>
                    <a:pt x="253123" y="1445393"/>
                  </a:cubicBezTo>
                  <a:cubicBezTo>
                    <a:pt x="243457" y="1505817"/>
                    <a:pt x="190295" y="1549322"/>
                    <a:pt x="127467" y="1549322"/>
                  </a:cubicBezTo>
                  <a:cubicBezTo>
                    <a:pt x="57391" y="1549322"/>
                    <a:pt x="1812" y="1493732"/>
                    <a:pt x="1812" y="1421224"/>
                  </a:cubicBezTo>
                  <a:cubicBezTo>
                    <a:pt x="1812" y="1416390"/>
                    <a:pt x="1812" y="1411556"/>
                    <a:pt x="1812" y="1404305"/>
                  </a:cubicBezTo>
                  <a:cubicBezTo>
                    <a:pt x="-604" y="1399471"/>
                    <a:pt x="-604" y="1394637"/>
                    <a:pt x="1812" y="1389803"/>
                  </a:cubicBezTo>
                  <a:cubicBezTo>
                    <a:pt x="1812" y="1389803"/>
                    <a:pt x="1812" y="1389803"/>
                    <a:pt x="127467" y="722724"/>
                  </a:cubicBezTo>
                  <a:cubicBezTo>
                    <a:pt x="137133" y="659883"/>
                    <a:pt x="190295" y="616378"/>
                    <a:pt x="253123" y="616378"/>
                  </a:cubicBezTo>
                  <a:close/>
                  <a:moveTo>
                    <a:pt x="603509" y="0"/>
                  </a:moveTo>
                  <a:cubicBezTo>
                    <a:pt x="754241" y="0"/>
                    <a:pt x="876433" y="122879"/>
                    <a:pt x="876433" y="274457"/>
                  </a:cubicBezTo>
                  <a:cubicBezTo>
                    <a:pt x="876433" y="426035"/>
                    <a:pt x="754241" y="548914"/>
                    <a:pt x="603509" y="548914"/>
                  </a:cubicBezTo>
                  <a:cubicBezTo>
                    <a:pt x="452777" y="548914"/>
                    <a:pt x="330585" y="426035"/>
                    <a:pt x="330585" y="274457"/>
                  </a:cubicBezTo>
                  <a:cubicBezTo>
                    <a:pt x="330585" y="122879"/>
                    <a:pt x="452777" y="0"/>
                    <a:pt x="603509" y="0"/>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nvGrpSpPr>
            <p:cNvPr id="26" name="Group 25">
              <a:extLst>
                <a:ext uri="{FF2B5EF4-FFF2-40B4-BE49-F238E27FC236}">
                  <a16:creationId xmlns:a16="http://schemas.microsoft.com/office/drawing/2014/main" id="{131F9CAB-4D34-4768-AB11-652BC5826144}"/>
                </a:ext>
              </a:extLst>
            </p:cNvPr>
            <p:cNvGrpSpPr/>
            <p:nvPr/>
          </p:nvGrpSpPr>
          <p:grpSpPr>
            <a:xfrm>
              <a:off x="8218348" y="1591217"/>
              <a:ext cx="3973653" cy="3624241"/>
              <a:chOff x="8218348" y="1642733"/>
              <a:chExt cx="3973653" cy="3624241"/>
            </a:xfrm>
          </p:grpSpPr>
          <p:sp>
            <p:nvSpPr>
              <p:cNvPr id="27" name="Freeform 61">
                <a:extLst>
                  <a:ext uri="{FF2B5EF4-FFF2-40B4-BE49-F238E27FC236}">
                    <a16:creationId xmlns:a16="http://schemas.microsoft.com/office/drawing/2014/main" id="{D4779452-5B68-4F2B-8927-7728E6E49399}"/>
                  </a:ext>
                </a:extLst>
              </p:cNvPr>
              <p:cNvSpPr>
                <a:spLocks/>
              </p:cNvSpPr>
              <p:nvPr/>
            </p:nvSpPr>
            <p:spPr bwMode="auto">
              <a:xfrm>
                <a:off x="8896463" y="1919179"/>
                <a:ext cx="219021" cy="616171"/>
              </a:xfrm>
              <a:custGeom>
                <a:avLst/>
                <a:gdLst>
                  <a:gd name="T0" fmla="*/ 50 w 134"/>
                  <a:gd name="T1" fmla="*/ 374 h 376"/>
                  <a:gd name="T2" fmla="*/ 50 w 134"/>
                  <a:gd name="T3" fmla="*/ 374 h 376"/>
                  <a:gd name="T4" fmla="*/ 2 w 134"/>
                  <a:gd name="T5" fmla="*/ 319 h 376"/>
                  <a:gd name="T6" fmla="*/ 29 w 134"/>
                  <a:gd name="T7" fmla="*/ 50 h 376"/>
                  <a:gd name="T8" fmla="*/ 84 w 134"/>
                  <a:gd name="T9" fmla="*/ 2 h 376"/>
                  <a:gd name="T10" fmla="*/ 84 w 134"/>
                  <a:gd name="T11" fmla="*/ 2 h 376"/>
                  <a:gd name="T12" fmla="*/ 132 w 134"/>
                  <a:gd name="T13" fmla="*/ 57 h 376"/>
                  <a:gd name="T14" fmla="*/ 105 w 134"/>
                  <a:gd name="T15" fmla="*/ 326 h 376"/>
                  <a:gd name="T16" fmla="*/ 50 w 134"/>
                  <a:gd name="T17" fmla="*/ 37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376">
                    <a:moveTo>
                      <a:pt x="50" y="374"/>
                    </a:moveTo>
                    <a:cubicBezTo>
                      <a:pt x="50" y="374"/>
                      <a:pt x="50" y="374"/>
                      <a:pt x="50" y="374"/>
                    </a:cubicBezTo>
                    <a:cubicBezTo>
                      <a:pt x="22" y="372"/>
                      <a:pt x="0" y="347"/>
                      <a:pt x="2" y="319"/>
                    </a:cubicBezTo>
                    <a:cubicBezTo>
                      <a:pt x="29" y="50"/>
                      <a:pt x="29" y="50"/>
                      <a:pt x="29" y="50"/>
                    </a:cubicBezTo>
                    <a:cubicBezTo>
                      <a:pt x="32" y="22"/>
                      <a:pt x="56" y="0"/>
                      <a:pt x="84" y="2"/>
                    </a:cubicBezTo>
                    <a:cubicBezTo>
                      <a:pt x="84" y="2"/>
                      <a:pt x="84" y="2"/>
                      <a:pt x="84" y="2"/>
                    </a:cubicBezTo>
                    <a:cubicBezTo>
                      <a:pt x="112" y="4"/>
                      <a:pt x="134" y="29"/>
                      <a:pt x="132" y="57"/>
                    </a:cubicBezTo>
                    <a:cubicBezTo>
                      <a:pt x="105" y="326"/>
                      <a:pt x="105" y="326"/>
                      <a:pt x="105" y="326"/>
                    </a:cubicBezTo>
                    <a:cubicBezTo>
                      <a:pt x="103" y="354"/>
                      <a:pt x="79" y="376"/>
                      <a:pt x="50" y="374"/>
                    </a:cubicBezTo>
                    <a:close/>
                  </a:path>
                </a:pathLst>
              </a:custGeom>
              <a:solidFill>
                <a:srgbClr val="D4B1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8" name="Freeform 62">
                <a:extLst>
                  <a:ext uri="{FF2B5EF4-FFF2-40B4-BE49-F238E27FC236}">
                    <a16:creationId xmlns:a16="http://schemas.microsoft.com/office/drawing/2014/main" id="{A6931D92-BCA1-4827-B1BA-4E07AA768606}"/>
                  </a:ext>
                </a:extLst>
              </p:cNvPr>
              <p:cNvSpPr>
                <a:spLocks/>
              </p:cNvSpPr>
              <p:nvPr/>
            </p:nvSpPr>
            <p:spPr bwMode="auto">
              <a:xfrm>
                <a:off x="9076669" y="1894228"/>
                <a:ext cx="199614" cy="619636"/>
              </a:xfrm>
              <a:custGeom>
                <a:avLst/>
                <a:gdLst>
                  <a:gd name="T0" fmla="*/ 74 w 122"/>
                  <a:gd name="T1" fmla="*/ 375 h 378"/>
                  <a:gd name="T2" fmla="*/ 74 w 122"/>
                  <a:gd name="T3" fmla="*/ 375 h 378"/>
                  <a:gd name="T4" fmla="*/ 18 w 122"/>
                  <a:gd name="T5" fmla="*/ 329 h 378"/>
                  <a:gd name="T6" fmla="*/ 1 w 122"/>
                  <a:gd name="T7" fmla="*/ 59 h 378"/>
                  <a:gd name="T8" fmla="*/ 48 w 122"/>
                  <a:gd name="T9" fmla="*/ 3 h 378"/>
                  <a:gd name="T10" fmla="*/ 48 w 122"/>
                  <a:gd name="T11" fmla="*/ 3 h 378"/>
                  <a:gd name="T12" fmla="*/ 104 w 122"/>
                  <a:gd name="T13" fmla="*/ 49 h 378"/>
                  <a:gd name="T14" fmla="*/ 121 w 122"/>
                  <a:gd name="T15" fmla="*/ 319 h 378"/>
                  <a:gd name="T16" fmla="*/ 74 w 122"/>
                  <a:gd name="T17" fmla="*/ 375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378">
                    <a:moveTo>
                      <a:pt x="74" y="375"/>
                    </a:moveTo>
                    <a:cubicBezTo>
                      <a:pt x="74" y="375"/>
                      <a:pt x="74" y="375"/>
                      <a:pt x="74" y="375"/>
                    </a:cubicBezTo>
                    <a:cubicBezTo>
                      <a:pt x="46" y="378"/>
                      <a:pt x="20" y="357"/>
                      <a:pt x="18" y="329"/>
                    </a:cubicBezTo>
                    <a:cubicBezTo>
                      <a:pt x="1" y="59"/>
                      <a:pt x="1" y="59"/>
                      <a:pt x="1" y="59"/>
                    </a:cubicBezTo>
                    <a:cubicBezTo>
                      <a:pt x="0" y="31"/>
                      <a:pt x="20" y="5"/>
                      <a:pt x="48" y="3"/>
                    </a:cubicBezTo>
                    <a:cubicBezTo>
                      <a:pt x="48" y="3"/>
                      <a:pt x="48" y="3"/>
                      <a:pt x="48" y="3"/>
                    </a:cubicBezTo>
                    <a:cubicBezTo>
                      <a:pt x="76" y="0"/>
                      <a:pt x="101" y="21"/>
                      <a:pt x="104" y="49"/>
                    </a:cubicBezTo>
                    <a:cubicBezTo>
                      <a:pt x="121" y="319"/>
                      <a:pt x="121" y="319"/>
                      <a:pt x="121" y="319"/>
                    </a:cubicBezTo>
                    <a:cubicBezTo>
                      <a:pt x="122" y="348"/>
                      <a:pt x="102" y="373"/>
                      <a:pt x="74" y="375"/>
                    </a:cubicBezTo>
                    <a:close/>
                  </a:path>
                </a:pathLst>
              </a:custGeom>
              <a:solidFill>
                <a:srgbClr val="D4B1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9" name="Freeform 63">
                <a:extLst>
                  <a:ext uri="{FF2B5EF4-FFF2-40B4-BE49-F238E27FC236}">
                    <a16:creationId xmlns:a16="http://schemas.microsoft.com/office/drawing/2014/main" id="{5D8D0F8A-6D84-4EDF-A14E-C0B012C8A585}"/>
                  </a:ext>
                </a:extLst>
              </p:cNvPr>
              <p:cNvSpPr>
                <a:spLocks/>
              </p:cNvSpPr>
              <p:nvPr/>
            </p:nvSpPr>
            <p:spPr bwMode="auto">
              <a:xfrm>
                <a:off x="8892998" y="1746597"/>
                <a:ext cx="810934" cy="609934"/>
              </a:xfrm>
              <a:custGeom>
                <a:avLst/>
                <a:gdLst>
                  <a:gd name="T0" fmla="*/ 1170 w 1170"/>
                  <a:gd name="T1" fmla="*/ 270 h 880"/>
                  <a:gd name="T2" fmla="*/ 428 w 1170"/>
                  <a:gd name="T3" fmla="*/ 0 h 880"/>
                  <a:gd name="T4" fmla="*/ 0 w 1170"/>
                  <a:gd name="T5" fmla="*/ 469 h 880"/>
                  <a:gd name="T6" fmla="*/ 14 w 1170"/>
                  <a:gd name="T7" fmla="*/ 880 h 880"/>
                  <a:gd name="T8" fmla="*/ 1014 w 1170"/>
                  <a:gd name="T9" fmla="*/ 660 h 880"/>
                  <a:gd name="T10" fmla="*/ 1170 w 1170"/>
                  <a:gd name="T11" fmla="*/ 270 h 880"/>
                </a:gdLst>
                <a:ahLst/>
                <a:cxnLst>
                  <a:cxn ang="0">
                    <a:pos x="T0" y="T1"/>
                  </a:cxn>
                  <a:cxn ang="0">
                    <a:pos x="T2" y="T3"/>
                  </a:cxn>
                  <a:cxn ang="0">
                    <a:pos x="T4" y="T5"/>
                  </a:cxn>
                  <a:cxn ang="0">
                    <a:pos x="T6" y="T7"/>
                  </a:cxn>
                  <a:cxn ang="0">
                    <a:pos x="T8" y="T9"/>
                  </a:cxn>
                  <a:cxn ang="0">
                    <a:pos x="T10" y="T11"/>
                  </a:cxn>
                </a:cxnLst>
                <a:rect l="0" t="0" r="r" b="b"/>
                <a:pathLst>
                  <a:path w="1170" h="880">
                    <a:moveTo>
                      <a:pt x="1170" y="270"/>
                    </a:moveTo>
                    <a:lnTo>
                      <a:pt x="428" y="0"/>
                    </a:lnTo>
                    <a:lnTo>
                      <a:pt x="0" y="469"/>
                    </a:lnTo>
                    <a:lnTo>
                      <a:pt x="14" y="880"/>
                    </a:lnTo>
                    <a:lnTo>
                      <a:pt x="1014" y="660"/>
                    </a:lnTo>
                    <a:lnTo>
                      <a:pt x="1170" y="270"/>
                    </a:lnTo>
                    <a:close/>
                  </a:path>
                </a:pathLst>
              </a:custGeom>
              <a:solidFill>
                <a:srgbClr val="D4B1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0" name="Freeform 64">
                <a:extLst>
                  <a:ext uri="{FF2B5EF4-FFF2-40B4-BE49-F238E27FC236}">
                    <a16:creationId xmlns:a16="http://schemas.microsoft.com/office/drawing/2014/main" id="{800193FF-E698-445B-BBA2-5B1A0408622E}"/>
                  </a:ext>
                </a:extLst>
              </p:cNvPr>
              <p:cNvSpPr>
                <a:spLocks/>
              </p:cNvSpPr>
              <p:nvPr/>
            </p:nvSpPr>
            <p:spPr bwMode="auto">
              <a:xfrm>
                <a:off x="9112711" y="1845017"/>
                <a:ext cx="336156" cy="609934"/>
              </a:xfrm>
              <a:custGeom>
                <a:avLst/>
                <a:gdLst>
                  <a:gd name="T0" fmla="*/ 166 w 205"/>
                  <a:gd name="T1" fmla="*/ 362 h 372"/>
                  <a:gd name="T2" fmla="*/ 166 w 205"/>
                  <a:gd name="T3" fmla="*/ 362 h 372"/>
                  <a:gd name="T4" fmla="*/ 99 w 205"/>
                  <a:gd name="T5" fmla="*/ 333 h 372"/>
                  <a:gd name="T6" fmla="*/ 10 w 205"/>
                  <a:gd name="T7" fmla="*/ 77 h 372"/>
                  <a:gd name="T8" fmla="*/ 39 w 205"/>
                  <a:gd name="T9" fmla="*/ 11 h 372"/>
                  <a:gd name="T10" fmla="*/ 39 w 205"/>
                  <a:gd name="T11" fmla="*/ 11 h 372"/>
                  <a:gd name="T12" fmla="*/ 106 w 205"/>
                  <a:gd name="T13" fmla="*/ 40 h 372"/>
                  <a:gd name="T14" fmla="*/ 195 w 205"/>
                  <a:gd name="T15" fmla="*/ 296 h 372"/>
                  <a:gd name="T16" fmla="*/ 166 w 205"/>
                  <a:gd name="T17" fmla="*/ 36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372">
                    <a:moveTo>
                      <a:pt x="166" y="362"/>
                    </a:moveTo>
                    <a:cubicBezTo>
                      <a:pt x="166" y="362"/>
                      <a:pt x="166" y="362"/>
                      <a:pt x="166" y="362"/>
                    </a:cubicBezTo>
                    <a:cubicBezTo>
                      <a:pt x="139" y="372"/>
                      <a:pt x="108" y="359"/>
                      <a:pt x="99" y="333"/>
                    </a:cubicBezTo>
                    <a:cubicBezTo>
                      <a:pt x="10" y="77"/>
                      <a:pt x="10" y="77"/>
                      <a:pt x="10" y="77"/>
                    </a:cubicBezTo>
                    <a:cubicBezTo>
                      <a:pt x="0" y="51"/>
                      <a:pt x="13" y="21"/>
                      <a:pt x="39" y="11"/>
                    </a:cubicBezTo>
                    <a:cubicBezTo>
                      <a:pt x="39" y="11"/>
                      <a:pt x="39" y="11"/>
                      <a:pt x="39" y="11"/>
                    </a:cubicBezTo>
                    <a:cubicBezTo>
                      <a:pt x="66" y="0"/>
                      <a:pt x="96" y="14"/>
                      <a:pt x="106" y="40"/>
                    </a:cubicBezTo>
                    <a:cubicBezTo>
                      <a:pt x="195" y="296"/>
                      <a:pt x="195" y="296"/>
                      <a:pt x="195" y="296"/>
                    </a:cubicBezTo>
                    <a:cubicBezTo>
                      <a:pt x="205" y="322"/>
                      <a:pt x="192" y="352"/>
                      <a:pt x="166" y="362"/>
                    </a:cubicBezTo>
                    <a:close/>
                  </a:path>
                </a:pathLst>
              </a:custGeom>
              <a:solidFill>
                <a:srgbClr val="D4B1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1" name="Freeform 67">
                <a:extLst>
                  <a:ext uri="{FF2B5EF4-FFF2-40B4-BE49-F238E27FC236}">
                    <a16:creationId xmlns:a16="http://schemas.microsoft.com/office/drawing/2014/main" id="{FBA21FD7-EE93-4C76-AC92-7A17CF088910}"/>
                  </a:ext>
                </a:extLst>
              </p:cNvPr>
              <p:cNvSpPr>
                <a:spLocks/>
              </p:cNvSpPr>
              <p:nvPr/>
            </p:nvSpPr>
            <p:spPr bwMode="auto">
              <a:xfrm>
                <a:off x="8721108" y="1903932"/>
                <a:ext cx="273777" cy="616864"/>
              </a:xfrm>
              <a:custGeom>
                <a:avLst/>
                <a:gdLst>
                  <a:gd name="T0" fmla="*/ 47 w 167"/>
                  <a:gd name="T1" fmla="*/ 372 h 376"/>
                  <a:gd name="T2" fmla="*/ 47 w 167"/>
                  <a:gd name="T3" fmla="*/ 372 h 376"/>
                  <a:gd name="T4" fmla="*/ 6 w 167"/>
                  <a:gd name="T5" fmla="*/ 312 h 376"/>
                  <a:gd name="T6" fmla="*/ 61 w 167"/>
                  <a:gd name="T7" fmla="*/ 47 h 376"/>
                  <a:gd name="T8" fmla="*/ 121 w 167"/>
                  <a:gd name="T9" fmla="*/ 5 h 376"/>
                  <a:gd name="T10" fmla="*/ 121 w 167"/>
                  <a:gd name="T11" fmla="*/ 5 h 376"/>
                  <a:gd name="T12" fmla="*/ 163 w 167"/>
                  <a:gd name="T13" fmla="*/ 65 h 376"/>
                  <a:gd name="T14" fmla="*/ 107 w 167"/>
                  <a:gd name="T15" fmla="*/ 330 h 376"/>
                  <a:gd name="T16" fmla="*/ 47 w 167"/>
                  <a:gd name="T17" fmla="*/ 372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376">
                    <a:moveTo>
                      <a:pt x="47" y="372"/>
                    </a:moveTo>
                    <a:cubicBezTo>
                      <a:pt x="47" y="372"/>
                      <a:pt x="47" y="372"/>
                      <a:pt x="47" y="372"/>
                    </a:cubicBezTo>
                    <a:cubicBezTo>
                      <a:pt x="20" y="367"/>
                      <a:pt x="0" y="339"/>
                      <a:pt x="6" y="312"/>
                    </a:cubicBezTo>
                    <a:cubicBezTo>
                      <a:pt x="61" y="47"/>
                      <a:pt x="61" y="47"/>
                      <a:pt x="61" y="47"/>
                    </a:cubicBezTo>
                    <a:cubicBezTo>
                      <a:pt x="67" y="19"/>
                      <a:pt x="93" y="0"/>
                      <a:pt x="121" y="5"/>
                    </a:cubicBezTo>
                    <a:cubicBezTo>
                      <a:pt x="121" y="5"/>
                      <a:pt x="121" y="5"/>
                      <a:pt x="121" y="5"/>
                    </a:cubicBezTo>
                    <a:cubicBezTo>
                      <a:pt x="149" y="10"/>
                      <a:pt x="167" y="37"/>
                      <a:pt x="163" y="65"/>
                    </a:cubicBezTo>
                    <a:cubicBezTo>
                      <a:pt x="107" y="330"/>
                      <a:pt x="107" y="330"/>
                      <a:pt x="107" y="330"/>
                    </a:cubicBezTo>
                    <a:cubicBezTo>
                      <a:pt x="101" y="357"/>
                      <a:pt x="75" y="376"/>
                      <a:pt x="47" y="372"/>
                    </a:cubicBezTo>
                    <a:close/>
                  </a:path>
                </a:pathLst>
              </a:custGeom>
              <a:solidFill>
                <a:srgbClr val="FFD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2" name="Freeform 60">
                <a:extLst>
                  <a:ext uri="{FF2B5EF4-FFF2-40B4-BE49-F238E27FC236}">
                    <a16:creationId xmlns:a16="http://schemas.microsoft.com/office/drawing/2014/main" id="{A9B32F46-8619-48D4-BD53-E21763344218}"/>
                  </a:ext>
                </a:extLst>
              </p:cNvPr>
              <p:cNvSpPr>
                <a:spLocks/>
              </p:cNvSpPr>
              <p:nvPr/>
            </p:nvSpPr>
            <p:spPr bwMode="auto">
              <a:xfrm>
                <a:off x="10038700" y="1696000"/>
                <a:ext cx="2153301" cy="650826"/>
              </a:xfrm>
              <a:custGeom>
                <a:avLst/>
                <a:gdLst>
                  <a:gd name="T0" fmla="*/ 2979 w 2979"/>
                  <a:gd name="T1" fmla="*/ 873 h 939"/>
                  <a:gd name="T2" fmla="*/ 2970 w 2979"/>
                  <a:gd name="T3" fmla="*/ 0 h 939"/>
                  <a:gd name="T4" fmla="*/ 0 w 2979"/>
                  <a:gd name="T5" fmla="*/ 66 h 939"/>
                  <a:gd name="T6" fmla="*/ 12 w 2979"/>
                  <a:gd name="T7" fmla="*/ 939 h 939"/>
                  <a:gd name="T8" fmla="*/ 2979 w 2979"/>
                  <a:gd name="T9" fmla="*/ 873 h 939"/>
                </a:gdLst>
                <a:ahLst/>
                <a:cxnLst>
                  <a:cxn ang="0">
                    <a:pos x="T0" y="T1"/>
                  </a:cxn>
                  <a:cxn ang="0">
                    <a:pos x="T2" y="T3"/>
                  </a:cxn>
                  <a:cxn ang="0">
                    <a:pos x="T4" y="T5"/>
                  </a:cxn>
                  <a:cxn ang="0">
                    <a:pos x="T6" y="T7"/>
                  </a:cxn>
                  <a:cxn ang="0">
                    <a:pos x="T8" y="T9"/>
                  </a:cxn>
                </a:cxnLst>
                <a:rect l="0" t="0" r="r" b="b"/>
                <a:pathLst>
                  <a:path w="2979" h="939">
                    <a:moveTo>
                      <a:pt x="2979" y="873"/>
                    </a:moveTo>
                    <a:lnTo>
                      <a:pt x="2970" y="0"/>
                    </a:lnTo>
                    <a:lnTo>
                      <a:pt x="0" y="66"/>
                    </a:lnTo>
                    <a:lnTo>
                      <a:pt x="12" y="939"/>
                    </a:lnTo>
                    <a:lnTo>
                      <a:pt x="2979" y="873"/>
                    </a:lnTo>
                    <a:close/>
                  </a:path>
                </a:pathLst>
              </a:custGeom>
              <a:solidFill>
                <a:srgbClr val="4444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3" name="Freeform 86">
                <a:extLst>
                  <a:ext uri="{FF2B5EF4-FFF2-40B4-BE49-F238E27FC236}">
                    <a16:creationId xmlns:a16="http://schemas.microsoft.com/office/drawing/2014/main" id="{04FE7AE2-8AE2-4370-8141-1E444267BD6C}"/>
                  </a:ext>
                </a:extLst>
              </p:cNvPr>
              <p:cNvSpPr>
                <a:spLocks noChangeArrowheads="1"/>
              </p:cNvSpPr>
              <p:nvPr/>
            </p:nvSpPr>
            <p:spPr bwMode="auto">
              <a:xfrm>
                <a:off x="8218348" y="2274016"/>
                <a:ext cx="1359516" cy="2992958"/>
              </a:xfrm>
              <a:custGeom>
                <a:avLst/>
                <a:gdLst>
                  <a:gd name="connsiteX0" fmla="*/ 315429 w 1514947"/>
                  <a:gd name="connsiteY0" fmla="*/ 770153 h 3335137"/>
                  <a:gd name="connsiteX1" fmla="*/ 1197297 w 1514947"/>
                  <a:gd name="connsiteY1" fmla="*/ 770153 h 3335137"/>
                  <a:gd name="connsiteX2" fmla="*/ 1355011 w 1514947"/>
                  <a:gd name="connsiteY2" fmla="*/ 905620 h 3335137"/>
                  <a:gd name="connsiteX3" fmla="*/ 1512726 w 1514947"/>
                  <a:gd name="connsiteY3" fmla="*/ 1742848 h 3335137"/>
                  <a:gd name="connsiteX4" fmla="*/ 1512726 w 1514947"/>
                  <a:gd name="connsiteY4" fmla="*/ 1760615 h 3335137"/>
                  <a:gd name="connsiteX5" fmla="*/ 1514947 w 1514947"/>
                  <a:gd name="connsiteY5" fmla="*/ 1785043 h 3335137"/>
                  <a:gd name="connsiteX6" fmla="*/ 1352790 w 1514947"/>
                  <a:gd name="connsiteY6" fmla="*/ 1944938 h 3335137"/>
                  <a:gd name="connsiteX7" fmla="*/ 1195076 w 1514947"/>
                  <a:gd name="connsiteY7" fmla="*/ 1813913 h 3335137"/>
                  <a:gd name="connsiteX8" fmla="*/ 1095116 w 1514947"/>
                  <a:gd name="connsiteY8" fmla="*/ 1189878 h 3335137"/>
                  <a:gd name="connsiteX9" fmla="*/ 1097337 w 1514947"/>
                  <a:gd name="connsiteY9" fmla="*/ 3175242 h 3335137"/>
                  <a:gd name="connsiteX10" fmla="*/ 937401 w 1514947"/>
                  <a:gd name="connsiteY10" fmla="*/ 3335137 h 3335137"/>
                  <a:gd name="connsiteX11" fmla="*/ 775244 w 1514947"/>
                  <a:gd name="connsiteY11" fmla="*/ 3175242 h 3335137"/>
                  <a:gd name="connsiteX12" fmla="*/ 775244 w 1514947"/>
                  <a:gd name="connsiteY12" fmla="*/ 2191443 h 3335137"/>
                  <a:gd name="connsiteX13" fmla="*/ 737482 w 1514947"/>
                  <a:gd name="connsiteY13" fmla="*/ 2191443 h 3335137"/>
                  <a:gd name="connsiteX14" fmla="*/ 737482 w 1514947"/>
                  <a:gd name="connsiteY14" fmla="*/ 3175242 h 3335137"/>
                  <a:gd name="connsiteX15" fmla="*/ 577546 w 1514947"/>
                  <a:gd name="connsiteY15" fmla="*/ 3335137 h 3335137"/>
                  <a:gd name="connsiteX16" fmla="*/ 415389 w 1514947"/>
                  <a:gd name="connsiteY16" fmla="*/ 3175242 h 3335137"/>
                  <a:gd name="connsiteX17" fmla="*/ 417610 w 1514947"/>
                  <a:gd name="connsiteY17" fmla="*/ 1189878 h 3335137"/>
                  <a:gd name="connsiteX18" fmla="*/ 317650 w 1514947"/>
                  <a:gd name="connsiteY18" fmla="*/ 1811692 h 3335137"/>
                  <a:gd name="connsiteX19" fmla="*/ 159936 w 1514947"/>
                  <a:gd name="connsiteY19" fmla="*/ 1944938 h 3335137"/>
                  <a:gd name="connsiteX20" fmla="*/ 0 w 1514947"/>
                  <a:gd name="connsiteY20" fmla="*/ 1785043 h 3335137"/>
                  <a:gd name="connsiteX21" fmla="*/ 2221 w 1514947"/>
                  <a:gd name="connsiteY21" fmla="*/ 1760615 h 3335137"/>
                  <a:gd name="connsiteX22" fmla="*/ 0 w 1514947"/>
                  <a:gd name="connsiteY22" fmla="*/ 1742848 h 3335137"/>
                  <a:gd name="connsiteX23" fmla="*/ 157714 w 1514947"/>
                  <a:gd name="connsiteY23" fmla="*/ 905620 h 3335137"/>
                  <a:gd name="connsiteX24" fmla="*/ 315429 w 1514947"/>
                  <a:gd name="connsiteY24" fmla="*/ 770153 h 3335137"/>
                  <a:gd name="connsiteX25" fmla="*/ 756065 w 1514947"/>
                  <a:gd name="connsiteY25" fmla="*/ 0 h 3335137"/>
                  <a:gd name="connsiteX26" fmla="*/ 1098877 w 1514947"/>
                  <a:gd name="connsiteY26" fmla="*/ 344221 h 3335137"/>
                  <a:gd name="connsiteX27" fmla="*/ 756065 w 1514947"/>
                  <a:gd name="connsiteY27" fmla="*/ 688442 h 3335137"/>
                  <a:gd name="connsiteX28" fmla="*/ 413253 w 1514947"/>
                  <a:gd name="connsiteY28" fmla="*/ 344221 h 3335137"/>
                  <a:gd name="connsiteX29" fmla="*/ 756065 w 1514947"/>
                  <a:gd name="connsiteY29" fmla="*/ 0 h 3335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514947" h="3335137">
                    <a:moveTo>
                      <a:pt x="315429" y="770153"/>
                    </a:moveTo>
                    <a:cubicBezTo>
                      <a:pt x="315429" y="770153"/>
                      <a:pt x="315429" y="770153"/>
                      <a:pt x="1197297" y="770153"/>
                    </a:cubicBezTo>
                    <a:cubicBezTo>
                      <a:pt x="1277265" y="770153"/>
                      <a:pt x="1343905" y="827893"/>
                      <a:pt x="1355011" y="905620"/>
                    </a:cubicBezTo>
                    <a:cubicBezTo>
                      <a:pt x="1355011" y="905620"/>
                      <a:pt x="1355011" y="905620"/>
                      <a:pt x="1512726" y="1742848"/>
                    </a:cubicBezTo>
                    <a:cubicBezTo>
                      <a:pt x="1514947" y="1749511"/>
                      <a:pt x="1514947" y="1756173"/>
                      <a:pt x="1512726" y="1760615"/>
                    </a:cubicBezTo>
                    <a:cubicBezTo>
                      <a:pt x="1512726" y="1769498"/>
                      <a:pt x="1514947" y="1776160"/>
                      <a:pt x="1514947" y="1785043"/>
                    </a:cubicBezTo>
                    <a:cubicBezTo>
                      <a:pt x="1514947" y="1871653"/>
                      <a:pt x="1441643" y="1944938"/>
                      <a:pt x="1352790" y="1944938"/>
                    </a:cubicBezTo>
                    <a:cubicBezTo>
                      <a:pt x="1275043" y="1944938"/>
                      <a:pt x="1210625" y="1889419"/>
                      <a:pt x="1195076" y="1813913"/>
                    </a:cubicBezTo>
                    <a:cubicBezTo>
                      <a:pt x="1195076" y="1813913"/>
                      <a:pt x="1195076" y="1813913"/>
                      <a:pt x="1095116" y="1189878"/>
                    </a:cubicBezTo>
                    <a:cubicBezTo>
                      <a:pt x="1095116" y="1189878"/>
                      <a:pt x="1095116" y="1189878"/>
                      <a:pt x="1097337" y="3175242"/>
                    </a:cubicBezTo>
                    <a:cubicBezTo>
                      <a:pt x="1097337" y="3261852"/>
                      <a:pt x="1026254" y="3335137"/>
                      <a:pt x="937401" y="3335137"/>
                    </a:cubicBezTo>
                    <a:cubicBezTo>
                      <a:pt x="848548" y="3335137"/>
                      <a:pt x="775244" y="3264073"/>
                      <a:pt x="775244" y="3175242"/>
                    </a:cubicBezTo>
                    <a:cubicBezTo>
                      <a:pt x="775244" y="3175242"/>
                      <a:pt x="775244" y="3175242"/>
                      <a:pt x="775244" y="2191443"/>
                    </a:cubicBezTo>
                    <a:cubicBezTo>
                      <a:pt x="775244" y="2191443"/>
                      <a:pt x="775244" y="2191443"/>
                      <a:pt x="737482" y="2191443"/>
                    </a:cubicBezTo>
                    <a:cubicBezTo>
                      <a:pt x="737482" y="2191443"/>
                      <a:pt x="737482" y="2191443"/>
                      <a:pt x="737482" y="3175242"/>
                    </a:cubicBezTo>
                    <a:cubicBezTo>
                      <a:pt x="737482" y="3261852"/>
                      <a:pt x="666399" y="3335137"/>
                      <a:pt x="577546" y="3335137"/>
                    </a:cubicBezTo>
                    <a:cubicBezTo>
                      <a:pt x="488693" y="3335137"/>
                      <a:pt x="415389" y="3264073"/>
                      <a:pt x="415389" y="3175242"/>
                    </a:cubicBezTo>
                    <a:cubicBezTo>
                      <a:pt x="415389" y="3175242"/>
                      <a:pt x="415389" y="3175242"/>
                      <a:pt x="417610" y="1189878"/>
                    </a:cubicBezTo>
                    <a:cubicBezTo>
                      <a:pt x="417610" y="1189878"/>
                      <a:pt x="417610" y="1189878"/>
                      <a:pt x="317650" y="1811692"/>
                    </a:cubicBezTo>
                    <a:cubicBezTo>
                      <a:pt x="304322" y="1889419"/>
                      <a:pt x="237682" y="1944938"/>
                      <a:pt x="159936" y="1944938"/>
                    </a:cubicBezTo>
                    <a:cubicBezTo>
                      <a:pt x="71082" y="1944938"/>
                      <a:pt x="0" y="1871653"/>
                      <a:pt x="0" y="1785043"/>
                    </a:cubicBezTo>
                    <a:cubicBezTo>
                      <a:pt x="0" y="1776160"/>
                      <a:pt x="0" y="1769498"/>
                      <a:pt x="2221" y="1760615"/>
                    </a:cubicBezTo>
                    <a:cubicBezTo>
                      <a:pt x="0" y="1756173"/>
                      <a:pt x="0" y="1749511"/>
                      <a:pt x="0" y="1742848"/>
                    </a:cubicBezTo>
                    <a:cubicBezTo>
                      <a:pt x="0" y="1742848"/>
                      <a:pt x="0" y="1742848"/>
                      <a:pt x="157714" y="905620"/>
                    </a:cubicBezTo>
                    <a:cubicBezTo>
                      <a:pt x="171042" y="827893"/>
                      <a:pt x="237682" y="770153"/>
                      <a:pt x="315429" y="770153"/>
                    </a:cubicBezTo>
                    <a:close/>
                    <a:moveTo>
                      <a:pt x="756065" y="0"/>
                    </a:moveTo>
                    <a:cubicBezTo>
                      <a:pt x="945395" y="0"/>
                      <a:pt x="1098877" y="154113"/>
                      <a:pt x="1098877" y="344221"/>
                    </a:cubicBezTo>
                    <a:cubicBezTo>
                      <a:pt x="1098877" y="534329"/>
                      <a:pt x="945395" y="688442"/>
                      <a:pt x="756065" y="688442"/>
                    </a:cubicBezTo>
                    <a:cubicBezTo>
                      <a:pt x="566735" y="688442"/>
                      <a:pt x="413253" y="534329"/>
                      <a:pt x="413253" y="344221"/>
                    </a:cubicBezTo>
                    <a:cubicBezTo>
                      <a:pt x="413253" y="154113"/>
                      <a:pt x="566735" y="0"/>
                      <a:pt x="756065"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4" name="Freeform 87">
                <a:extLst>
                  <a:ext uri="{FF2B5EF4-FFF2-40B4-BE49-F238E27FC236}">
                    <a16:creationId xmlns:a16="http://schemas.microsoft.com/office/drawing/2014/main" id="{22CA0A8E-E567-46DC-B596-16444ABB8D0B}"/>
                  </a:ext>
                </a:extLst>
              </p:cNvPr>
              <p:cNvSpPr>
                <a:spLocks/>
              </p:cNvSpPr>
              <p:nvPr/>
            </p:nvSpPr>
            <p:spPr bwMode="auto">
              <a:xfrm>
                <a:off x="8827867" y="1642733"/>
                <a:ext cx="1053788" cy="833236"/>
              </a:xfrm>
              <a:custGeom>
                <a:avLst/>
                <a:gdLst>
                  <a:gd name="connsiteX0" fmla="*/ 505447 w 1440773"/>
                  <a:gd name="connsiteY0" fmla="*/ 1243 h 1139227"/>
                  <a:gd name="connsiteX1" fmla="*/ 1187135 w 1440773"/>
                  <a:gd name="connsiteY1" fmla="*/ 272955 h 1139227"/>
                  <a:gd name="connsiteX2" fmla="*/ 1193227 w 1440773"/>
                  <a:gd name="connsiteY2" fmla="*/ 275383 h 1139227"/>
                  <a:gd name="connsiteX3" fmla="*/ 1425644 w 1440773"/>
                  <a:gd name="connsiteY3" fmla="*/ 273322 h 1139227"/>
                  <a:gd name="connsiteX4" fmla="*/ 1440773 w 1440773"/>
                  <a:gd name="connsiteY4" fmla="*/ 904740 h 1139227"/>
                  <a:gd name="connsiteX5" fmla="*/ 1426533 w 1440773"/>
                  <a:gd name="connsiteY5" fmla="*/ 918920 h 1139227"/>
                  <a:gd name="connsiteX6" fmla="*/ 1198042 w 1440773"/>
                  <a:gd name="connsiteY6" fmla="*/ 1005179 h 1139227"/>
                  <a:gd name="connsiteX7" fmla="*/ 676036 w 1440773"/>
                  <a:gd name="connsiteY7" fmla="*/ 1002937 h 1139227"/>
                  <a:gd name="connsiteX8" fmla="*/ 241405 w 1440773"/>
                  <a:gd name="connsiteY8" fmla="*/ 1132958 h 1139227"/>
                  <a:gd name="connsiteX9" fmla="*/ 66656 w 1440773"/>
                  <a:gd name="connsiteY9" fmla="*/ 1054497 h 1139227"/>
                  <a:gd name="connsiteX10" fmla="*/ 145069 w 1440773"/>
                  <a:gd name="connsiteY10" fmla="*/ 879641 h 1139227"/>
                  <a:gd name="connsiteX11" fmla="*/ 743536 w 1440773"/>
                  <a:gd name="connsiteY11" fmla="*/ 699141 h 1139227"/>
                  <a:gd name="connsiteX12" fmla="*/ 766282 w 1440773"/>
                  <a:gd name="connsiteY12" fmla="*/ 692281 h 1139227"/>
                  <a:gd name="connsiteX13" fmla="*/ 785647 w 1440773"/>
                  <a:gd name="connsiteY13" fmla="*/ 664852 h 1139227"/>
                  <a:gd name="connsiteX14" fmla="*/ 409350 w 1440773"/>
                  <a:gd name="connsiteY14" fmla="*/ 359965 h 1139227"/>
                  <a:gd name="connsiteX15" fmla="*/ 485003 w 1440773"/>
                  <a:gd name="connsiteY15" fmla="*/ 291097 h 1139227"/>
                  <a:gd name="connsiteX16" fmla="*/ 540143 w 1440773"/>
                  <a:gd name="connsiteY16" fmla="*/ 258837 h 1139227"/>
                  <a:gd name="connsiteX17" fmla="*/ 514044 w 1440773"/>
                  <a:gd name="connsiteY17" fmla="*/ 248435 h 1139227"/>
                  <a:gd name="connsiteX18" fmla="*/ 491509 w 1440773"/>
                  <a:gd name="connsiteY18" fmla="*/ 269555 h 1139227"/>
                  <a:gd name="connsiteX19" fmla="*/ 192109 w 1440773"/>
                  <a:gd name="connsiteY19" fmla="*/ 550166 h 1139227"/>
                  <a:gd name="connsiteX20" fmla="*/ 28372 w 1440773"/>
                  <a:gd name="connsiteY20" fmla="*/ 538963 h 1139227"/>
                  <a:gd name="connsiteX21" fmla="*/ 39587 w 1440773"/>
                  <a:gd name="connsiteY21" fmla="*/ 377647 h 1139227"/>
                  <a:gd name="connsiteX22" fmla="*/ 402948 w 1440773"/>
                  <a:gd name="connsiteY22" fmla="*/ 37089 h 1139227"/>
                  <a:gd name="connsiteX23" fmla="*/ 407691 w 1440773"/>
                  <a:gd name="connsiteY23" fmla="*/ 34217 h 1139227"/>
                  <a:gd name="connsiteX24" fmla="*/ 419976 w 1440773"/>
                  <a:gd name="connsiteY24" fmla="*/ 21411 h 1139227"/>
                  <a:gd name="connsiteX25" fmla="*/ 505447 w 1440773"/>
                  <a:gd name="connsiteY25" fmla="*/ 1243 h 1139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40773" h="1139227">
                    <a:moveTo>
                      <a:pt x="505447" y="1243"/>
                    </a:moveTo>
                    <a:cubicBezTo>
                      <a:pt x="955221" y="180517"/>
                      <a:pt x="1123886" y="247745"/>
                      <a:pt x="1187135" y="272955"/>
                    </a:cubicBezTo>
                    <a:lnTo>
                      <a:pt x="1193227" y="275383"/>
                    </a:lnTo>
                    <a:lnTo>
                      <a:pt x="1425644" y="273322"/>
                    </a:lnTo>
                    <a:lnTo>
                      <a:pt x="1440773" y="904740"/>
                    </a:lnTo>
                    <a:lnTo>
                      <a:pt x="1426533" y="918920"/>
                    </a:lnTo>
                    <a:cubicBezTo>
                      <a:pt x="1366594" y="967770"/>
                      <a:pt x="1288776" y="1000976"/>
                      <a:pt x="1198042" y="1005179"/>
                    </a:cubicBezTo>
                    <a:cubicBezTo>
                      <a:pt x="924717" y="1016388"/>
                      <a:pt x="962803" y="915509"/>
                      <a:pt x="676036" y="1002937"/>
                    </a:cubicBezTo>
                    <a:cubicBezTo>
                      <a:pt x="241405" y="1132958"/>
                      <a:pt x="241405" y="1132958"/>
                      <a:pt x="241405" y="1132958"/>
                    </a:cubicBezTo>
                    <a:cubicBezTo>
                      <a:pt x="169713" y="1153134"/>
                      <a:pt x="93541" y="1123991"/>
                      <a:pt x="66656" y="1054497"/>
                    </a:cubicBezTo>
                    <a:cubicBezTo>
                      <a:pt x="39772" y="982761"/>
                      <a:pt x="75618" y="904300"/>
                      <a:pt x="145069" y="879641"/>
                    </a:cubicBezTo>
                    <a:cubicBezTo>
                      <a:pt x="539934" y="760548"/>
                      <a:pt x="688008" y="715889"/>
                      <a:pt x="743536" y="699141"/>
                    </a:cubicBezTo>
                    <a:lnTo>
                      <a:pt x="766282" y="692281"/>
                    </a:lnTo>
                    <a:lnTo>
                      <a:pt x="785647" y="664852"/>
                    </a:lnTo>
                    <a:cubicBezTo>
                      <a:pt x="886431" y="481007"/>
                      <a:pt x="508074" y="383070"/>
                      <a:pt x="409350" y="359965"/>
                    </a:cubicBezTo>
                    <a:cubicBezTo>
                      <a:pt x="433716" y="332868"/>
                      <a:pt x="459066" y="310104"/>
                      <a:pt x="485003" y="291097"/>
                    </a:cubicBezTo>
                    <a:lnTo>
                      <a:pt x="540143" y="258837"/>
                    </a:lnTo>
                    <a:lnTo>
                      <a:pt x="514044" y="248435"/>
                    </a:lnTo>
                    <a:lnTo>
                      <a:pt x="491509" y="269555"/>
                    </a:lnTo>
                    <a:cubicBezTo>
                      <a:pt x="192109" y="550166"/>
                      <a:pt x="192109" y="550166"/>
                      <a:pt x="192109" y="550166"/>
                    </a:cubicBezTo>
                    <a:cubicBezTo>
                      <a:pt x="145006" y="594976"/>
                      <a:pt x="70989" y="588255"/>
                      <a:pt x="28372" y="538963"/>
                    </a:cubicBezTo>
                    <a:cubicBezTo>
                      <a:pt x="-14244" y="491913"/>
                      <a:pt x="-7515" y="420216"/>
                      <a:pt x="39587" y="377647"/>
                    </a:cubicBezTo>
                    <a:cubicBezTo>
                      <a:pt x="402948" y="37089"/>
                      <a:pt x="402948" y="37089"/>
                      <a:pt x="402948" y="37089"/>
                    </a:cubicBezTo>
                    <a:lnTo>
                      <a:pt x="407691" y="34217"/>
                    </a:lnTo>
                    <a:lnTo>
                      <a:pt x="419976" y="21411"/>
                    </a:lnTo>
                    <a:cubicBezTo>
                      <a:pt x="443796" y="4604"/>
                      <a:pt x="474061" y="-3239"/>
                      <a:pt x="505447" y="1243"/>
                    </a:cubicBezTo>
                    <a:close/>
                  </a:path>
                </a:pathLst>
              </a:custGeom>
              <a:solidFill>
                <a:srgbClr val="FFD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sp>
        <p:nvSpPr>
          <p:cNvPr id="35" name="Rectangle 34"/>
          <p:cNvSpPr/>
          <p:nvPr/>
        </p:nvSpPr>
        <p:spPr>
          <a:xfrm>
            <a:off x="968426" y="3206920"/>
            <a:ext cx="4291910" cy="600164"/>
          </a:xfrm>
          <a:prstGeom prst="rect">
            <a:avLst/>
          </a:prstGeom>
        </p:spPr>
        <p:txBody>
          <a:bodyPr wrap="square">
            <a:spAutoFit/>
          </a:bodyPr>
          <a:lstStyle/>
          <a:p>
            <a:pPr>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ermentuLorem ipsum dolor sit amet, consectetur adipiscing elit. Nulla imperdiet volutpat dui</a:t>
            </a:r>
          </a:p>
        </p:txBody>
      </p:sp>
      <p:sp>
        <p:nvSpPr>
          <p:cNvPr id="36" name="Rectangle 35"/>
          <p:cNvSpPr/>
          <p:nvPr/>
        </p:nvSpPr>
        <p:spPr>
          <a:xfrm>
            <a:off x="968426" y="2312531"/>
            <a:ext cx="4109358" cy="830997"/>
          </a:xfrm>
          <a:prstGeom prst="rect">
            <a:avLst/>
          </a:prstGeom>
          <a:noFill/>
        </p:spPr>
        <p:txBody>
          <a:bodyPr wrap="square">
            <a:spAutoFit/>
          </a:bodyPr>
          <a:lstStyle/>
          <a:p>
            <a:r>
              <a:rPr lang="en-US" sz="1600" b="1" noProof="1">
                <a:solidFill>
                  <a:schemeClr val="tx1">
                    <a:lumMod val="85000"/>
                    <a:lumOff val="15000"/>
                  </a:schemeClr>
                </a:solidFill>
                <a:latin typeface="Raleway" panose="020B0503030101060003" pitchFamily="34" charset="0"/>
                <a:ea typeface="Roboto Light" panose="02000000000000000000" pitchFamily="2" charset="0"/>
                <a:cs typeface="Open Sans" panose="020B0606030504020204" pitchFamily="34" charset="0"/>
              </a:rPr>
              <a:t>WE LERN FROM THE BEST, SUCCESS SEEMS TO BE CONNECTED WITH ACTION  </a:t>
            </a:r>
          </a:p>
        </p:txBody>
      </p:sp>
      <p:sp>
        <p:nvSpPr>
          <p:cNvPr id="37" name="Text Placeholder 2"/>
          <p:cNvSpPr txBox="1">
            <a:spLocks/>
          </p:cNvSpPr>
          <p:nvPr/>
        </p:nvSpPr>
        <p:spPr>
          <a:xfrm>
            <a:off x="6666256" y="2127008"/>
            <a:ext cx="1522447" cy="507136"/>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2400" b="1" dirty="0">
                <a:solidFill>
                  <a:schemeClr val="tx1">
                    <a:lumMod val="85000"/>
                    <a:lumOff val="15000"/>
                  </a:schemeClr>
                </a:solidFill>
                <a:latin typeface="Montserrat" panose="00000500000000000000" pitchFamily="2" charset="0"/>
                <a:ea typeface="Open Sans" panose="020B0606030504020204" pitchFamily="34" charset="0"/>
                <a:cs typeface="Open Sans" panose="020B0606030504020204" pitchFamily="34" charset="0"/>
              </a:rPr>
              <a:t>8</a:t>
            </a:r>
            <a:r>
              <a:rPr lang="id-ID" sz="2400" b="1" dirty="0">
                <a:solidFill>
                  <a:schemeClr val="tx1">
                    <a:lumMod val="85000"/>
                    <a:lumOff val="15000"/>
                  </a:schemeClr>
                </a:solidFill>
                <a:latin typeface="Montserrat" panose="00000500000000000000" pitchFamily="2" charset="0"/>
                <a:ea typeface="Open Sans" panose="020B0606030504020204" pitchFamily="34" charset="0"/>
                <a:cs typeface="Open Sans" panose="020B0606030504020204" pitchFamily="34" charset="0"/>
              </a:rPr>
              <a:t>000+</a:t>
            </a:r>
          </a:p>
        </p:txBody>
      </p:sp>
      <p:sp>
        <p:nvSpPr>
          <p:cNvPr id="38" name="Text Placeholder 2"/>
          <p:cNvSpPr txBox="1">
            <a:spLocks/>
          </p:cNvSpPr>
          <p:nvPr/>
        </p:nvSpPr>
        <p:spPr>
          <a:xfrm>
            <a:off x="6666255" y="2525779"/>
            <a:ext cx="1522448" cy="345563"/>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id-ID" sz="1400" dirty="0">
                <a:solidFill>
                  <a:schemeClr val="tx1">
                    <a:lumMod val="85000"/>
                    <a:lumOff val="15000"/>
                  </a:schemeClr>
                </a:solidFill>
                <a:latin typeface="Montserrat" panose="00000500000000000000" pitchFamily="2" charset="0"/>
                <a:ea typeface="Open Sans" panose="020B0606030504020204" pitchFamily="34" charset="0"/>
                <a:cs typeface="Open Sans" panose="020B0606030504020204" pitchFamily="34" charset="0"/>
              </a:rPr>
              <a:t>RESULTS</a:t>
            </a:r>
          </a:p>
        </p:txBody>
      </p:sp>
      <p:graphicFrame>
        <p:nvGraphicFramePr>
          <p:cNvPr id="39" name="Chart 38"/>
          <p:cNvGraphicFramePr/>
          <p:nvPr>
            <p:extLst>
              <p:ext uri="{D42A27DB-BD31-4B8C-83A1-F6EECF244321}">
                <p14:modId xmlns:p14="http://schemas.microsoft.com/office/powerpoint/2010/main" val="2726843025"/>
              </p:ext>
            </p:extLst>
          </p:nvPr>
        </p:nvGraphicFramePr>
        <p:xfrm>
          <a:off x="1082174" y="3948934"/>
          <a:ext cx="1599064" cy="1692477"/>
        </p:xfrm>
        <a:graphic>
          <a:graphicData uri="http://schemas.openxmlformats.org/drawingml/2006/chart">
            <c:chart xmlns:c="http://schemas.openxmlformats.org/drawingml/2006/chart" xmlns:r="http://schemas.openxmlformats.org/officeDocument/2006/relationships" r:id="rId3"/>
          </a:graphicData>
        </a:graphic>
      </p:graphicFrame>
      <p:grpSp>
        <p:nvGrpSpPr>
          <p:cNvPr id="40" name="Group 39"/>
          <p:cNvGrpSpPr/>
          <p:nvPr/>
        </p:nvGrpSpPr>
        <p:grpSpPr>
          <a:xfrm>
            <a:off x="1709956" y="4601912"/>
            <a:ext cx="343501" cy="343501"/>
            <a:chOff x="7171531" y="4561284"/>
            <a:chExt cx="457200" cy="457200"/>
          </a:xfrm>
          <a:solidFill>
            <a:schemeClr val="tx1">
              <a:lumMod val="85000"/>
              <a:lumOff val="15000"/>
            </a:schemeClr>
          </a:solidFill>
        </p:grpSpPr>
        <p:sp>
          <p:nvSpPr>
            <p:cNvPr id="41" name="Freeform 19"/>
            <p:cNvSpPr>
              <a:spLocks noEditPoints="1"/>
            </p:cNvSpPr>
            <p:nvPr/>
          </p:nvSpPr>
          <p:spPr bwMode="auto">
            <a:xfrm>
              <a:off x="7171531" y="4561284"/>
              <a:ext cx="457200" cy="457200"/>
            </a:xfrm>
            <a:custGeom>
              <a:avLst/>
              <a:gdLst>
                <a:gd name="T0" fmla="*/ 1075 w 1152"/>
                <a:gd name="T1" fmla="*/ 1069 h 1152"/>
                <a:gd name="T2" fmla="*/ 1060 w 1152"/>
                <a:gd name="T3" fmla="*/ 1080 h 1152"/>
                <a:gd name="T4" fmla="*/ 87 w 1152"/>
                <a:gd name="T5" fmla="*/ 1077 h 1152"/>
                <a:gd name="T6" fmla="*/ 74 w 1152"/>
                <a:gd name="T7" fmla="*/ 1065 h 1152"/>
                <a:gd name="T8" fmla="*/ 72 w 1152"/>
                <a:gd name="T9" fmla="*/ 198 h 1152"/>
                <a:gd name="T10" fmla="*/ 83 w 1152"/>
                <a:gd name="T11" fmla="*/ 184 h 1152"/>
                <a:gd name="T12" fmla="*/ 252 w 1152"/>
                <a:gd name="T13" fmla="*/ 180 h 1152"/>
                <a:gd name="T14" fmla="*/ 258 w 1152"/>
                <a:gd name="T15" fmla="*/ 272 h 1152"/>
                <a:gd name="T16" fmla="*/ 281 w 1152"/>
                <a:gd name="T17" fmla="*/ 287 h 1152"/>
                <a:gd name="T18" fmla="*/ 309 w 1152"/>
                <a:gd name="T19" fmla="*/ 282 h 1152"/>
                <a:gd name="T20" fmla="*/ 324 w 1152"/>
                <a:gd name="T21" fmla="*/ 259 h 1152"/>
                <a:gd name="T22" fmla="*/ 540 w 1152"/>
                <a:gd name="T23" fmla="*/ 251 h 1152"/>
                <a:gd name="T24" fmla="*/ 551 w 1152"/>
                <a:gd name="T25" fmla="*/ 277 h 1152"/>
                <a:gd name="T26" fmla="*/ 576 w 1152"/>
                <a:gd name="T27" fmla="*/ 288 h 1152"/>
                <a:gd name="T28" fmla="*/ 601 w 1152"/>
                <a:gd name="T29" fmla="*/ 277 h 1152"/>
                <a:gd name="T30" fmla="*/ 612 w 1152"/>
                <a:gd name="T31" fmla="*/ 251 h 1152"/>
                <a:gd name="T32" fmla="*/ 829 w 1152"/>
                <a:gd name="T33" fmla="*/ 259 h 1152"/>
                <a:gd name="T34" fmla="*/ 844 w 1152"/>
                <a:gd name="T35" fmla="*/ 282 h 1152"/>
                <a:gd name="T36" fmla="*/ 871 w 1152"/>
                <a:gd name="T37" fmla="*/ 287 h 1152"/>
                <a:gd name="T38" fmla="*/ 894 w 1152"/>
                <a:gd name="T39" fmla="*/ 272 h 1152"/>
                <a:gd name="T40" fmla="*/ 900 w 1152"/>
                <a:gd name="T41" fmla="*/ 180 h 1152"/>
                <a:gd name="T42" fmla="*/ 1069 w 1152"/>
                <a:gd name="T43" fmla="*/ 184 h 1152"/>
                <a:gd name="T44" fmla="*/ 1080 w 1152"/>
                <a:gd name="T45" fmla="*/ 198 h 1152"/>
                <a:gd name="T46" fmla="*/ 900 w 1152"/>
                <a:gd name="T47" fmla="*/ 108 h 1152"/>
                <a:gd name="T48" fmla="*/ 894 w 1152"/>
                <a:gd name="T49" fmla="*/ 16 h 1152"/>
                <a:gd name="T50" fmla="*/ 871 w 1152"/>
                <a:gd name="T51" fmla="*/ 1 h 1152"/>
                <a:gd name="T52" fmla="*/ 844 w 1152"/>
                <a:gd name="T53" fmla="*/ 6 h 1152"/>
                <a:gd name="T54" fmla="*/ 829 w 1152"/>
                <a:gd name="T55" fmla="*/ 29 h 1152"/>
                <a:gd name="T56" fmla="*/ 612 w 1152"/>
                <a:gd name="T57" fmla="*/ 35 h 1152"/>
                <a:gd name="T58" fmla="*/ 601 w 1152"/>
                <a:gd name="T59" fmla="*/ 10 h 1152"/>
                <a:gd name="T60" fmla="*/ 576 w 1152"/>
                <a:gd name="T61" fmla="*/ 0 h 1152"/>
                <a:gd name="T62" fmla="*/ 551 w 1152"/>
                <a:gd name="T63" fmla="*/ 10 h 1152"/>
                <a:gd name="T64" fmla="*/ 540 w 1152"/>
                <a:gd name="T65" fmla="*/ 35 h 1152"/>
                <a:gd name="T66" fmla="*/ 324 w 1152"/>
                <a:gd name="T67" fmla="*/ 29 h 1152"/>
                <a:gd name="T68" fmla="*/ 309 w 1152"/>
                <a:gd name="T69" fmla="*/ 6 h 1152"/>
                <a:gd name="T70" fmla="*/ 281 w 1152"/>
                <a:gd name="T71" fmla="*/ 1 h 1152"/>
                <a:gd name="T72" fmla="*/ 258 w 1152"/>
                <a:gd name="T73" fmla="*/ 16 h 1152"/>
                <a:gd name="T74" fmla="*/ 252 w 1152"/>
                <a:gd name="T75" fmla="*/ 108 h 1152"/>
                <a:gd name="T76" fmla="*/ 68 w 1152"/>
                <a:gd name="T77" fmla="*/ 112 h 1152"/>
                <a:gd name="T78" fmla="*/ 35 w 1152"/>
                <a:gd name="T79" fmla="*/ 129 h 1152"/>
                <a:gd name="T80" fmla="*/ 12 w 1152"/>
                <a:gd name="T81" fmla="*/ 158 h 1152"/>
                <a:gd name="T82" fmla="*/ 1 w 1152"/>
                <a:gd name="T83" fmla="*/ 194 h 1152"/>
                <a:gd name="T84" fmla="*/ 2 w 1152"/>
                <a:gd name="T85" fmla="*/ 1075 h 1152"/>
                <a:gd name="T86" fmla="*/ 16 w 1152"/>
                <a:gd name="T87" fmla="*/ 1110 h 1152"/>
                <a:gd name="T88" fmla="*/ 42 w 1152"/>
                <a:gd name="T89" fmla="*/ 1136 h 1152"/>
                <a:gd name="T90" fmla="*/ 76 w 1152"/>
                <a:gd name="T91" fmla="*/ 1150 h 1152"/>
                <a:gd name="T92" fmla="*/ 1066 w 1152"/>
                <a:gd name="T93" fmla="*/ 1151 h 1152"/>
                <a:gd name="T94" fmla="*/ 1101 w 1152"/>
                <a:gd name="T95" fmla="*/ 1140 h 1152"/>
                <a:gd name="T96" fmla="*/ 1130 w 1152"/>
                <a:gd name="T97" fmla="*/ 1116 h 1152"/>
                <a:gd name="T98" fmla="*/ 1148 w 1152"/>
                <a:gd name="T99" fmla="*/ 1084 h 1152"/>
                <a:gd name="T100" fmla="*/ 1152 w 1152"/>
                <a:gd name="T101" fmla="*/ 204 h 1152"/>
                <a:gd name="T102" fmla="*/ 1145 w 1152"/>
                <a:gd name="T103" fmla="*/ 166 h 1152"/>
                <a:gd name="T104" fmla="*/ 1124 w 1152"/>
                <a:gd name="T105" fmla="*/ 136 h 1152"/>
                <a:gd name="T106" fmla="*/ 1094 w 1152"/>
                <a:gd name="T107" fmla="*/ 115 h 1152"/>
                <a:gd name="T108" fmla="*/ 1056 w 1152"/>
                <a:gd name="T109" fmla="*/ 108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2" h="1152">
                  <a:moveTo>
                    <a:pt x="1080" y="1056"/>
                  </a:moveTo>
                  <a:lnTo>
                    <a:pt x="1080" y="1060"/>
                  </a:lnTo>
                  <a:lnTo>
                    <a:pt x="1078" y="1065"/>
                  </a:lnTo>
                  <a:lnTo>
                    <a:pt x="1075" y="1069"/>
                  </a:lnTo>
                  <a:lnTo>
                    <a:pt x="1073" y="1073"/>
                  </a:lnTo>
                  <a:lnTo>
                    <a:pt x="1069" y="1075"/>
                  </a:lnTo>
                  <a:lnTo>
                    <a:pt x="1066" y="1077"/>
                  </a:lnTo>
                  <a:lnTo>
                    <a:pt x="1060" y="1080"/>
                  </a:lnTo>
                  <a:lnTo>
                    <a:pt x="1056" y="1080"/>
                  </a:lnTo>
                  <a:lnTo>
                    <a:pt x="96" y="1080"/>
                  </a:lnTo>
                  <a:lnTo>
                    <a:pt x="92" y="1080"/>
                  </a:lnTo>
                  <a:lnTo>
                    <a:pt x="87" y="1077"/>
                  </a:lnTo>
                  <a:lnTo>
                    <a:pt x="83" y="1075"/>
                  </a:lnTo>
                  <a:lnTo>
                    <a:pt x="79" y="1073"/>
                  </a:lnTo>
                  <a:lnTo>
                    <a:pt x="76" y="1069"/>
                  </a:lnTo>
                  <a:lnTo>
                    <a:pt x="74" y="1065"/>
                  </a:lnTo>
                  <a:lnTo>
                    <a:pt x="72" y="1060"/>
                  </a:lnTo>
                  <a:lnTo>
                    <a:pt x="72" y="1056"/>
                  </a:lnTo>
                  <a:lnTo>
                    <a:pt x="72" y="204"/>
                  </a:lnTo>
                  <a:lnTo>
                    <a:pt x="72" y="198"/>
                  </a:lnTo>
                  <a:lnTo>
                    <a:pt x="74" y="194"/>
                  </a:lnTo>
                  <a:lnTo>
                    <a:pt x="76" y="191"/>
                  </a:lnTo>
                  <a:lnTo>
                    <a:pt x="79" y="186"/>
                  </a:lnTo>
                  <a:lnTo>
                    <a:pt x="83" y="184"/>
                  </a:lnTo>
                  <a:lnTo>
                    <a:pt x="87" y="181"/>
                  </a:lnTo>
                  <a:lnTo>
                    <a:pt x="92" y="180"/>
                  </a:lnTo>
                  <a:lnTo>
                    <a:pt x="96" y="180"/>
                  </a:lnTo>
                  <a:lnTo>
                    <a:pt x="252" y="180"/>
                  </a:lnTo>
                  <a:lnTo>
                    <a:pt x="252" y="251"/>
                  </a:lnTo>
                  <a:lnTo>
                    <a:pt x="252" y="259"/>
                  </a:lnTo>
                  <a:lnTo>
                    <a:pt x="255" y="265"/>
                  </a:lnTo>
                  <a:lnTo>
                    <a:pt x="258" y="272"/>
                  </a:lnTo>
                  <a:lnTo>
                    <a:pt x="262" y="277"/>
                  </a:lnTo>
                  <a:lnTo>
                    <a:pt x="268" y="282"/>
                  </a:lnTo>
                  <a:lnTo>
                    <a:pt x="274" y="285"/>
                  </a:lnTo>
                  <a:lnTo>
                    <a:pt x="281" y="287"/>
                  </a:lnTo>
                  <a:lnTo>
                    <a:pt x="288" y="288"/>
                  </a:lnTo>
                  <a:lnTo>
                    <a:pt x="296" y="287"/>
                  </a:lnTo>
                  <a:lnTo>
                    <a:pt x="302" y="285"/>
                  </a:lnTo>
                  <a:lnTo>
                    <a:pt x="309" y="282"/>
                  </a:lnTo>
                  <a:lnTo>
                    <a:pt x="313" y="277"/>
                  </a:lnTo>
                  <a:lnTo>
                    <a:pt x="318" y="272"/>
                  </a:lnTo>
                  <a:lnTo>
                    <a:pt x="322" y="265"/>
                  </a:lnTo>
                  <a:lnTo>
                    <a:pt x="324" y="259"/>
                  </a:lnTo>
                  <a:lnTo>
                    <a:pt x="324" y="251"/>
                  </a:lnTo>
                  <a:lnTo>
                    <a:pt x="324" y="180"/>
                  </a:lnTo>
                  <a:lnTo>
                    <a:pt x="540" y="180"/>
                  </a:lnTo>
                  <a:lnTo>
                    <a:pt x="540" y="251"/>
                  </a:lnTo>
                  <a:lnTo>
                    <a:pt x="541" y="259"/>
                  </a:lnTo>
                  <a:lnTo>
                    <a:pt x="543" y="265"/>
                  </a:lnTo>
                  <a:lnTo>
                    <a:pt x="546" y="272"/>
                  </a:lnTo>
                  <a:lnTo>
                    <a:pt x="551" y="277"/>
                  </a:lnTo>
                  <a:lnTo>
                    <a:pt x="556" y="282"/>
                  </a:lnTo>
                  <a:lnTo>
                    <a:pt x="562" y="285"/>
                  </a:lnTo>
                  <a:lnTo>
                    <a:pt x="569" y="287"/>
                  </a:lnTo>
                  <a:lnTo>
                    <a:pt x="576" y="288"/>
                  </a:lnTo>
                  <a:lnTo>
                    <a:pt x="583" y="287"/>
                  </a:lnTo>
                  <a:lnTo>
                    <a:pt x="590" y="285"/>
                  </a:lnTo>
                  <a:lnTo>
                    <a:pt x="596" y="282"/>
                  </a:lnTo>
                  <a:lnTo>
                    <a:pt x="601" y="277"/>
                  </a:lnTo>
                  <a:lnTo>
                    <a:pt x="606" y="272"/>
                  </a:lnTo>
                  <a:lnTo>
                    <a:pt x="609" y="265"/>
                  </a:lnTo>
                  <a:lnTo>
                    <a:pt x="611" y="259"/>
                  </a:lnTo>
                  <a:lnTo>
                    <a:pt x="612" y="251"/>
                  </a:lnTo>
                  <a:lnTo>
                    <a:pt x="612" y="180"/>
                  </a:lnTo>
                  <a:lnTo>
                    <a:pt x="828" y="180"/>
                  </a:lnTo>
                  <a:lnTo>
                    <a:pt x="828" y="251"/>
                  </a:lnTo>
                  <a:lnTo>
                    <a:pt x="829" y="259"/>
                  </a:lnTo>
                  <a:lnTo>
                    <a:pt x="831" y="265"/>
                  </a:lnTo>
                  <a:lnTo>
                    <a:pt x="835" y="272"/>
                  </a:lnTo>
                  <a:lnTo>
                    <a:pt x="839" y="277"/>
                  </a:lnTo>
                  <a:lnTo>
                    <a:pt x="844" y="282"/>
                  </a:lnTo>
                  <a:lnTo>
                    <a:pt x="850" y="285"/>
                  </a:lnTo>
                  <a:lnTo>
                    <a:pt x="857" y="287"/>
                  </a:lnTo>
                  <a:lnTo>
                    <a:pt x="864" y="288"/>
                  </a:lnTo>
                  <a:lnTo>
                    <a:pt x="871" y="287"/>
                  </a:lnTo>
                  <a:lnTo>
                    <a:pt x="878" y="285"/>
                  </a:lnTo>
                  <a:lnTo>
                    <a:pt x="884" y="282"/>
                  </a:lnTo>
                  <a:lnTo>
                    <a:pt x="890" y="277"/>
                  </a:lnTo>
                  <a:lnTo>
                    <a:pt x="894" y="272"/>
                  </a:lnTo>
                  <a:lnTo>
                    <a:pt x="897" y="265"/>
                  </a:lnTo>
                  <a:lnTo>
                    <a:pt x="899" y="259"/>
                  </a:lnTo>
                  <a:lnTo>
                    <a:pt x="900" y="251"/>
                  </a:lnTo>
                  <a:lnTo>
                    <a:pt x="900" y="180"/>
                  </a:lnTo>
                  <a:lnTo>
                    <a:pt x="1056" y="180"/>
                  </a:lnTo>
                  <a:lnTo>
                    <a:pt x="1060" y="180"/>
                  </a:lnTo>
                  <a:lnTo>
                    <a:pt x="1066" y="181"/>
                  </a:lnTo>
                  <a:lnTo>
                    <a:pt x="1069" y="184"/>
                  </a:lnTo>
                  <a:lnTo>
                    <a:pt x="1073" y="186"/>
                  </a:lnTo>
                  <a:lnTo>
                    <a:pt x="1075" y="191"/>
                  </a:lnTo>
                  <a:lnTo>
                    <a:pt x="1078" y="194"/>
                  </a:lnTo>
                  <a:lnTo>
                    <a:pt x="1080" y="198"/>
                  </a:lnTo>
                  <a:lnTo>
                    <a:pt x="1080" y="204"/>
                  </a:lnTo>
                  <a:lnTo>
                    <a:pt x="1080" y="1056"/>
                  </a:lnTo>
                  <a:close/>
                  <a:moveTo>
                    <a:pt x="1056" y="108"/>
                  </a:moveTo>
                  <a:lnTo>
                    <a:pt x="900" y="108"/>
                  </a:lnTo>
                  <a:lnTo>
                    <a:pt x="900" y="35"/>
                  </a:lnTo>
                  <a:lnTo>
                    <a:pt x="899" y="29"/>
                  </a:lnTo>
                  <a:lnTo>
                    <a:pt x="897" y="21"/>
                  </a:lnTo>
                  <a:lnTo>
                    <a:pt x="894" y="16"/>
                  </a:lnTo>
                  <a:lnTo>
                    <a:pt x="890" y="10"/>
                  </a:lnTo>
                  <a:lnTo>
                    <a:pt x="884" y="6"/>
                  </a:lnTo>
                  <a:lnTo>
                    <a:pt x="878" y="3"/>
                  </a:lnTo>
                  <a:lnTo>
                    <a:pt x="871" y="1"/>
                  </a:lnTo>
                  <a:lnTo>
                    <a:pt x="864" y="0"/>
                  </a:lnTo>
                  <a:lnTo>
                    <a:pt x="857" y="1"/>
                  </a:lnTo>
                  <a:lnTo>
                    <a:pt x="850" y="3"/>
                  </a:lnTo>
                  <a:lnTo>
                    <a:pt x="844" y="6"/>
                  </a:lnTo>
                  <a:lnTo>
                    <a:pt x="839" y="10"/>
                  </a:lnTo>
                  <a:lnTo>
                    <a:pt x="835" y="16"/>
                  </a:lnTo>
                  <a:lnTo>
                    <a:pt x="831" y="21"/>
                  </a:lnTo>
                  <a:lnTo>
                    <a:pt x="829" y="29"/>
                  </a:lnTo>
                  <a:lnTo>
                    <a:pt x="828" y="35"/>
                  </a:lnTo>
                  <a:lnTo>
                    <a:pt x="828" y="108"/>
                  </a:lnTo>
                  <a:lnTo>
                    <a:pt x="612" y="108"/>
                  </a:lnTo>
                  <a:lnTo>
                    <a:pt x="612" y="35"/>
                  </a:lnTo>
                  <a:lnTo>
                    <a:pt x="611" y="29"/>
                  </a:lnTo>
                  <a:lnTo>
                    <a:pt x="609" y="21"/>
                  </a:lnTo>
                  <a:lnTo>
                    <a:pt x="606" y="16"/>
                  </a:lnTo>
                  <a:lnTo>
                    <a:pt x="601" y="10"/>
                  </a:lnTo>
                  <a:lnTo>
                    <a:pt x="596" y="6"/>
                  </a:lnTo>
                  <a:lnTo>
                    <a:pt x="590" y="3"/>
                  </a:lnTo>
                  <a:lnTo>
                    <a:pt x="583" y="1"/>
                  </a:lnTo>
                  <a:lnTo>
                    <a:pt x="576" y="0"/>
                  </a:lnTo>
                  <a:lnTo>
                    <a:pt x="569" y="1"/>
                  </a:lnTo>
                  <a:lnTo>
                    <a:pt x="562" y="3"/>
                  </a:lnTo>
                  <a:lnTo>
                    <a:pt x="556" y="6"/>
                  </a:lnTo>
                  <a:lnTo>
                    <a:pt x="551" y="10"/>
                  </a:lnTo>
                  <a:lnTo>
                    <a:pt x="546" y="16"/>
                  </a:lnTo>
                  <a:lnTo>
                    <a:pt x="543" y="21"/>
                  </a:lnTo>
                  <a:lnTo>
                    <a:pt x="541" y="29"/>
                  </a:lnTo>
                  <a:lnTo>
                    <a:pt x="540" y="35"/>
                  </a:lnTo>
                  <a:lnTo>
                    <a:pt x="540" y="108"/>
                  </a:lnTo>
                  <a:lnTo>
                    <a:pt x="324" y="108"/>
                  </a:lnTo>
                  <a:lnTo>
                    <a:pt x="324" y="35"/>
                  </a:lnTo>
                  <a:lnTo>
                    <a:pt x="324" y="29"/>
                  </a:lnTo>
                  <a:lnTo>
                    <a:pt x="322" y="21"/>
                  </a:lnTo>
                  <a:lnTo>
                    <a:pt x="318" y="16"/>
                  </a:lnTo>
                  <a:lnTo>
                    <a:pt x="313" y="10"/>
                  </a:lnTo>
                  <a:lnTo>
                    <a:pt x="309" y="6"/>
                  </a:lnTo>
                  <a:lnTo>
                    <a:pt x="302" y="3"/>
                  </a:lnTo>
                  <a:lnTo>
                    <a:pt x="296" y="1"/>
                  </a:lnTo>
                  <a:lnTo>
                    <a:pt x="288" y="0"/>
                  </a:lnTo>
                  <a:lnTo>
                    <a:pt x="281" y="1"/>
                  </a:lnTo>
                  <a:lnTo>
                    <a:pt x="274" y="3"/>
                  </a:lnTo>
                  <a:lnTo>
                    <a:pt x="268" y="6"/>
                  </a:lnTo>
                  <a:lnTo>
                    <a:pt x="262" y="10"/>
                  </a:lnTo>
                  <a:lnTo>
                    <a:pt x="258" y="16"/>
                  </a:lnTo>
                  <a:lnTo>
                    <a:pt x="255" y="21"/>
                  </a:lnTo>
                  <a:lnTo>
                    <a:pt x="252" y="29"/>
                  </a:lnTo>
                  <a:lnTo>
                    <a:pt x="252" y="35"/>
                  </a:lnTo>
                  <a:lnTo>
                    <a:pt x="252" y="108"/>
                  </a:lnTo>
                  <a:lnTo>
                    <a:pt x="96" y="108"/>
                  </a:lnTo>
                  <a:lnTo>
                    <a:pt x="86" y="109"/>
                  </a:lnTo>
                  <a:lnTo>
                    <a:pt x="76" y="110"/>
                  </a:lnTo>
                  <a:lnTo>
                    <a:pt x="68" y="112"/>
                  </a:lnTo>
                  <a:lnTo>
                    <a:pt x="59" y="115"/>
                  </a:lnTo>
                  <a:lnTo>
                    <a:pt x="50" y="120"/>
                  </a:lnTo>
                  <a:lnTo>
                    <a:pt x="42" y="124"/>
                  </a:lnTo>
                  <a:lnTo>
                    <a:pt x="35" y="129"/>
                  </a:lnTo>
                  <a:lnTo>
                    <a:pt x="28" y="136"/>
                  </a:lnTo>
                  <a:lnTo>
                    <a:pt x="22" y="142"/>
                  </a:lnTo>
                  <a:lnTo>
                    <a:pt x="16" y="150"/>
                  </a:lnTo>
                  <a:lnTo>
                    <a:pt x="12" y="158"/>
                  </a:lnTo>
                  <a:lnTo>
                    <a:pt x="7" y="166"/>
                  </a:lnTo>
                  <a:lnTo>
                    <a:pt x="4" y="175"/>
                  </a:lnTo>
                  <a:lnTo>
                    <a:pt x="2" y="184"/>
                  </a:lnTo>
                  <a:lnTo>
                    <a:pt x="1" y="194"/>
                  </a:lnTo>
                  <a:lnTo>
                    <a:pt x="0" y="204"/>
                  </a:lnTo>
                  <a:lnTo>
                    <a:pt x="0" y="1056"/>
                  </a:lnTo>
                  <a:lnTo>
                    <a:pt x="1" y="1066"/>
                  </a:lnTo>
                  <a:lnTo>
                    <a:pt x="2" y="1075"/>
                  </a:lnTo>
                  <a:lnTo>
                    <a:pt x="4" y="1084"/>
                  </a:lnTo>
                  <a:lnTo>
                    <a:pt x="7" y="1093"/>
                  </a:lnTo>
                  <a:lnTo>
                    <a:pt x="12" y="1101"/>
                  </a:lnTo>
                  <a:lnTo>
                    <a:pt x="16" y="1110"/>
                  </a:lnTo>
                  <a:lnTo>
                    <a:pt x="22" y="1116"/>
                  </a:lnTo>
                  <a:lnTo>
                    <a:pt x="28" y="1124"/>
                  </a:lnTo>
                  <a:lnTo>
                    <a:pt x="35" y="1129"/>
                  </a:lnTo>
                  <a:lnTo>
                    <a:pt x="42" y="1136"/>
                  </a:lnTo>
                  <a:lnTo>
                    <a:pt x="50" y="1140"/>
                  </a:lnTo>
                  <a:lnTo>
                    <a:pt x="59" y="1144"/>
                  </a:lnTo>
                  <a:lnTo>
                    <a:pt x="68" y="1148"/>
                  </a:lnTo>
                  <a:lnTo>
                    <a:pt x="76" y="1150"/>
                  </a:lnTo>
                  <a:lnTo>
                    <a:pt x="86" y="1151"/>
                  </a:lnTo>
                  <a:lnTo>
                    <a:pt x="96" y="1152"/>
                  </a:lnTo>
                  <a:lnTo>
                    <a:pt x="1056" y="1152"/>
                  </a:lnTo>
                  <a:lnTo>
                    <a:pt x="1066" y="1151"/>
                  </a:lnTo>
                  <a:lnTo>
                    <a:pt x="1075" y="1150"/>
                  </a:lnTo>
                  <a:lnTo>
                    <a:pt x="1084" y="1148"/>
                  </a:lnTo>
                  <a:lnTo>
                    <a:pt x="1094" y="1144"/>
                  </a:lnTo>
                  <a:lnTo>
                    <a:pt x="1101" y="1140"/>
                  </a:lnTo>
                  <a:lnTo>
                    <a:pt x="1110" y="1136"/>
                  </a:lnTo>
                  <a:lnTo>
                    <a:pt x="1118" y="1129"/>
                  </a:lnTo>
                  <a:lnTo>
                    <a:pt x="1124" y="1124"/>
                  </a:lnTo>
                  <a:lnTo>
                    <a:pt x="1130" y="1116"/>
                  </a:lnTo>
                  <a:lnTo>
                    <a:pt x="1136" y="1110"/>
                  </a:lnTo>
                  <a:lnTo>
                    <a:pt x="1140" y="1101"/>
                  </a:lnTo>
                  <a:lnTo>
                    <a:pt x="1145" y="1093"/>
                  </a:lnTo>
                  <a:lnTo>
                    <a:pt x="1148" y="1084"/>
                  </a:lnTo>
                  <a:lnTo>
                    <a:pt x="1150" y="1075"/>
                  </a:lnTo>
                  <a:lnTo>
                    <a:pt x="1151" y="1066"/>
                  </a:lnTo>
                  <a:lnTo>
                    <a:pt x="1152" y="1056"/>
                  </a:lnTo>
                  <a:lnTo>
                    <a:pt x="1152" y="204"/>
                  </a:lnTo>
                  <a:lnTo>
                    <a:pt x="1151" y="194"/>
                  </a:lnTo>
                  <a:lnTo>
                    <a:pt x="1150" y="184"/>
                  </a:lnTo>
                  <a:lnTo>
                    <a:pt x="1148" y="175"/>
                  </a:lnTo>
                  <a:lnTo>
                    <a:pt x="1145" y="166"/>
                  </a:lnTo>
                  <a:lnTo>
                    <a:pt x="1140" y="158"/>
                  </a:lnTo>
                  <a:lnTo>
                    <a:pt x="1136" y="150"/>
                  </a:lnTo>
                  <a:lnTo>
                    <a:pt x="1130" y="142"/>
                  </a:lnTo>
                  <a:lnTo>
                    <a:pt x="1124" y="136"/>
                  </a:lnTo>
                  <a:lnTo>
                    <a:pt x="1118" y="129"/>
                  </a:lnTo>
                  <a:lnTo>
                    <a:pt x="1110" y="124"/>
                  </a:lnTo>
                  <a:lnTo>
                    <a:pt x="1101" y="120"/>
                  </a:lnTo>
                  <a:lnTo>
                    <a:pt x="1094" y="115"/>
                  </a:lnTo>
                  <a:lnTo>
                    <a:pt x="1084" y="112"/>
                  </a:lnTo>
                  <a:lnTo>
                    <a:pt x="1075" y="110"/>
                  </a:lnTo>
                  <a:lnTo>
                    <a:pt x="1066" y="109"/>
                  </a:lnTo>
                  <a:lnTo>
                    <a:pt x="1056"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20"/>
            <p:cNvSpPr>
              <a:spLocks noChangeArrowheads="1"/>
            </p:cNvSpPr>
            <p:nvPr/>
          </p:nvSpPr>
          <p:spPr bwMode="auto">
            <a:xfrm>
              <a:off x="7271544" y="4732734"/>
              <a:ext cx="57150"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21"/>
            <p:cNvSpPr>
              <a:spLocks noChangeArrowheads="1"/>
            </p:cNvSpPr>
            <p:nvPr/>
          </p:nvSpPr>
          <p:spPr bwMode="auto">
            <a:xfrm>
              <a:off x="7271544" y="4804172"/>
              <a:ext cx="57150"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22"/>
            <p:cNvSpPr>
              <a:spLocks noChangeArrowheads="1"/>
            </p:cNvSpPr>
            <p:nvPr/>
          </p:nvSpPr>
          <p:spPr bwMode="auto">
            <a:xfrm>
              <a:off x="7271544" y="4875609"/>
              <a:ext cx="57150"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23"/>
            <p:cNvSpPr>
              <a:spLocks noChangeArrowheads="1"/>
            </p:cNvSpPr>
            <p:nvPr/>
          </p:nvSpPr>
          <p:spPr bwMode="auto">
            <a:xfrm>
              <a:off x="7371556" y="4875609"/>
              <a:ext cx="57150"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24"/>
            <p:cNvSpPr>
              <a:spLocks noChangeArrowheads="1"/>
            </p:cNvSpPr>
            <p:nvPr/>
          </p:nvSpPr>
          <p:spPr bwMode="auto">
            <a:xfrm>
              <a:off x="7371556" y="4804172"/>
              <a:ext cx="57150"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25"/>
            <p:cNvSpPr>
              <a:spLocks noChangeArrowheads="1"/>
            </p:cNvSpPr>
            <p:nvPr/>
          </p:nvSpPr>
          <p:spPr bwMode="auto">
            <a:xfrm>
              <a:off x="7371556" y="4732734"/>
              <a:ext cx="57150"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26"/>
            <p:cNvSpPr>
              <a:spLocks noChangeArrowheads="1"/>
            </p:cNvSpPr>
            <p:nvPr/>
          </p:nvSpPr>
          <p:spPr bwMode="auto">
            <a:xfrm>
              <a:off x="7471569" y="4875609"/>
              <a:ext cx="57150"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27"/>
            <p:cNvSpPr>
              <a:spLocks noChangeArrowheads="1"/>
            </p:cNvSpPr>
            <p:nvPr/>
          </p:nvSpPr>
          <p:spPr bwMode="auto">
            <a:xfrm>
              <a:off x="7471569" y="4804172"/>
              <a:ext cx="57150"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28"/>
            <p:cNvSpPr>
              <a:spLocks noChangeArrowheads="1"/>
            </p:cNvSpPr>
            <p:nvPr/>
          </p:nvSpPr>
          <p:spPr bwMode="auto">
            <a:xfrm>
              <a:off x="7471569" y="4732734"/>
              <a:ext cx="57150"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1" name="Text Placeholder 2"/>
          <p:cNvSpPr txBox="1">
            <a:spLocks/>
          </p:cNvSpPr>
          <p:nvPr/>
        </p:nvSpPr>
        <p:spPr>
          <a:xfrm>
            <a:off x="2695957" y="4250522"/>
            <a:ext cx="2005411" cy="333728"/>
          </a:xfrm>
          <a:prstGeom prst="rect">
            <a:avLst/>
          </a:prstGeom>
        </p:spPr>
        <p:txBody>
          <a:bodyPr vert="horz" lIns="121920" tIns="60960" rIns="121920" bIns="60960" rtlCol="0" anchor="ctr">
            <a:normAutofit/>
          </a:bodyPr>
          <a:lstStyle>
            <a:lvl1pPr marL="0" indent="0" algn="l" defTabSz="914400" rtl="0" eaLnBrk="1" latinLnBrk="0" hangingPunct="1">
              <a:lnSpc>
                <a:spcPct val="100000"/>
              </a:lnSpc>
              <a:spcBef>
                <a:spcPts val="1000"/>
              </a:spcBef>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1pPr>
            <a:lvl2pPr marL="457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200" kern="1200">
                <a:solidFill>
                  <a:schemeClr val="tx1"/>
                </a:solidFill>
                <a:latin typeface="Roboto" pitchFamily="2" charset="0"/>
                <a:ea typeface="Roboto" pitchFamily="2" charset="0"/>
                <a:cs typeface="+mn-cs"/>
              </a:defRPr>
            </a:lvl2pPr>
            <a:lvl3pPr marL="914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1000" kern="1200">
                <a:solidFill>
                  <a:schemeClr val="tx1"/>
                </a:solidFill>
                <a:latin typeface="Roboto" pitchFamily="2" charset="0"/>
                <a:ea typeface="Roboto" pitchFamily="2" charset="0"/>
                <a:cs typeface="+mn-cs"/>
              </a:defRPr>
            </a:lvl3pPr>
            <a:lvl4pPr marL="1371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4pPr>
            <a:lvl5pPr marL="18288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tx1"/>
                </a:solidFill>
                <a:latin typeface="Roboto" pitchFamily="2" charset="0"/>
                <a:ea typeface="Roboto" pitchFamily="2" charset="0"/>
                <a:cs typeface="+mn-cs"/>
              </a:defRPr>
            </a:lvl5pPr>
            <a:lvl6pPr marL="22860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SzPct val="80000"/>
              <a:buFont typeface="Corbel" pitchFamily="34" charset="0"/>
              <a:buNone/>
              <a:defRPr sz="900" kern="1200">
                <a:solidFill>
                  <a:schemeClr val="accent1"/>
                </a:solidFill>
                <a:latin typeface="+mn-lt"/>
                <a:ea typeface="+mn-ea"/>
                <a:cs typeface="+mn-cs"/>
              </a:defRPr>
            </a:lvl9pPr>
          </a:lstStyle>
          <a:p>
            <a:pPr>
              <a:spcBef>
                <a:spcPts val="0"/>
              </a:spcBef>
            </a:pPr>
            <a:r>
              <a:rPr lang="en-AU" b="1" dirty="0">
                <a:latin typeface="Montserrat" panose="00000500000000000000" pitchFamily="2" charset="0"/>
                <a:cs typeface="Open Sans"/>
              </a:rPr>
              <a:t>Patient</a:t>
            </a:r>
            <a:endParaRPr lang="en-AU" sz="1000" dirty="0">
              <a:latin typeface="Montserrat" panose="00000500000000000000" pitchFamily="2" charset="0"/>
              <a:cs typeface="Open Sans"/>
            </a:endParaRPr>
          </a:p>
        </p:txBody>
      </p:sp>
      <p:sp>
        <p:nvSpPr>
          <p:cNvPr id="52" name="Rectangle 51"/>
          <p:cNvSpPr/>
          <p:nvPr/>
        </p:nvSpPr>
        <p:spPr>
          <a:xfrm>
            <a:off x="2695957" y="4601912"/>
            <a:ext cx="2406080" cy="577081"/>
          </a:xfrm>
          <a:prstGeom prst="rect">
            <a:avLst/>
          </a:prstGeom>
        </p:spPr>
        <p:txBody>
          <a:bodyPr wrap="square">
            <a:spAutoFit/>
          </a:bodyPr>
          <a:lstStyle/>
          <a:p>
            <a:pPr>
              <a:buClr>
                <a:srgbClr val="E24848"/>
              </a:buClr>
              <a:defRPr/>
            </a:pPr>
            <a:r>
              <a:rPr lang="en-US" sz="105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p>
        </p:txBody>
      </p:sp>
      <p:sp>
        <p:nvSpPr>
          <p:cNvPr id="54" name="Title 11"/>
          <p:cNvSpPr txBox="1">
            <a:spLocks/>
          </p:cNvSpPr>
          <p:nvPr/>
        </p:nvSpPr>
        <p:spPr>
          <a:xfrm>
            <a:off x="4378420" y="1145552"/>
            <a:ext cx="3435161" cy="192764"/>
          </a:xfrm>
          <a:prstGeom prst="rect">
            <a:avLst/>
          </a:prstGeom>
        </p:spPr>
        <p:txBody>
          <a:bodyPr vert="horz"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dirty="0">
                <a:solidFill>
                  <a:schemeClr val="tx1">
                    <a:lumMod val="85000"/>
                    <a:lumOff val="15000"/>
                  </a:schemeClr>
                </a:solidFill>
                <a:ea typeface="Roboto" panose="02000000000000000000" pitchFamily="2" charset="0"/>
                <a:cs typeface="Open Sans Light" panose="020B0306030504020204" pitchFamily="34" charset="0"/>
              </a:rPr>
              <a:t>Insert Your Creative Idea </a:t>
            </a:r>
          </a:p>
        </p:txBody>
      </p:sp>
      <p:sp>
        <p:nvSpPr>
          <p:cNvPr id="55" name="Title 11"/>
          <p:cNvSpPr txBox="1">
            <a:spLocks/>
          </p:cNvSpPr>
          <p:nvPr/>
        </p:nvSpPr>
        <p:spPr>
          <a:xfrm>
            <a:off x="987778" y="513848"/>
            <a:ext cx="10216444"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1" spc="-150" dirty="0">
                <a:solidFill>
                  <a:srgbClr val="01678C"/>
                </a:solidFill>
                <a:latin typeface="Montserrat" panose="00000500000000000000" pitchFamily="2" charset="0"/>
                <a:ea typeface="Roboto" panose="02000000000000000000" pitchFamily="2" charset="0"/>
                <a:cs typeface="Times New Roman" panose="02020603050405020304" pitchFamily="18" charset="0"/>
              </a:rPr>
              <a:t>Finding</a:t>
            </a:r>
            <a:r>
              <a:rPr lang="en-US" sz="3600" b="1" spc="-150" dirty="0">
                <a:solidFill>
                  <a:schemeClr val="accent1"/>
                </a:solidFill>
                <a:latin typeface="Montserrat" panose="00000500000000000000" pitchFamily="2" charset="0"/>
                <a:ea typeface="Roboto" panose="02000000000000000000" pitchFamily="2" charset="0"/>
                <a:cs typeface="Times New Roman" panose="02020603050405020304" pitchFamily="18" charset="0"/>
              </a:rPr>
              <a:t> Patient</a:t>
            </a:r>
            <a:endParaRPr lang="en-US" sz="3600" spc="-150" dirty="0">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endParaRPr>
          </a:p>
        </p:txBody>
      </p:sp>
    </p:spTree>
    <p:extLst>
      <p:ext uri="{BB962C8B-B14F-4D97-AF65-F5344CB8AC3E}">
        <p14:creationId xmlns:p14="http://schemas.microsoft.com/office/powerpoint/2010/main" val="2001489967"/>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23" y="6664283"/>
            <a:ext cx="12189983" cy="206419"/>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
          <p:cNvSpPr/>
          <p:nvPr/>
        </p:nvSpPr>
        <p:spPr>
          <a:xfrm>
            <a:off x="5056966" y="6530678"/>
            <a:ext cx="2078068" cy="222924"/>
          </a:xfrm>
          <a:prstGeom prst="roundRect">
            <a:avLst>
              <a:gd name="adj" fmla="val 50000"/>
            </a:avLst>
          </a:prstGeom>
          <a:solidFill>
            <a:srgbClr val="018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effectLst>
                <a:outerShdw blurRad="63500" sx="102000" sy="102000" algn="ctr" rotWithShape="0">
                  <a:prstClr val="black">
                    <a:alpha val="40000"/>
                  </a:prstClr>
                </a:outerShdw>
              </a:effectLst>
              <a:latin typeface="+mj-lt"/>
            </a:endParaRPr>
          </a:p>
        </p:txBody>
      </p:sp>
      <p:sp>
        <p:nvSpPr>
          <p:cNvPr id="4" name="Date Placeholder 1"/>
          <p:cNvSpPr txBox="1">
            <a:spLocks/>
          </p:cNvSpPr>
          <p:nvPr>
            <p:custDataLst>
              <p:tags r:id="rId1"/>
            </p:custDataLst>
          </p:nvPr>
        </p:nvSpPr>
        <p:spPr>
          <a:xfrm>
            <a:off x="5006809" y="6498189"/>
            <a:ext cx="1530941"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Segoe UI" panose="020B0502040204020203" pitchFamily="34" charset="0"/>
                <a:ea typeface="Open Sans Light" panose="020B0306030504020204" pitchFamily="34" charset="0"/>
                <a:cs typeface="Segoe UI" panose="020B0502040204020203" pitchFamily="34" charset="0"/>
              </a:rPr>
              <a:t>www.yourcompanyname.com</a:t>
            </a:r>
          </a:p>
        </p:txBody>
      </p:sp>
      <p:cxnSp>
        <p:nvCxnSpPr>
          <p:cNvPr id="5" name="Straight Connector 4"/>
          <p:cNvCxnSpPr/>
          <p:nvPr/>
        </p:nvCxnSpPr>
        <p:spPr>
          <a:xfrm>
            <a:off x="6512721" y="6567488"/>
            <a:ext cx="0" cy="154781"/>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18" name="Picture Placeholder 17"/>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t="23770" b="23770"/>
          <a:stretch>
            <a:fillRect/>
          </a:stretch>
        </p:blipFill>
        <p:spPr/>
      </p:pic>
      <p:sp>
        <p:nvSpPr>
          <p:cNvPr id="8" name="Title 11"/>
          <p:cNvSpPr txBox="1">
            <a:spLocks/>
          </p:cNvSpPr>
          <p:nvPr/>
        </p:nvSpPr>
        <p:spPr>
          <a:xfrm>
            <a:off x="623108" y="549034"/>
            <a:ext cx="2816778"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b="1" spc="-150" dirty="0">
                <a:solidFill>
                  <a:srgbClr val="01678C"/>
                </a:solidFill>
                <a:latin typeface="Montserrat" panose="00000500000000000000" pitchFamily="50" charset="0"/>
                <a:ea typeface="Roboto" panose="02000000000000000000" pitchFamily="2" charset="0"/>
                <a:cs typeface="Segoe UI" panose="020B0502040204020203" pitchFamily="34" charset="0"/>
              </a:rPr>
              <a:t>ABOUT</a:t>
            </a:r>
            <a:r>
              <a:rPr lang="en-US" sz="3600" b="1" spc="-150" dirty="0">
                <a:solidFill>
                  <a:schemeClr val="accent1"/>
                </a:solidFill>
                <a:latin typeface="Montserrat" panose="00000500000000000000" pitchFamily="50" charset="0"/>
                <a:ea typeface="Roboto" panose="02000000000000000000" pitchFamily="2" charset="0"/>
                <a:cs typeface="Segoe UI" panose="020B0502040204020203" pitchFamily="34" charset="0"/>
              </a:rPr>
              <a:t> </a:t>
            </a:r>
            <a:r>
              <a:rPr lang="en-US" sz="3600" b="1" spc="-150" dirty="0">
                <a:solidFill>
                  <a:schemeClr val="tx1">
                    <a:lumMod val="85000"/>
                    <a:lumOff val="15000"/>
                  </a:schemeClr>
                </a:solidFill>
                <a:latin typeface="Montserrat" panose="00000500000000000000" pitchFamily="50" charset="0"/>
                <a:ea typeface="Roboto" panose="02000000000000000000" pitchFamily="2" charset="0"/>
                <a:cs typeface="Segoe UI" panose="020B0502040204020203" pitchFamily="34" charset="0"/>
              </a:rPr>
              <a:t>US</a:t>
            </a:r>
          </a:p>
        </p:txBody>
      </p:sp>
      <p:sp>
        <p:nvSpPr>
          <p:cNvPr id="9" name="Rectangle 8"/>
          <p:cNvSpPr/>
          <p:nvPr/>
        </p:nvSpPr>
        <p:spPr>
          <a:xfrm>
            <a:off x="6665393" y="1454302"/>
            <a:ext cx="4917007" cy="4641834"/>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p:cNvGrpSpPr/>
          <p:nvPr/>
        </p:nvGrpSpPr>
        <p:grpSpPr>
          <a:xfrm>
            <a:off x="7135034" y="1767853"/>
            <a:ext cx="3989594" cy="4014732"/>
            <a:chOff x="7120540" y="1561909"/>
            <a:chExt cx="3989594" cy="4014732"/>
          </a:xfrm>
        </p:grpSpPr>
        <p:sp>
          <p:nvSpPr>
            <p:cNvPr id="10" name="Rectangle 9"/>
            <p:cNvSpPr/>
            <p:nvPr/>
          </p:nvSpPr>
          <p:spPr>
            <a:xfrm>
              <a:off x="7120540" y="1561909"/>
              <a:ext cx="3707137" cy="3017348"/>
            </a:xfrm>
            <a:prstGeom prst="rect">
              <a:avLst/>
            </a:prstGeom>
          </p:spPr>
          <p:txBody>
            <a:bodyPr vert="horz" wrap="square" lIns="91416" tIns="45708" rIns="91416" bIns="45708" rtlCol="0" anchor="ctr">
              <a:noAutofit/>
            </a:bodyPr>
            <a:lstStyle/>
            <a:p>
              <a:pPr>
                <a:lnSpc>
                  <a:spcPct val="90000"/>
                </a:lnSpc>
                <a:spcBef>
                  <a:spcPct val="0"/>
                </a:spcBef>
              </a:pPr>
              <a:r>
                <a:rPr lang="en-US" sz="3600" b="1" spc="-150" noProof="1">
                  <a:solidFill>
                    <a:schemeClr val="bg1"/>
                  </a:solidFill>
                  <a:latin typeface="Montserrat" panose="00000500000000000000" pitchFamily="50" charset="0"/>
                  <a:ea typeface="Roboto" panose="02000000000000000000" pitchFamily="2" charset="0"/>
                  <a:cs typeface="Segoe UI" panose="020B0502040204020203" pitchFamily="34" charset="0"/>
                </a:rPr>
                <a:t>Definiteness Of </a:t>
              </a:r>
            </a:p>
            <a:p>
              <a:pPr>
                <a:lnSpc>
                  <a:spcPct val="90000"/>
                </a:lnSpc>
                <a:spcBef>
                  <a:spcPct val="0"/>
                </a:spcBef>
              </a:pPr>
              <a:r>
                <a:rPr lang="en-US" sz="3600" b="1" spc="-150" noProof="1">
                  <a:solidFill>
                    <a:schemeClr val="bg1"/>
                  </a:solidFill>
                  <a:latin typeface="Montserrat" panose="00000500000000000000" pitchFamily="50" charset="0"/>
                  <a:ea typeface="Roboto" panose="02000000000000000000" pitchFamily="2" charset="0"/>
                  <a:cs typeface="Segoe UI" panose="020B0502040204020203" pitchFamily="34" charset="0"/>
                </a:rPr>
                <a:t>Purpose </a:t>
              </a:r>
            </a:p>
            <a:p>
              <a:pPr>
                <a:lnSpc>
                  <a:spcPct val="90000"/>
                </a:lnSpc>
                <a:spcBef>
                  <a:spcPct val="0"/>
                </a:spcBef>
              </a:pPr>
              <a:r>
                <a:rPr lang="en-US" sz="3600" spc="-150" noProof="1">
                  <a:solidFill>
                    <a:schemeClr val="bg1"/>
                  </a:solidFill>
                  <a:latin typeface="Montserrat" panose="00000500000000000000" pitchFamily="50" charset="0"/>
                  <a:ea typeface="Roboto" panose="02000000000000000000" pitchFamily="2" charset="0"/>
                  <a:cs typeface="Segoe UI" panose="020B0502040204020203" pitchFamily="34" charset="0"/>
                </a:rPr>
                <a:t>Is The Starting  </a:t>
              </a:r>
            </a:p>
            <a:p>
              <a:pPr>
                <a:lnSpc>
                  <a:spcPct val="90000"/>
                </a:lnSpc>
                <a:spcBef>
                  <a:spcPct val="0"/>
                </a:spcBef>
              </a:pPr>
              <a:r>
                <a:rPr lang="en-US" sz="3600" spc="-150" noProof="1">
                  <a:solidFill>
                    <a:schemeClr val="bg1"/>
                  </a:solidFill>
                  <a:latin typeface="Montserrat" panose="00000500000000000000" pitchFamily="50" charset="0"/>
                  <a:ea typeface="Roboto" panose="02000000000000000000" pitchFamily="2" charset="0"/>
                  <a:cs typeface="Segoe UI" panose="020B0502040204020203" pitchFamily="34" charset="0"/>
                </a:rPr>
                <a:t>Point Of All </a:t>
              </a:r>
            </a:p>
            <a:p>
              <a:pPr>
                <a:lnSpc>
                  <a:spcPct val="90000"/>
                </a:lnSpc>
                <a:spcBef>
                  <a:spcPct val="0"/>
                </a:spcBef>
              </a:pPr>
              <a:r>
                <a:rPr lang="en-US" sz="3600" spc="-150" noProof="1">
                  <a:solidFill>
                    <a:schemeClr val="bg1"/>
                  </a:solidFill>
                  <a:latin typeface="Montserrat" panose="00000500000000000000" pitchFamily="50" charset="0"/>
                  <a:ea typeface="Roboto" panose="02000000000000000000" pitchFamily="2" charset="0"/>
                  <a:cs typeface="Segoe UI" panose="020B0502040204020203" pitchFamily="34" charset="0"/>
                </a:rPr>
                <a:t>Achievement</a:t>
              </a:r>
            </a:p>
          </p:txBody>
        </p:sp>
        <p:cxnSp>
          <p:nvCxnSpPr>
            <p:cNvPr id="11" name="Straight Connector 10"/>
            <p:cNvCxnSpPr/>
            <p:nvPr/>
          </p:nvCxnSpPr>
          <p:spPr>
            <a:xfrm>
              <a:off x="7135034" y="4561114"/>
              <a:ext cx="39751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7120541" y="4637922"/>
              <a:ext cx="3975100" cy="938719"/>
            </a:xfrm>
            <a:prstGeom prst="rect">
              <a:avLst/>
            </a:prstGeom>
          </p:spPr>
          <p:txBody>
            <a:bodyPr wrap="square">
              <a:spAutoFit/>
            </a:bodyPr>
            <a:lstStyle/>
            <a:p>
              <a:pPr>
                <a:buClr>
                  <a:srgbClr val="E24848"/>
                </a:buClr>
              </a:pPr>
              <a:r>
                <a:rPr lang="en-US" sz="1100" noProof="1">
                  <a:solidFill>
                    <a:schemeClr val="bg1"/>
                  </a:solidFill>
                  <a:latin typeface="Montserrat" panose="00000500000000000000" pitchFamily="50" charset="0"/>
                  <a:ea typeface="Open Sans Light" panose="020B0306030504020204" pitchFamily="34" charset="0"/>
                  <a:cs typeface="Segoe UI" panose="020B0502040204020203" pitchFamily="34" charset="0"/>
                </a:rPr>
                <a:t>Lorem ipsum dolor sit amet, consectetur adipiscing elit. Nulla imperdiet volutpat dui at fermentum. Aliquam erat volutpat. Aenean lacinia lacus aliquet ante mollis, sollicitudin tempor tortor aliquam. Nulla facilisi. </a:t>
              </a:r>
            </a:p>
          </p:txBody>
        </p:sp>
      </p:grpSp>
      <p:sp>
        <p:nvSpPr>
          <p:cNvPr id="17" name="TextBox 16"/>
          <p:cNvSpPr txBox="1"/>
          <p:nvPr/>
        </p:nvSpPr>
        <p:spPr>
          <a:xfrm>
            <a:off x="6665393" y="6505535"/>
            <a:ext cx="335348" cy="261610"/>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01</a:t>
            </a:r>
          </a:p>
        </p:txBody>
      </p:sp>
    </p:spTree>
    <p:extLst>
      <p:ext uri="{BB962C8B-B14F-4D97-AF65-F5344CB8AC3E}">
        <p14:creationId xmlns:p14="http://schemas.microsoft.com/office/powerpoint/2010/main" val="3330845675"/>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Placeholder 28"/>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10728" b="10728"/>
          <a:stretch>
            <a:fillRect/>
          </a:stretch>
        </p:blipFill>
        <p:spPr/>
      </p:pic>
      <p:sp>
        <p:nvSpPr>
          <p:cNvPr id="30" name="Rectangle 29"/>
          <p:cNvSpPr/>
          <p:nvPr/>
        </p:nvSpPr>
        <p:spPr>
          <a:xfrm>
            <a:off x="0" y="0"/>
            <a:ext cx="12192000" cy="6664283"/>
          </a:xfrm>
          <a:prstGeom prst="rect">
            <a:avLst/>
          </a:prstGeom>
          <a:solidFill>
            <a:schemeClr val="tx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p:nvSpPr>
        <p:spPr>
          <a:xfrm>
            <a:off x="2023" y="6664283"/>
            <a:ext cx="12189983" cy="206419"/>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
          <p:cNvSpPr/>
          <p:nvPr/>
        </p:nvSpPr>
        <p:spPr>
          <a:xfrm>
            <a:off x="5056966" y="6530678"/>
            <a:ext cx="2078068" cy="222924"/>
          </a:xfrm>
          <a:prstGeom prst="roundRect">
            <a:avLst>
              <a:gd name="adj" fmla="val 50000"/>
            </a:avLst>
          </a:prstGeom>
          <a:solidFill>
            <a:srgbClr val="018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effectLst>
                <a:outerShdw blurRad="63500" sx="102000" sy="102000" algn="ctr" rotWithShape="0">
                  <a:prstClr val="black">
                    <a:alpha val="40000"/>
                  </a:prstClr>
                </a:outerShdw>
              </a:effectLst>
              <a:latin typeface="+mj-lt"/>
            </a:endParaRPr>
          </a:p>
        </p:txBody>
      </p:sp>
      <p:cxnSp>
        <p:nvCxnSpPr>
          <p:cNvPr id="4" name="Straight Connector 3"/>
          <p:cNvCxnSpPr/>
          <p:nvPr/>
        </p:nvCxnSpPr>
        <p:spPr>
          <a:xfrm>
            <a:off x="6512721" y="6567488"/>
            <a:ext cx="0" cy="154781"/>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6665393" y="6505535"/>
            <a:ext cx="335348" cy="261610"/>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19</a:t>
            </a:r>
          </a:p>
        </p:txBody>
      </p:sp>
      <p:sp>
        <p:nvSpPr>
          <p:cNvPr id="6" name="Date Placeholder 1"/>
          <p:cNvSpPr txBox="1">
            <a:spLocks/>
          </p:cNvSpPr>
          <p:nvPr>
            <p:custDataLst>
              <p:tags r:id="rId1"/>
            </p:custDataLst>
          </p:nvPr>
        </p:nvSpPr>
        <p:spPr>
          <a:xfrm>
            <a:off x="5006809" y="6498189"/>
            <a:ext cx="1530941"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Segoe UI" panose="020B0502040204020203" pitchFamily="34" charset="0"/>
                <a:ea typeface="Open Sans Light" panose="020B0306030504020204" pitchFamily="34" charset="0"/>
                <a:cs typeface="Segoe UI" panose="020B0502040204020203" pitchFamily="34" charset="0"/>
              </a:rPr>
              <a:t>www.yourcompanyname.com</a:t>
            </a:r>
          </a:p>
        </p:txBody>
      </p:sp>
      <p:sp>
        <p:nvSpPr>
          <p:cNvPr id="7" name="Title 1"/>
          <p:cNvSpPr txBox="1">
            <a:spLocks/>
          </p:cNvSpPr>
          <p:nvPr/>
        </p:nvSpPr>
        <p:spPr>
          <a:xfrm>
            <a:off x="3885470" y="1631896"/>
            <a:ext cx="4953730" cy="1938992"/>
          </a:xfrm>
          <a:prstGeom prst="rect">
            <a:avLst/>
          </a:prstGeom>
          <a:noFill/>
        </p:spPr>
        <p:txBody>
          <a:bodyPr wrap="square">
            <a:spAutoFit/>
          </a:bodyPr>
          <a:lstStyle>
            <a:defPPr>
              <a:defRPr lang="en-US"/>
            </a:defPPr>
            <a:lvl1pPr>
              <a:defRPr sz="960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6000" spc="-150" dirty="0">
                <a:solidFill>
                  <a:schemeClr val="bg1"/>
                </a:solidFill>
                <a:latin typeface="Montserrat" panose="00000500000000000000" pitchFamily="2" charset="0"/>
              </a:rPr>
              <a:t>CONTACT </a:t>
            </a:r>
            <a:r>
              <a:rPr lang="en-US" sz="6000" b="1" spc="-150" dirty="0">
                <a:solidFill>
                  <a:schemeClr val="bg1"/>
                </a:solidFill>
                <a:latin typeface="Montserrat" panose="00000500000000000000" pitchFamily="2" charset="0"/>
              </a:rPr>
              <a:t>US</a:t>
            </a:r>
          </a:p>
        </p:txBody>
      </p:sp>
      <p:grpSp>
        <p:nvGrpSpPr>
          <p:cNvPr id="8" name="Group 7"/>
          <p:cNvGrpSpPr/>
          <p:nvPr/>
        </p:nvGrpSpPr>
        <p:grpSpPr>
          <a:xfrm>
            <a:off x="4166075" y="3883902"/>
            <a:ext cx="5896474" cy="1044900"/>
            <a:chOff x="3004104" y="5032464"/>
            <a:chExt cx="5896474" cy="1044900"/>
          </a:xfrm>
        </p:grpSpPr>
        <p:sp>
          <p:nvSpPr>
            <p:cNvPr id="9" name="TextBox 8"/>
            <p:cNvSpPr txBox="1"/>
            <p:nvPr/>
          </p:nvSpPr>
          <p:spPr>
            <a:xfrm>
              <a:off x="3291423" y="5045616"/>
              <a:ext cx="1282723" cy="276999"/>
            </a:xfrm>
            <a:prstGeom prst="rect">
              <a:avLst/>
            </a:prstGeom>
            <a:noFill/>
          </p:spPr>
          <p:txBody>
            <a:bodyPr wrap="none" rtlCol="0">
              <a:spAutoFit/>
            </a:bodyPr>
            <a:lstStyle/>
            <a:p>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123 123456789</a:t>
              </a:r>
            </a:p>
          </p:txBody>
        </p:sp>
        <p:sp>
          <p:nvSpPr>
            <p:cNvPr id="10" name="TextBox 9"/>
            <p:cNvSpPr txBox="1"/>
            <p:nvPr/>
          </p:nvSpPr>
          <p:spPr>
            <a:xfrm>
              <a:off x="3291423" y="5391575"/>
              <a:ext cx="1895327" cy="276999"/>
            </a:xfrm>
            <a:prstGeom prst="rect">
              <a:avLst/>
            </a:prstGeom>
            <a:noFill/>
          </p:spPr>
          <p:txBody>
            <a:bodyPr wrap="none" rtlCol="0">
              <a:spAutoFit/>
            </a:bodyPr>
            <a:lstStyle/>
            <a:p>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websitename.com</a:t>
              </a:r>
            </a:p>
          </p:txBody>
        </p:sp>
        <p:sp>
          <p:nvSpPr>
            <p:cNvPr id="11" name="TextBox 10"/>
            <p:cNvSpPr txBox="1"/>
            <p:nvPr/>
          </p:nvSpPr>
          <p:spPr>
            <a:xfrm>
              <a:off x="3291423" y="5739930"/>
              <a:ext cx="1282723" cy="276999"/>
            </a:xfrm>
            <a:prstGeom prst="rect">
              <a:avLst/>
            </a:prstGeom>
            <a:noFill/>
          </p:spPr>
          <p:txBody>
            <a:bodyPr wrap="none" rtlCol="0">
              <a:spAutoFit/>
            </a:bodyPr>
            <a:lstStyle/>
            <a:p>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mail@mail.com</a:t>
              </a:r>
            </a:p>
          </p:txBody>
        </p:sp>
        <p:sp>
          <p:nvSpPr>
            <p:cNvPr id="12" name="TextBox 11"/>
            <p:cNvSpPr txBox="1"/>
            <p:nvPr/>
          </p:nvSpPr>
          <p:spPr>
            <a:xfrm>
              <a:off x="6555064" y="5045616"/>
              <a:ext cx="2345514" cy="276999"/>
            </a:xfrm>
            <a:prstGeom prst="rect">
              <a:avLst/>
            </a:prstGeom>
            <a:noFill/>
          </p:spPr>
          <p:txBody>
            <a:bodyPr wrap="none" rtlCol="0">
              <a:spAutoFit/>
            </a:bodyPr>
            <a:lstStyle/>
            <a:p>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Facebook.com/</a:t>
              </a:r>
              <a:r>
                <a:rPr lang="en-US" sz="12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facebookname</a:t>
              </a:r>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TextBox 12"/>
            <p:cNvSpPr txBox="1"/>
            <p:nvPr/>
          </p:nvSpPr>
          <p:spPr>
            <a:xfrm>
              <a:off x="6555064" y="5431033"/>
              <a:ext cx="1953163" cy="276999"/>
            </a:xfrm>
            <a:prstGeom prst="rect">
              <a:avLst/>
            </a:prstGeom>
            <a:noFill/>
          </p:spPr>
          <p:txBody>
            <a:bodyPr wrap="none" rtlCol="0">
              <a:spAutoFit/>
            </a:bodyPr>
            <a:lstStyle/>
            <a:p>
              <a:r>
                <a:rPr lang="en-US" sz="1200">
                  <a:solidFill>
                    <a:schemeClr val="bg1"/>
                  </a:solidFill>
                  <a:latin typeface="Open Sans" panose="020B0606030504020204" pitchFamily="34" charset="0"/>
                  <a:ea typeface="Open Sans" panose="020B0606030504020204" pitchFamily="34" charset="0"/>
                  <a:cs typeface="Open Sans" panose="020B0606030504020204" pitchFamily="34" charset="0"/>
                </a:rPr>
                <a:t>Twittercom/Twittername</a:t>
              </a:r>
            </a:p>
          </p:txBody>
        </p:sp>
        <p:sp>
          <p:nvSpPr>
            <p:cNvPr id="14" name="TextBox 13"/>
            <p:cNvSpPr txBox="1"/>
            <p:nvPr/>
          </p:nvSpPr>
          <p:spPr>
            <a:xfrm>
              <a:off x="6555064" y="5800365"/>
              <a:ext cx="2318263" cy="276999"/>
            </a:xfrm>
            <a:prstGeom prst="rect">
              <a:avLst/>
            </a:prstGeom>
            <a:noFill/>
          </p:spPr>
          <p:txBody>
            <a:bodyPr wrap="none" rtlCol="0">
              <a:spAutoFit/>
            </a:bodyPr>
            <a:lstStyle/>
            <a:p>
              <a:r>
                <a:rPr lang="en-US" sz="1200">
                  <a:solidFill>
                    <a:schemeClr val="bg1"/>
                  </a:solidFill>
                  <a:latin typeface="Open Sans" panose="020B0606030504020204" pitchFamily="34" charset="0"/>
                  <a:ea typeface="Open Sans" panose="020B0606030504020204" pitchFamily="34" charset="0"/>
                  <a:cs typeface="Open Sans" panose="020B0606030504020204" pitchFamily="34" charset="0"/>
                </a:rPr>
                <a:t>Googleplus.com/Googlename</a:t>
              </a:r>
            </a:p>
          </p:txBody>
        </p:sp>
        <p:sp>
          <p:nvSpPr>
            <p:cNvPr id="15" name="Freeform 41"/>
            <p:cNvSpPr>
              <a:spLocks/>
            </p:cNvSpPr>
            <p:nvPr/>
          </p:nvSpPr>
          <p:spPr bwMode="auto">
            <a:xfrm>
              <a:off x="6196892" y="5054257"/>
              <a:ext cx="117648" cy="250983"/>
            </a:xfrm>
            <a:custGeom>
              <a:avLst/>
              <a:gdLst>
                <a:gd name="T0" fmla="*/ 180 w 180"/>
                <a:gd name="T1" fmla="*/ 124 h 385"/>
                <a:gd name="T2" fmla="*/ 120 w 180"/>
                <a:gd name="T3" fmla="*/ 124 h 385"/>
                <a:gd name="T4" fmla="*/ 120 w 180"/>
                <a:gd name="T5" fmla="*/ 84 h 385"/>
                <a:gd name="T6" fmla="*/ 120 w 180"/>
                <a:gd name="T7" fmla="*/ 84 h 385"/>
                <a:gd name="T8" fmla="*/ 122 w 180"/>
                <a:gd name="T9" fmla="*/ 74 h 385"/>
                <a:gd name="T10" fmla="*/ 126 w 180"/>
                <a:gd name="T11" fmla="*/ 70 h 385"/>
                <a:gd name="T12" fmla="*/ 130 w 180"/>
                <a:gd name="T13" fmla="*/ 66 h 385"/>
                <a:gd name="T14" fmla="*/ 136 w 180"/>
                <a:gd name="T15" fmla="*/ 66 h 385"/>
                <a:gd name="T16" fmla="*/ 136 w 180"/>
                <a:gd name="T17" fmla="*/ 66 h 385"/>
                <a:gd name="T18" fmla="*/ 180 w 180"/>
                <a:gd name="T19" fmla="*/ 66 h 385"/>
                <a:gd name="T20" fmla="*/ 180 w 180"/>
                <a:gd name="T21" fmla="*/ 0 h 385"/>
                <a:gd name="T22" fmla="*/ 120 w 180"/>
                <a:gd name="T23" fmla="*/ 0 h 385"/>
                <a:gd name="T24" fmla="*/ 120 w 180"/>
                <a:gd name="T25" fmla="*/ 0 h 385"/>
                <a:gd name="T26" fmla="*/ 98 w 180"/>
                <a:gd name="T27" fmla="*/ 2 h 385"/>
                <a:gd name="T28" fmla="*/ 80 w 180"/>
                <a:gd name="T29" fmla="*/ 8 h 385"/>
                <a:gd name="T30" fmla="*/ 66 w 180"/>
                <a:gd name="T31" fmla="*/ 16 h 385"/>
                <a:gd name="T32" fmla="*/ 54 w 180"/>
                <a:gd name="T33" fmla="*/ 28 h 385"/>
                <a:gd name="T34" fmla="*/ 48 w 180"/>
                <a:gd name="T35" fmla="*/ 40 h 385"/>
                <a:gd name="T36" fmla="*/ 42 w 180"/>
                <a:gd name="T37" fmla="*/ 54 h 385"/>
                <a:gd name="T38" fmla="*/ 40 w 180"/>
                <a:gd name="T39" fmla="*/ 68 h 385"/>
                <a:gd name="T40" fmla="*/ 40 w 180"/>
                <a:gd name="T41" fmla="*/ 80 h 385"/>
                <a:gd name="T42" fmla="*/ 40 w 180"/>
                <a:gd name="T43" fmla="*/ 124 h 385"/>
                <a:gd name="T44" fmla="*/ 0 w 180"/>
                <a:gd name="T45" fmla="*/ 124 h 385"/>
                <a:gd name="T46" fmla="*/ 0 w 180"/>
                <a:gd name="T47" fmla="*/ 192 h 385"/>
                <a:gd name="T48" fmla="*/ 40 w 180"/>
                <a:gd name="T49" fmla="*/ 192 h 385"/>
                <a:gd name="T50" fmla="*/ 40 w 180"/>
                <a:gd name="T51" fmla="*/ 192 h 385"/>
                <a:gd name="T52" fmla="*/ 40 w 180"/>
                <a:gd name="T53" fmla="*/ 385 h 385"/>
                <a:gd name="T54" fmla="*/ 120 w 180"/>
                <a:gd name="T55" fmla="*/ 385 h 385"/>
                <a:gd name="T56" fmla="*/ 120 w 180"/>
                <a:gd name="T57" fmla="*/ 385 h 385"/>
                <a:gd name="T58" fmla="*/ 120 w 180"/>
                <a:gd name="T59" fmla="*/ 192 h 385"/>
                <a:gd name="T60" fmla="*/ 174 w 180"/>
                <a:gd name="T61" fmla="*/ 192 h 385"/>
                <a:gd name="T62" fmla="*/ 180 w 180"/>
                <a:gd name="T63" fmla="*/ 12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385">
                  <a:moveTo>
                    <a:pt x="180" y="124"/>
                  </a:moveTo>
                  <a:lnTo>
                    <a:pt x="120" y="124"/>
                  </a:lnTo>
                  <a:lnTo>
                    <a:pt x="120" y="84"/>
                  </a:lnTo>
                  <a:lnTo>
                    <a:pt x="120" y="84"/>
                  </a:lnTo>
                  <a:lnTo>
                    <a:pt x="122" y="74"/>
                  </a:lnTo>
                  <a:lnTo>
                    <a:pt x="126" y="70"/>
                  </a:lnTo>
                  <a:lnTo>
                    <a:pt x="130" y="66"/>
                  </a:lnTo>
                  <a:lnTo>
                    <a:pt x="136" y="66"/>
                  </a:lnTo>
                  <a:lnTo>
                    <a:pt x="136" y="66"/>
                  </a:lnTo>
                  <a:lnTo>
                    <a:pt x="180" y="66"/>
                  </a:lnTo>
                  <a:lnTo>
                    <a:pt x="180" y="0"/>
                  </a:lnTo>
                  <a:lnTo>
                    <a:pt x="120" y="0"/>
                  </a:lnTo>
                  <a:lnTo>
                    <a:pt x="120" y="0"/>
                  </a:lnTo>
                  <a:lnTo>
                    <a:pt x="98" y="2"/>
                  </a:lnTo>
                  <a:lnTo>
                    <a:pt x="80" y="8"/>
                  </a:lnTo>
                  <a:lnTo>
                    <a:pt x="66" y="16"/>
                  </a:lnTo>
                  <a:lnTo>
                    <a:pt x="54" y="28"/>
                  </a:lnTo>
                  <a:lnTo>
                    <a:pt x="48" y="40"/>
                  </a:lnTo>
                  <a:lnTo>
                    <a:pt x="42" y="54"/>
                  </a:lnTo>
                  <a:lnTo>
                    <a:pt x="40" y="68"/>
                  </a:lnTo>
                  <a:lnTo>
                    <a:pt x="40" y="80"/>
                  </a:lnTo>
                  <a:lnTo>
                    <a:pt x="40" y="124"/>
                  </a:lnTo>
                  <a:lnTo>
                    <a:pt x="0" y="124"/>
                  </a:lnTo>
                  <a:lnTo>
                    <a:pt x="0" y="192"/>
                  </a:lnTo>
                  <a:lnTo>
                    <a:pt x="40" y="192"/>
                  </a:lnTo>
                  <a:lnTo>
                    <a:pt x="40" y="192"/>
                  </a:lnTo>
                  <a:lnTo>
                    <a:pt x="40" y="385"/>
                  </a:lnTo>
                  <a:lnTo>
                    <a:pt x="120" y="385"/>
                  </a:lnTo>
                  <a:lnTo>
                    <a:pt x="120" y="385"/>
                  </a:lnTo>
                  <a:lnTo>
                    <a:pt x="120" y="192"/>
                  </a:lnTo>
                  <a:lnTo>
                    <a:pt x="174" y="192"/>
                  </a:lnTo>
                  <a:lnTo>
                    <a:pt x="180" y="124"/>
                  </a:lnTo>
                  <a:close/>
                </a:path>
              </a:pathLst>
            </a:custGeom>
            <a:noFill/>
            <a:ln>
              <a:solidFill>
                <a:schemeClr val="bg1"/>
              </a:solidFill>
            </a:ln>
          </p:spPr>
          <p:txBody>
            <a:bodyPr vert="horz" wrap="square" lIns="91440" tIns="45720" rIns="91440" bIns="45720" numCol="1" anchor="t" anchorCtr="0" compatLnSpc="1">
              <a:prstTxWarp prst="textNoShape">
                <a:avLst/>
              </a:prstTxWarp>
            </a:bodyPr>
            <a:lstStyle/>
            <a:p>
              <a:pPr algn="ctr"/>
              <a:endParaRPr lang="en-US"/>
            </a:p>
          </p:txBody>
        </p:sp>
        <p:sp>
          <p:nvSpPr>
            <p:cNvPr id="16" name="Freeform 184"/>
            <p:cNvSpPr>
              <a:spLocks/>
            </p:cNvSpPr>
            <p:nvPr/>
          </p:nvSpPr>
          <p:spPr bwMode="auto">
            <a:xfrm>
              <a:off x="6126957" y="5472691"/>
              <a:ext cx="257519" cy="209153"/>
            </a:xfrm>
            <a:custGeom>
              <a:avLst/>
              <a:gdLst>
                <a:gd name="T0" fmla="*/ 393 w 393"/>
                <a:gd name="T1" fmla="*/ 38 h 319"/>
                <a:gd name="T2" fmla="*/ 347 w 393"/>
                <a:gd name="T3" fmla="*/ 52 h 319"/>
                <a:gd name="T4" fmla="*/ 359 w 393"/>
                <a:gd name="T5" fmla="*/ 42 h 319"/>
                <a:gd name="T6" fmla="*/ 377 w 393"/>
                <a:gd name="T7" fmla="*/ 20 h 319"/>
                <a:gd name="T8" fmla="*/ 383 w 393"/>
                <a:gd name="T9" fmla="*/ 6 h 319"/>
                <a:gd name="T10" fmla="*/ 345 w 393"/>
                <a:gd name="T11" fmla="*/ 22 h 319"/>
                <a:gd name="T12" fmla="*/ 331 w 393"/>
                <a:gd name="T13" fmla="*/ 26 h 319"/>
                <a:gd name="T14" fmla="*/ 305 w 393"/>
                <a:gd name="T15" fmla="*/ 8 h 319"/>
                <a:gd name="T16" fmla="*/ 273 w 393"/>
                <a:gd name="T17" fmla="*/ 0 h 319"/>
                <a:gd name="T18" fmla="*/ 255 w 393"/>
                <a:gd name="T19" fmla="*/ 2 h 319"/>
                <a:gd name="T20" fmla="*/ 227 w 393"/>
                <a:gd name="T21" fmla="*/ 14 h 319"/>
                <a:gd name="T22" fmla="*/ 205 w 393"/>
                <a:gd name="T23" fmla="*/ 36 h 319"/>
                <a:gd name="T24" fmla="*/ 193 w 393"/>
                <a:gd name="T25" fmla="*/ 64 h 319"/>
                <a:gd name="T26" fmla="*/ 191 w 393"/>
                <a:gd name="T27" fmla="*/ 82 h 319"/>
                <a:gd name="T28" fmla="*/ 193 w 393"/>
                <a:gd name="T29" fmla="*/ 100 h 319"/>
                <a:gd name="T30" fmla="*/ 145 w 393"/>
                <a:gd name="T31" fmla="*/ 92 h 319"/>
                <a:gd name="T32" fmla="*/ 99 w 393"/>
                <a:gd name="T33" fmla="*/ 74 h 319"/>
                <a:gd name="T34" fmla="*/ 62 w 393"/>
                <a:gd name="T35" fmla="*/ 48 h 319"/>
                <a:gd name="T36" fmla="*/ 28 w 393"/>
                <a:gd name="T37" fmla="*/ 16 h 319"/>
                <a:gd name="T38" fmla="*/ 24 w 393"/>
                <a:gd name="T39" fmla="*/ 24 h 319"/>
                <a:gd name="T40" fmla="*/ 18 w 393"/>
                <a:gd name="T41" fmla="*/ 44 h 319"/>
                <a:gd name="T42" fmla="*/ 16 w 393"/>
                <a:gd name="T43" fmla="*/ 56 h 319"/>
                <a:gd name="T44" fmla="*/ 20 w 393"/>
                <a:gd name="T45" fmla="*/ 76 h 319"/>
                <a:gd name="T46" fmla="*/ 26 w 393"/>
                <a:gd name="T47" fmla="*/ 94 h 319"/>
                <a:gd name="T48" fmla="*/ 52 w 393"/>
                <a:gd name="T49" fmla="*/ 124 h 319"/>
                <a:gd name="T50" fmla="*/ 34 w 393"/>
                <a:gd name="T51" fmla="*/ 120 h 319"/>
                <a:gd name="T52" fmla="*/ 16 w 393"/>
                <a:gd name="T53" fmla="*/ 114 h 319"/>
                <a:gd name="T54" fmla="*/ 16 w 393"/>
                <a:gd name="T55" fmla="*/ 114 h 319"/>
                <a:gd name="T56" fmla="*/ 22 w 393"/>
                <a:gd name="T57" fmla="*/ 142 h 319"/>
                <a:gd name="T58" fmla="*/ 34 w 393"/>
                <a:gd name="T59" fmla="*/ 166 h 319"/>
                <a:gd name="T60" fmla="*/ 56 w 393"/>
                <a:gd name="T61" fmla="*/ 183 h 319"/>
                <a:gd name="T62" fmla="*/ 82 w 393"/>
                <a:gd name="T63" fmla="*/ 193 h 319"/>
                <a:gd name="T64" fmla="*/ 70 w 393"/>
                <a:gd name="T65" fmla="*/ 195 h 319"/>
                <a:gd name="T66" fmla="*/ 60 w 393"/>
                <a:gd name="T67" fmla="*/ 195 h 319"/>
                <a:gd name="T68" fmla="*/ 44 w 393"/>
                <a:gd name="T69" fmla="*/ 193 h 319"/>
                <a:gd name="T70" fmla="*/ 56 w 393"/>
                <a:gd name="T71" fmla="*/ 215 h 319"/>
                <a:gd name="T72" fmla="*/ 72 w 393"/>
                <a:gd name="T73" fmla="*/ 233 h 319"/>
                <a:gd name="T74" fmla="*/ 93 w 393"/>
                <a:gd name="T75" fmla="*/ 245 h 319"/>
                <a:gd name="T76" fmla="*/ 119 w 393"/>
                <a:gd name="T77" fmla="*/ 249 h 319"/>
                <a:gd name="T78" fmla="*/ 97 w 393"/>
                <a:gd name="T79" fmla="*/ 265 h 319"/>
                <a:gd name="T80" fmla="*/ 48 w 393"/>
                <a:gd name="T81" fmla="*/ 283 h 319"/>
                <a:gd name="T82" fmla="*/ 20 w 393"/>
                <a:gd name="T83" fmla="*/ 285 h 319"/>
                <a:gd name="T84" fmla="*/ 0 w 393"/>
                <a:gd name="T85" fmla="*/ 283 h 319"/>
                <a:gd name="T86" fmla="*/ 28 w 393"/>
                <a:gd name="T87" fmla="*/ 299 h 319"/>
                <a:gd name="T88" fmla="*/ 89 w 393"/>
                <a:gd name="T89" fmla="*/ 317 h 319"/>
                <a:gd name="T90" fmla="*/ 123 w 393"/>
                <a:gd name="T91" fmla="*/ 319 h 319"/>
                <a:gd name="T92" fmla="*/ 151 w 393"/>
                <a:gd name="T93" fmla="*/ 319 h 319"/>
                <a:gd name="T94" fmla="*/ 199 w 393"/>
                <a:gd name="T95" fmla="*/ 307 h 319"/>
                <a:gd name="T96" fmla="*/ 243 w 393"/>
                <a:gd name="T97" fmla="*/ 287 h 319"/>
                <a:gd name="T98" fmla="*/ 279 w 393"/>
                <a:gd name="T99" fmla="*/ 261 h 319"/>
                <a:gd name="T100" fmla="*/ 307 w 393"/>
                <a:gd name="T101" fmla="*/ 227 h 319"/>
                <a:gd name="T102" fmla="*/ 329 w 393"/>
                <a:gd name="T103" fmla="*/ 191 h 319"/>
                <a:gd name="T104" fmla="*/ 345 w 393"/>
                <a:gd name="T105" fmla="*/ 152 h 319"/>
                <a:gd name="T106" fmla="*/ 353 w 393"/>
                <a:gd name="T107" fmla="*/ 110 h 319"/>
                <a:gd name="T108" fmla="*/ 353 w 393"/>
                <a:gd name="T109" fmla="*/ 90 h 319"/>
                <a:gd name="T110" fmla="*/ 353 w 393"/>
                <a:gd name="T111" fmla="*/ 80 h 319"/>
                <a:gd name="T112" fmla="*/ 375 w 393"/>
                <a:gd name="T113" fmla="*/ 62 h 319"/>
                <a:gd name="T114" fmla="*/ 393 w 393"/>
                <a:gd name="T115" fmla="*/ 3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3" h="319">
                  <a:moveTo>
                    <a:pt x="393" y="38"/>
                  </a:moveTo>
                  <a:lnTo>
                    <a:pt x="393" y="38"/>
                  </a:lnTo>
                  <a:lnTo>
                    <a:pt x="371" y="46"/>
                  </a:lnTo>
                  <a:lnTo>
                    <a:pt x="347" y="52"/>
                  </a:lnTo>
                  <a:lnTo>
                    <a:pt x="347" y="52"/>
                  </a:lnTo>
                  <a:lnTo>
                    <a:pt x="359" y="42"/>
                  </a:lnTo>
                  <a:lnTo>
                    <a:pt x="369" y="32"/>
                  </a:lnTo>
                  <a:lnTo>
                    <a:pt x="377" y="20"/>
                  </a:lnTo>
                  <a:lnTo>
                    <a:pt x="383" y="6"/>
                  </a:lnTo>
                  <a:lnTo>
                    <a:pt x="383" y="6"/>
                  </a:lnTo>
                  <a:lnTo>
                    <a:pt x="357" y="18"/>
                  </a:lnTo>
                  <a:lnTo>
                    <a:pt x="345" y="22"/>
                  </a:lnTo>
                  <a:lnTo>
                    <a:pt x="331" y="26"/>
                  </a:lnTo>
                  <a:lnTo>
                    <a:pt x="331" y="26"/>
                  </a:lnTo>
                  <a:lnTo>
                    <a:pt x="319" y="16"/>
                  </a:lnTo>
                  <a:lnTo>
                    <a:pt x="305" y="8"/>
                  </a:lnTo>
                  <a:lnTo>
                    <a:pt x="289" y="2"/>
                  </a:lnTo>
                  <a:lnTo>
                    <a:pt x="273" y="0"/>
                  </a:lnTo>
                  <a:lnTo>
                    <a:pt x="273" y="0"/>
                  </a:lnTo>
                  <a:lnTo>
                    <a:pt x="255" y="2"/>
                  </a:lnTo>
                  <a:lnTo>
                    <a:pt x="241" y="6"/>
                  </a:lnTo>
                  <a:lnTo>
                    <a:pt x="227" y="14"/>
                  </a:lnTo>
                  <a:lnTo>
                    <a:pt x="215" y="24"/>
                  </a:lnTo>
                  <a:lnTo>
                    <a:pt x="205" y="36"/>
                  </a:lnTo>
                  <a:lnTo>
                    <a:pt x="197" y="50"/>
                  </a:lnTo>
                  <a:lnTo>
                    <a:pt x="193" y="64"/>
                  </a:lnTo>
                  <a:lnTo>
                    <a:pt x="191" y="82"/>
                  </a:lnTo>
                  <a:lnTo>
                    <a:pt x="191" y="82"/>
                  </a:lnTo>
                  <a:lnTo>
                    <a:pt x="193" y="100"/>
                  </a:lnTo>
                  <a:lnTo>
                    <a:pt x="193" y="100"/>
                  </a:lnTo>
                  <a:lnTo>
                    <a:pt x="169" y="98"/>
                  </a:lnTo>
                  <a:lnTo>
                    <a:pt x="145" y="92"/>
                  </a:lnTo>
                  <a:lnTo>
                    <a:pt x="121" y="84"/>
                  </a:lnTo>
                  <a:lnTo>
                    <a:pt x="99" y="74"/>
                  </a:lnTo>
                  <a:lnTo>
                    <a:pt x="80" y="62"/>
                  </a:lnTo>
                  <a:lnTo>
                    <a:pt x="62" y="48"/>
                  </a:lnTo>
                  <a:lnTo>
                    <a:pt x="44" y="32"/>
                  </a:lnTo>
                  <a:lnTo>
                    <a:pt x="28" y="16"/>
                  </a:lnTo>
                  <a:lnTo>
                    <a:pt x="28" y="16"/>
                  </a:lnTo>
                  <a:lnTo>
                    <a:pt x="24" y="24"/>
                  </a:lnTo>
                  <a:lnTo>
                    <a:pt x="20" y="34"/>
                  </a:lnTo>
                  <a:lnTo>
                    <a:pt x="18" y="44"/>
                  </a:lnTo>
                  <a:lnTo>
                    <a:pt x="16" y="56"/>
                  </a:lnTo>
                  <a:lnTo>
                    <a:pt x="16" y="56"/>
                  </a:lnTo>
                  <a:lnTo>
                    <a:pt x="18" y="66"/>
                  </a:lnTo>
                  <a:lnTo>
                    <a:pt x="20" y="76"/>
                  </a:lnTo>
                  <a:lnTo>
                    <a:pt x="22" y="86"/>
                  </a:lnTo>
                  <a:lnTo>
                    <a:pt x="26" y="94"/>
                  </a:lnTo>
                  <a:lnTo>
                    <a:pt x="38" y="110"/>
                  </a:lnTo>
                  <a:lnTo>
                    <a:pt x="52" y="124"/>
                  </a:lnTo>
                  <a:lnTo>
                    <a:pt x="52" y="124"/>
                  </a:lnTo>
                  <a:lnTo>
                    <a:pt x="34" y="120"/>
                  </a:lnTo>
                  <a:lnTo>
                    <a:pt x="16" y="114"/>
                  </a:lnTo>
                  <a:lnTo>
                    <a:pt x="16" y="114"/>
                  </a:lnTo>
                  <a:lnTo>
                    <a:pt x="16" y="114"/>
                  </a:lnTo>
                  <a:lnTo>
                    <a:pt x="16" y="114"/>
                  </a:lnTo>
                  <a:lnTo>
                    <a:pt x="18" y="128"/>
                  </a:lnTo>
                  <a:lnTo>
                    <a:pt x="22" y="142"/>
                  </a:lnTo>
                  <a:lnTo>
                    <a:pt x="26" y="154"/>
                  </a:lnTo>
                  <a:lnTo>
                    <a:pt x="34" y="166"/>
                  </a:lnTo>
                  <a:lnTo>
                    <a:pt x="44" y="176"/>
                  </a:lnTo>
                  <a:lnTo>
                    <a:pt x="56" y="183"/>
                  </a:lnTo>
                  <a:lnTo>
                    <a:pt x="68" y="189"/>
                  </a:lnTo>
                  <a:lnTo>
                    <a:pt x="82" y="193"/>
                  </a:lnTo>
                  <a:lnTo>
                    <a:pt x="82" y="193"/>
                  </a:lnTo>
                  <a:lnTo>
                    <a:pt x="70" y="195"/>
                  </a:lnTo>
                  <a:lnTo>
                    <a:pt x="60" y="195"/>
                  </a:lnTo>
                  <a:lnTo>
                    <a:pt x="60" y="195"/>
                  </a:lnTo>
                  <a:lnTo>
                    <a:pt x="44" y="193"/>
                  </a:lnTo>
                  <a:lnTo>
                    <a:pt x="44" y="193"/>
                  </a:lnTo>
                  <a:lnTo>
                    <a:pt x="50" y="205"/>
                  </a:lnTo>
                  <a:lnTo>
                    <a:pt x="56" y="215"/>
                  </a:lnTo>
                  <a:lnTo>
                    <a:pt x="64" y="225"/>
                  </a:lnTo>
                  <a:lnTo>
                    <a:pt x="72" y="233"/>
                  </a:lnTo>
                  <a:lnTo>
                    <a:pt x="84" y="241"/>
                  </a:lnTo>
                  <a:lnTo>
                    <a:pt x="93" y="245"/>
                  </a:lnTo>
                  <a:lnTo>
                    <a:pt x="107" y="249"/>
                  </a:lnTo>
                  <a:lnTo>
                    <a:pt x="119" y="249"/>
                  </a:lnTo>
                  <a:lnTo>
                    <a:pt x="119" y="249"/>
                  </a:lnTo>
                  <a:lnTo>
                    <a:pt x="97" y="265"/>
                  </a:lnTo>
                  <a:lnTo>
                    <a:pt x="74" y="275"/>
                  </a:lnTo>
                  <a:lnTo>
                    <a:pt x="48" y="283"/>
                  </a:lnTo>
                  <a:lnTo>
                    <a:pt x="34" y="283"/>
                  </a:lnTo>
                  <a:lnTo>
                    <a:pt x="20" y="285"/>
                  </a:lnTo>
                  <a:lnTo>
                    <a:pt x="20" y="285"/>
                  </a:lnTo>
                  <a:lnTo>
                    <a:pt x="0" y="283"/>
                  </a:lnTo>
                  <a:lnTo>
                    <a:pt x="0" y="283"/>
                  </a:lnTo>
                  <a:lnTo>
                    <a:pt x="28" y="299"/>
                  </a:lnTo>
                  <a:lnTo>
                    <a:pt x="58" y="311"/>
                  </a:lnTo>
                  <a:lnTo>
                    <a:pt x="89" y="317"/>
                  </a:lnTo>
                  <a:lnTo>
                    <a:pt x="107" y="319"/>
                  </a:lnTo>
                  <a:lnTo>
                    <a:pt x="123" y="319"/>
                  </a:lnTo>
                  <a:lnTo>
                    <a:pt x="123" y="319"/>
                  </a:lnTo>
                  <a:lnTo>
                    <a:pt x="151" y="319"/>
                  </a:lnTo>
                  <a:lnTo>
                    <a:pt x="175" y="315"/>
                  </a:lnTo>
                  <a:lnTo>
                    <a:pt x="199" y="307"/>
                  </a:lnTo>
                  <a:lnTo>
                    <a:pt x="223" y="299"/>
                  </a:lnTo>
                  <a:lnTo>
                    <a:pt x="243" y="287"/>
                  </a:lnTo>
                  <a:lnTo>
                    <a:pt x="261" y="275"/>
                  </a:lnTo>
                  <a:lnTo>
                    <a:pt x="279" y="261"/>
                  </a:lnTo>
                  <a:lnTo>
                    <a:pt x="295" y="245"/>
                  </a:lnTo>
                  <a:lnTo>
                    <a:pt x="307" y="227"/>
                  </a:lnTo>
                  <a:lnTo>
                    <a:pt x="319" y="209"/>
                  </a:lnTo>
                  <a:lnTo>
                    <a:pt x="329" y="191"/>
                  </a:lnTo>
                  <a:lnTo>
                    <a:pt x="339" y="172"/>
                  </a:lnTo>
                  <a:lnTo>
                    <a:pt x="345" y="152"/>
                  </a:lnTo>
                  <a:lnTo>
                    <a:pt x="349" y="132"/>
                  </a:lnTo>
                  <a:lnTo>
                    <a:pt x="353" y="110"/>
                  </a:lnTo>
                  <a:lnTo>
                    <a:pt x="353" y="90"/>
                  </a:lnTo>
                  <a:lnTo>
                    <a:pt x="353" y="90"/>
                  </a:lnTo>
                  <a:lnTo>
                    <a:pt x="353" y="80"/>
                  </a:lnTo>
                  <a:lnTo>
                    <a:pt x="353" y="80"/>
                  </a:lnTo>
                  <a:lnTo>
                    <a:pt x="365" y="72"/>
                  </a:lnTo>
                  <a:lnTo>
                    <a:pt x="375" y="62"/>
                  </a:lnTo>
                  <a:lnTo>
                    <a:pt x="385" y="50"/>
                  </a:lnTo>
                  <a:lnTo>
                    <a:pt x="393" y="38"/>
                  </a:lnTo>
                  <a:lnTo>
                    <a:pt x="393" y="38"/>
                  </a:lnTo>
                  <a:close/>
                </a:path>
              </a:pathLst>
            </a:custGeom>
            <a:noFill/>
            <a:ln>
              <a:solidFill>
                <a:schemeClr val="bg1"/>
              </a:solidFill>
            </a:ln>
          </p:spPr>
          <p:txBody>
            <a:bodyPr vert="horz" wrap="square" lIns="91440" tIns="45720" rIns="91440" bIns="45720" numCol="1" anchor="t" anchorCtr="0" compatLnSpc="1">
              <a:prstTxWarp prst="textNoShape">
                <a:avLst/>
              </a:prstTxWarp>
            </a:bodyPr>
            <a:lstStyle/>
            <a:p>
              <a:pPr algn="ctr"/>
              <a:endParaRPr lang="en-US"/>
            </a:p>
          </p:txBody>
        </p:sp>
        <p:grpSp>
          <p:nvGrpSpPr>
            <p:cNvPr id="17" name="Group 16"/>
            <p:cNvGrpSpPr/>
            <p:nvPr/>
          </p:nvGrpSpPr>
          <p:grpSpPr>
            <a:xfrm>
              <a:off x="6167830" y="5811522"/>
              <a:ext cx="264390" cy="237819"/>
              <a:chOff x="6848285" y="2235590"/>
              <a:chExt cx="290829" cy="261601"/>
            </a:xfrm>
            <a:noFill/>
          </p:grpSpPr>
          <p:sp>
            <p:nvSpPr>
              <p:cNvPr id="21" name="Freeform 344"/>
              <p:cNvSpPr>
                <a:spLocks/>
              </p:cNvSpPr>
              <p:nvPr/>
            </p:nvSpPr>
            <p:spPr bwMode="auto">
              <a:xfrm>
                <a:off x="7014891" y="2292587"/>
                <a:ext cx="124223" cy="124224"/>
              </a:xfrm>
              <a:custGeom>
                <a:avLst/>
                <a:gdLst>
                  <a:gd name="T0" fmla="*/ 161 w 169"/>
                  <a:gd name="T1" fmla="*/ 67 h 169"/>
                  <a:gd name="T2" fmla="*/ 101 w 169"/>
                  <a:gd name="T3" fmla="*/ 67 h 169"/>
                  <a:gd name="T4" fmla="*/ 101 w 169"/>
                  <a:gd name="T5" fmla="*/ 7 h 169"/>
                  <a:gd name="T6" fmla="*/ 101 w 169"/>
                  <a:gd name="T7" fmla="*/ 7 h 169"/>
                  <a:gd name="T8" fmla="*/ 99 w 169"/>
                  <a:gd name="T9" fmla="*/ 3 h 169"/>
                  <a:gd name="T10" fmla="*/ 99 w 169"/>
                  <a:gd name="T11" fmla="*/ 2 h 169"/>
                  <a:gd name="T12" fmla="*/ 95 w 169"/>
                  <a:gd name="T13" fmla="*/ 0 h 169"/>
                  <a:gd name="T14" fmla="*/ 93 w 169"/>
                  <a:gd name="T15" fmla="*/ 0 h 169"/>
                  <a:gd name="T16" fmla="*/ 75 w 169"/>
                  <a:gd name="T17" fmla="*/ 0 h 169"/>
                  <a:gd name="T18" fmla="*/ 75 w 169"/>
                  <a:gd name="T19" fmla="*/ 0 h 169"/>
                  <a:gd name="T20" fmla="*/ 71 w 169"/>
                  <a:gd name="T21" fmla="*/ 0 h 169"/>
                  <a:gd name="T22" fmla="*/ 69 w 169"/>
                  <a:gd name="T23" fmla="*/ 2 h 169"/>
                  <a:gd name="T24" fmla="*/ 67 w 169"/>
                  <a:gd name="T25" fmla="*/ 3 h 169"/>
                  <a:gd name="T26" fmla="*/ 67 w 169"/>
                  <a:gd name="T27" fmla="*/ 7 h 169"/>
                  <a:gd name="T28" fmla="*/ 67 w 169"/>
                  <a:gd name="T29" fmla="*/ 67 h 169"/>
                  <a:gd name="T30" fmla="*/ 7 w 169"/>
                  <a:gd name="T31" fmla="*/ 67 h 169"/>
                  <a:gd name="T32" fmla="*/ 7 w 169"/>
                  <a:gd name="T33" fmla="*/ 67 h 169"/>
                  <a:gd name="T34" fmla="*/ 3 w 169"/>
                  <a:gd name="T35" fmla="*/ 67 h 169"/>
                  <a:gd name="T36" fmla="*/ 2 w 169"/>
                  <a:gd name="T37" fmla="*/ 69 h 169"/>
                  <a:gd name="T38" fmla="*/ 0 w 169"/>
                  <a:gd name="T39" fmla="*/ 71 h 169"/>
                  <a:gd name="T40" fmla="*/ 0 w 169"/>
                  <a:gd name="T41" fmla="*/ 75 h 169"/>
                  <a:gd name="T42" fmla="*/ 0 w 169"/>
                  <a:gd name="T43" fmla="*/ 91 h 169"/>
                  <a:gd name="T44" fmla="*/ 0 w 169"/>
                  <a:gd name="T45" fmla="*/ 91 h 169"/>
                  <a:gd name="T46" fmla="*/ 0 w 169"/>
                  <a:gd name="T47" fmla="*/ 95 h 169"/>
                  <a:gd name="T48" fmla="*/ 2 w 169"/>
                  <a:gd name="T49" fmla="*/ 97 h 169"/>
                  <a:gd name="T50" fmla="*/ 3 w 169"/>
                  <a:gd name="T51" fmla="*/ 99 h 169"/>
                  <a:gd name="T52" fmla="*/ 7 w 169"/>
                  <a:gd name="T53" fmla="*/ 101 h 169"/>
                  <a:gd name="T54" fmla="*/ 67 w 169"/>
                  <a:gd name="T55" fmla="*/ 101 h 169"/>
                  <a:gd name="T56" fmla="*/ 67 w 169"/>
                  <a:gd name="T57" fmla="*/ 161 h 169"/>
                  <a:gd name="T58" fmla="*/ 67 w 169"/>
                  <a:gd name="T59" fmla="*/ 161 h 169"/>
                  <a:gd name="T60" fmla="*/ 67 w 169"/>
                  <a:gd name="T61" fmla="*/ 163 h 169"/>
                  <a:gd name="T62" fmla="*/ 69 w 169"/>
                  <a:gd name="T63" fmla="*/ 167 h 169"/>
                  <a:gd name="T64" fmla="*/ 71 w 169"/>
                  <a:gd name="T65" fmla="*/ 167 h 169"/>
                  <a:gd name="T66" fmla="*/ 75 w 169"/>
                  <a:gd name="T67" fmla="*/ 169 h 169"/>
                  <a:gd name="T68" fmla="*/ 93 w 169"/>
                  <a:gd name="T69" fmla="*/ 169 h 169"/>
                  <a:gd name="T70" fmla="*/ 93 w 169"/>
                  <a:gd name="T71" fmla="*/ 169 h 169"/>
                  <a:gd name="T72" fmla="*/ 95 w 169"/>
                  <a:gd name="T73" fmla="*/ 167 h 169"/>
                  <a:gd name="T74" fmla="*/ 99 w 169"/>
                  <a:gd name="T75" fmla="*/ 167 h 169"/>
                  <a:gd name="T76" fmla="*/ 99 w 169"/>
                  <a:gd name="T77" fmla="*/ 163 h 169"/>
                  <a:gd name="T78" fmla="*/ 101 w 169"/>
                  <a:gd name="T79" fmla="*/ 161 h 169"/>
                  <a:gd name="T80" fmla="*/ 101 w 169"/>
                  <a:gd name="T81" fmla="*/ 101 h 169"/>
                  <a:gd name="T82" fmla="*/ 161 w 169"/>
                  <a:gd name="T83" fmla="*/ 101 h 169"/>
                  <a:gd name="T84" fmla="*/ 161 w 169"/>
                  <a:gd name="T85" fmla="*/ 101 h 169"/>
                  <a:gd name="T86" fmla="*/ 163 w 169"/>
                  <a:gd name="T87" fmla="*/ 99 h 169"/>
                  <a:gd name="T88" fmla="*/ 167 w 169"/>
                  <a:gd name="T89" fmla="*/ 97 h 169"/>
                  <a:gd name="T90" fmla="*/ 169 w 169"/>
                  <a:gd name="T91" fmla="*/ 95 h 169"/>
                  <a:gd name="T92" fmla="*/ 169 w 169"/>
                  <a:gd name="T93" fmla="*/ 91 h 169"/>
                  <a:gd name="T94" fmla="*/ 169 w 169"/>
                  <a:gd name="T95" fmla="*/ 75 h 169"/>
                  <a:gd name="T96" fmla="*/ 169 w 169"/>
                  <a:gd name="T97" fmla="*/ 75 h 169"/>
                  <a:gd name="T98" fmla="*/ 169 w 169"/>
                  <a:gd name="T99" fmla="*/ 71 h 169"/>
                  <a:gd name="T100" fmla="*/ 167 w 169"/>
                  <a:gd name="T101" fmla="*/ 69 h 169"/>
                  <a:gd name="T102" fmla="*/ 163 w 169"/>
                  <a:gd name="T103" fmla="*/ 67 h 169"/>
                  <a:gd name="T104" fmla="*/ 161 w 169"/>
                  <a:gd name="T105" fmla="*/ 67 h 169"/>
                  <a:gd name="T106" fmla="*/ 161 w 169"/>
                  <a:gd name="T107" fmla="*/ 6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9" h="169">
                    <a:moveTo>
                      <a:pt x="161" y="67"/>
                    </a:moveTo>
                    <a:lnTo>
                      <a:pt x="101" y="67"/>
                    </a:lnTo>
                    <a:lnTo>
                      <a:pt x="101" y="7"/>
                    </a:lnTo>
                    <a:lnTo>
                      <a:pt x="101" y="7"/>
                    </a:lnTo>
                    <a:lnTo>
                      <a:pt x="99" y="3"/>
                    </a:lnTo>
                    <a:lnTo>
                      <a:pt x="99" y="2"/>
                    </a:lnTo>
                    <a:lnTo>
                      <a:pt x="95" y="0"/>
                    </a:lnTo>
                    <a:lnTo>
                      <a:pt x="93" y="0"/>
                    </a:lnTo>
                    <a:lnTo>
                      <a:pt x="75" y="0"/>
                    </a:lnTo>
                    <a:lnTo>
                      <a:pt x="75" y="0"/>
                    </a:lnTo>
                    <a:lnTo>
                      <a:pt x="71" y="0"/>
                    </a:lnTo>
                    <a:lnTo>
                      <a:pt x="69" y="2"/>
                    </a:lnTo>
                    <a:lnTo>
                      <a:pt x="67" y="3"/>
                    </a:lnTo>
                    <a:lnTo>
                      <a:pt x="67" y="7"/>
                    </a:lnTo>
                    <a:lnTo>
                      <a:pt x="67" y="67"/>
                    </a:lnTo>
                    <a:lnTo>
                      <a:pt x="7" y="67"/>
                    </a:lnTo>
                    <a:lnTo>
                      <a:pt x="7" y="67"/>
                    </a:lnTo>
                    <a:lnTo>
                      <a:pt x="3" y="67"/>
                    </a:lnTo>
                    <a:lnTo>
                      <a:pt x="2" y="69"/>
                    </a:lnTo>
                    <a:lnTo>
                      <a:pt x="0" y="71"/>
                    </a:lnTo>
                    <a:lnTo>
                      <a:pt x="0" y="75"/>
                    </a:lnTo>
                    <a:lnTo>
                      <a:pt x="0" y="91"/>
                    </a:lnTo>
                    <a:lnTo>
                      <a:pt x="0" y="91"/>
                    </a:lnTo>
                    <a:lnTo>
                      <a:pt x="0" y="95"/>
                    </a:lnTo>
                    <a:lnTo>
                      <a:pt x="2" y="97"/>
                    </a:lnTo>
                    <a:lnTo>
                      <a:pt x="3" y="99"/>
                    </a:lnTo>
                    <a:lnTo>
                      <a:pt x="7" y="101"/>
                    </a:lnTo>
                    <a:lnTo>
                      <a:pt x="67" y="101"/>
                    </a:lnTo>
                    <a:lnTo>
                      <a:pt x="67" y="161"/>
                    </a:lnTo>
                    <a:lnTo>
                      <a:pt x="67" y="161"/>
                    </a:lnTo>
                    <a:lnTo>
                      <a:pt x="67" y="163"/>
                    </a:lnTo>
                    <a:lnTo>
                      <a:pt x="69" y="167"/>
                    </a:lnTo>
                    <a:lnTo>
                      <a:pt x="71" y="167"/>
                    </a:lnTo>
                    <a:lnTo>
                      <a:pt x="75" y="169"/>
                    </a:lnTo>
                    <a:lnTo>
                      <a:pt x="93" y="169"/>
                    </a:lnTo>
                    <a:lnTo>
                      <a:pt x="93" y="169"/>
                    </a:lnTo>
                    <a:lnTo>
                      <a:pt x="95" y="167"/>
                    </a:lnTo>
                    <a:lnTo>
                      <a:pt x="99" y="167"/>
                    </a:lnTo>
                    <a:lnTo>
                      <a:pt x="99" y="163"/>
                    </a:lnTo>
                    <a:lnTo>
                      <a:pt x="101" y="161"/>
                    </a:lnTo>
                    <a:lnTo>
                      <a:pt x="101" y="101"/>
                    </a:lnTo>
                    <a:lnTo>
                      <a:pt x="161" y="101"/>
                    </a:lnTo>
                    <a:lnTo>
                      <a:pt x="161" y="101"/>
                    </a:lnTo>
                    <a:lnTo>
                      <a:pt x="163" y="99"/>
                    </a:lnTo>
                    <a:lnTo>
                      <a:pt x="167" y="97"/>
                    </a:lnTo>
                    <a:lnTo>
                      <a:pt x="169" y="95"/>
                    </a:lnTo>
                    <a:lnTo>
                      <a:pt x="169" y="91"/>
                    </a:lnTo>
                    <a:lnTo>
                      <a:pt x="169" y="75"/>
                    </a:lnTo>
                    <a:lnTo>
                      <a:pt x="169" y="75"/>
                    </a:lnTo>
                    <a:lnTo>
                      <a:pt x="169" y="71"/>
                    </a:lnTo>
                    <a:lnTo>
                      <a:pt x="167" y="69"/>
                    </a:lnTo>
                    <a:lnTo>
                      <a:pt x="163" y="67"/>
                    </a:lnTo>
                    <a:lnTo>
                      <a:pt x="161" y="67"/>
                    </a:lnTo>
                    <a:lnTo>
                      <a:pt x="161" y="67"/>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345"/>
              <p:cNvSpPr>
                <a:spLocks noEditPoints="1"/>
              </p:cNvSpPr>
              <p:nvPr/>
            </p:nvSpPr>
            <p:spPr bwMode="auto">
              <a:xfrm>
                <a:off x="6848285" y="2235590"/>
                <a:ext cx="172452" cy="261601"/>
              </a:xfrm>
              <a:custGeom>
                <a:avLst/>
                <a:gdLst>
                  <a:gd name="T0" fmla="*/ 178 w 235"/>
                  <a:gd name="T1" fmla="*/ 189 h 357"/>
                  <a:gd name="T2" fmla="*/ 164 w 235"/>
                  <a:gd name="T3" fmla="*/ 171 h 357"/>
                  <a:gd name="T4" fmla="*/ 166 w 235"/>
                  <a:gd name="T5" fmla="*/ 161 h 357"/>
                  <a:gd name="T6" fmla="*/ 180 w 235"/>
                  <a:gd name="T7" fmla="*/ 147 h 357"/>
                  <a:gd name="T8" fmla="*/ 212 w 235"/>
                  <a:gd name="T9" fmla="*/ 103 h 357"/>
                  <a:gd name="T10" fmla="*/ 212 w 235"/>
                  <a:gd name="T11" fmla="*/ 72 h 357"/>
                  <a:gd name="T12" fmla="*/ 196 w 235"/>
                  <a:gd name="T13" fmla="*/ 34 h 357"/>
                  <a:gd name="T14" fmla="*/ 210 w 235"/>
                  <a:gd name="T15" fmla="*/ 32 h 357"/>
                  <a:gd name="T16" fmla="*/ 235 w 235"/>
                  <a:gd name="T17" fmla="*/ 10 h 357"/>
                  <a:gd name="T18" fmla="*/ 233 w 235"/>
                  <a:gd name="T19" fmla="*/ 2 h 357"/>
                  <a:gd name="T20" fmla="*/ 122 w 235"/>
                  <a:gd name="T21" fmla="*/ 0 h 357"/>
                  <a:gd name="T22" fmla="*/ 88 w 235"/>
                  <a:gd name="T23" fmla="*/ 6 h 357"/>
                  <a:gd name="T24" fmla="*/ 50 w 235"/>
                  <a:gd name="T25" fmla="*/ 28 h 357"/>
                  <a:gd name="T26" fmla="*/ 28 w 235"/>
                  <a:gd name="T27" fmla="*/ 62 h 357"/>
                  <a:gd name="T28" fmla="*/ 22 w 235"/>
                  <a:gd name="T29" fmla="*/ 85 h 357"/>
                  <a:gd name="T30" fmla="*/ 36 w 235"/>
                  <a:gd name="T31" fmla="*/ 133 h 357"/>
                  <a:gd name="T32" fmla="*/ 74 w 235"/>
                  <a:gd name="T33" fmla="*/ 163 h 357"/>
                  <a:gd name="T34" fmla="*/ 108 w 235"/>
                  <a:gd name="T35" fmla="*/ 169 h 357"/>
                  <a:gd name="T36" fmla="*/ 108 w 235"/>
                  <a:gd name="T37" fmla="*/ 191 h 357"/>
                  <a:gd name="T38" fmla="*/ 112 w 235"/>
                  <a:gd name="T39" fmla="*/ 203 h 357"/>
                  <a:gd name="T40" fmla="*/ 78 w 235"/>
                  <a:gd name="T41" fmla="*/ 207 h 357"/>
                  <a:gd name="T42" fmla="*/ 34 w 235"/>
                  <a:gd name="T43" fmla="*/ 227 h 357"/>
                  <a:gd name="T44" fmla="*/ 6 w 235"/>
                  <a:gd name="T45" fmla="*/ 259 h 357"/>
                  <a:gd name="T46" fmla="*/ 0 w 235"/>
                  <a:gd name="T47" fmla="*/ 287 h 357"/>
                  <a:gd name="T48" fmla="*/ 6 w 235"/>
                  <a:gd name="T49" fmla="*/ 311 h 357"/>
                  <a:gd name="T50" fmla="*/ 30 w 235"/>
                  <a:gd name="T51" fmla="*/ 335 h 357"/>
                  <a:gd name="T52" fmla="*/ 68 w 235"/>
                  <a:gd name="T53" fmla="*/ 351 h 357"/>
                  <a:gd name="T54" fmla="*/ 116 w 235"/>
                  <a:gd name="T55" fmla="*/ 357 h 357"/>
                  <a:gd name="T56" fmla="*/ 160 w 235"/>
                  <a:gd name="T57" fmla="*/ 351 h 357"/>
                  <a:gd name="T58" fmla="*/ 200 w 235"/>
                  <a:gd name="T59" fmla="*/ 331 h 357"/>
                  <a:gd name="T60" fmla="*/ 224 w 235"/>
                  <a:gd name="T61" fmla="*/ 299 h 357"/>
                  <a:gd name="T62" fmla="*/ 228 w 235"/>
                  <a:gd name="T63" fmla="*/ 273 h 357"/>
                  <a:gd name="T64" fmla="*/ 224 w 235"/>
                  <a:gd name="T65" fmla="*/ 239 h 357"/>
                  <a:gd name="T66" fmla="*/ 206 w 235"/>
                  <a:gd name="T67" fmla="*/ 213 h 357"/>
                  <a:gd name="T68" fmla="*/ 54 w 235"/>
                  <a:gd name="T69" fmla="*/ 275 h 357"/>
                  <a:gd name="T70" fmla="*/ 60 w 235"/>
                  <a:gd name="T71" fmla="*/ 257 h 357"/>
                  <a:gd name="T72" fmla="*/ 84 w 235"/>
                  <a:gd name="T73" fmla="*/ 237 h 357"/>
                  <a:gd name="T74" fmla="*/ 122 w 235"/>
                  <a:gd name="T75" fmla="*/ 229 h 357"/>
                  <a:gd name="T76" fmla="*/ 134 w 235"/>
                  <a:gd name="T77" fmla="*/ 229 h 357"/>
                  <a:gd name="T78" fmla="*/ 152 w 235"/>
                  <a:gd name="T79" fmla="*/ 237 h 357"/>
                  <a:gd name="T80" fmla="*/ 180 w 235"/>
                  <a:gd name="T81" fmla="*/ 259 h 357"/>
                  <a:gd name="T82" fmla="*/ 184 w 235"/>
                  <a:gd name="T83" fmla="*/ 277 h 357"/>
                  <a:gd name="T84" fmla="*/ 180 w 235"/>
                  <a:gd name="T85" fmla="*/ 297 h 357"/>
                  <a:gd name="T86" fmla="*/ 158 w 235"/>
                  <a:gd name="T87" fmla="*/ 317 h 357"/>
                  <a:gd name="T88" fmla="*/ 116 w 235"/>
                  <a:gd name="T89" fmla="*/ 323 h 357"/>
                  <a:gd name="T90" fmla="*/ 92 w 235"/>
                  <a:gd name="T91" fmla="*/ 319 h 357"/>
                  <a:gd name="T92" fmla="*/ 64 w 235"/>
                  <a:gd name="T93" fmla="*/ 303 h 357"/>
                  <a:gd name="T94" fmla="*/ 54 w 235"/>
                  <a:gd name="T95" fmla="*/ 275 h 357"/>
                  <a:gd name="T96" fmla="*/ 86 w 235"/>
                  <a:gd name="T97" fmla="*/ 42 h 357"/>
                  <a:gd name="T98" fmla="*/ 102 w 235"/>
                  <a:gd name="T99" fmla="*/ 32 h 357"/>
                  <a:gd name="T100" fmla="*/ 110 w 235"/>
                  <a:gd name="T101" fmla="*/ 32 h 357"/>
                  <a:gd name="T102" fmla="*/ 134 w 235"/>
                  <a:gd name="T103" fmla="*/ 42 h 357"/>
                  <a:gd name="T104" fmla="*/ 152 w 235"/>
                  <a:gd name="T105" fmla="*/ 68 h 357"/>
                  <a:gd name="T106" fmla="*/ 158 w 235"/>
                  <a:gd name="T107" fmla="*/ 89 h 357"/>
                  <a:gd name="T108" fmla="*/ 154 w 235"/>
                  <a:gd name="T109" fmla="*/ 125 h 357"/>
                  <a:gd name="T110" fmla="*/ 144 w 235"/>
                  <a:gd name="T111" fmla="*/ 137 h 357"/>
                  <a:gd name="T112" fmla="*/ 128 w 235"/>
                  <a:gd name="T113" fmla="*/ 143 h 357"/>
                  <a:gd name="T114" fmla="*/ 126 w 235"/>
                  <a:gd name="T115" fmla="*/ 143 h 357"/>
                  <a:gd name="T116" fmla="*/ 110 w 235"/>
                  <a:gd name="T117" fmla="*/ 137 h 357"/>
                  <a:gd name="T118" fmla="*/ 88 w 235"/>
                  <a:gd name="T119" fmla="*/ 115 h 357"/>
                  <a:gd name="T120" fmla="*/ 76 w 235"/>
                  <a:gd name="T121" fmla="*/ 83 h 357"/>
                  <a:gd name="T122" fmla="*/ 78 w 235"/>
                  <a:gd name="T123" fmla="*/ 60 h 357"/>
                  <a:gd name="T124" fmla="*/ 86 w 235"/>
                  <a:gd name="T125" fmla="*/ 42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5" h="357">
                    <a:moveTo>
                      <a:pt x="188" y="197"/>
                    </a:moveTo>
                    <a:lnTo>
                      <a:pt x="188" y="197"/>
                    </a:lnTo>
                    <a:lnTo>
                      <a:pt x="178" y="189"/>
                    </a:lnTo>
                    <a:lnTo>
                      <a:pt x="170" y="183"/>
                    </a:lnTo>
                    <a:lnTo>
                      <a:pt x="166" y="175"/>
                    </a:lnTo>
                    <a:lnTo>
                      <a:pt x="164" y="171"/>
                    </a:lnTo>
                    <a:lnTo>
                      <a:pt x="164" y="171"/>
                    </a:lnTo>
                    <a:lnTo>
                      <a:pt x="164" y="167"/>
                    </a:lnTo>
                    <a:lnTo>
                      <a:pt x="166" y="161"/>
                    </a:lnTo>
                    <a:lnTo>
                      <a:pt x="170" y="155"/>
                    </a:lnTo>
                    <a:lnTo>
                      <a:pt x="180" y="147"/>
                    </a:lnTo>
                    <a:lnTo>
                      <a:pt x="180" y="147"/>
                    </a:lnTo>
                    <a:lnTo>
                      <a:pt x="194" y="133"/>
                    </a:lnTo>
                    <a:lnTo>
                      <a:pt x="206" y="119"/>
                    </a:lnTo>
                    <a:lnTo>
                      <a:pt x="212" y="103"/>
                    </a:lnTo>
                    <a:lnTo>
                      <a:pt x="214" y="85"/>
                    </a:lnTo>
                    <a:lnTo>
                      <a:pt x="214" y="85"/>
                    </a:lnTo>
                    <a:lnTo>
                      <a:pt x="212" y="72"/>
                    </a:lnTo>
                    <a:lnTo>
                      <a:pt x="208" y="58"/>
                    </a:lnTo>
                    <a:lnTo>
                      <a:pt x="204" y="44"/>
                    </a:lnTo>
                    <a:lnTo>
                      <a:pt x="196" y="34"/>
                    </a:lnTo>
                    <a:lnTo>
                      <a:pt x="204" y="34"/>
                    </a:lnTo>
                    <a:lnTo>
                      <a:pt x="204" y="34"/>
                    </a:lnTo>
                    <a:lnTo>
                      <a:pt x="210" y="32"/>
                    </a:lnTo>
                    <a:lnTo>
                      <a:pt x="233" y="16"/>
                    </a:lnTo>
                    <a:lnTo>
                      <a:pt x="233" y="16"/>
                    </a:lnTo>
                    <a:lnTo>
                      <a:pt x="235" y="10"/>
                    </a:lnTo>
                    <a:lnTo>
                      <a:pt x="235" y="6"/>
                    </a:lnTo>
                    <a:lnTo>
                      <a:pt x="235" y="6"/>
                    </a:lnTo>
                    <a:lnTo>
                      <a:pt x="233" y="2"/>
                    </a:lnTo>
                    <a:lnTo>
                      <a:pt x="228" y="0"/>
                    </a:lnTo>
                    <a:lnTo>
                      <a:pt x="122" y="0"/>
                    </a:lnTo>
                    <a:lnTo>
                      <a:pt x="122" y="0"/>
                    </a:lnTo>
                    <a:lnTo>
                      <a:pt x="106" y="2"/>
                    </a:lnTo>
                    <a:lnTo>
                      <a:pt x="88" y="6"/>
                    </a:lnTo>
                    <a:lnTo>
                      <a:pt x="88" y="6"/>
                    </a:lnTo>
                    <a:lnTo>
                      <a:pt x="74" y="12"/>
                    </a:lnTo>
                    <a:lnTo>
                      <a:pt x="62" y="20"/>
                    </a:lnTo>
                    <a:lnTo>
                      <a:pt x="50" y="28"/>
                    </a:lnTo>
                    <a:lnTo>
                      <a:pt x="40" y="38"/>
                    </a:lnTo>
                    <a:lnTo>
                      <a:pt x="32" y="50"/>
                    </a:lnTo>
                    <a:lnTo>
                      <a:pt x="28" y="62"/>
                    </a:lnTo>
                    <a:lnTo>
                      <a:pt x="24" y="74"/>
                    </a:lnTo>
                    <a:lnTo>
                      <a:pt x="22" y="85"/>
                    </a:lnTo>
                    <a:lnTo>
                      <a:pt x="22" y="85"/>
                    </a:lnTo>
                    <a:lnTo>
                      <a:pt x="24" y="103"/>
                    </a:lnTo>
                    <a:lnTo>
                      <a:pt x="28" y="119"/>
                    </a:lnTo>
                    <a:lnTo>
                      <a:pt x="36" y="133"/>
                    </a:lnTo>
                    <a:lnTo>
                      <a:pt x="46" y="145"/>
                    </a:lnTo>
                    <a:lnTo>
                      <a:pt x="60" y="155"/>
                    </a:lnTo>
                    <a:lnTo>
                      <a:pt x="74" y="163"/>
                    </a:lnTo>
                    <a:lnTo>
                      <a:pt x="90" y="167"/>
                    </a:lnTo>
                    <a:lnTo>
                      <a:pt x="108" y="169"/>
                    </a:lnTo>
                    <a:lnTo>
                      <a:pt x="108" y="169"/>
                    </a:lnTo>
                    <a:lnTo>
                      <a:pt x="108" y="181"/>
                    </a:lnTo>
                    <a:lnTo>
                      <a:pt x="108" y="181"/>
                    </a:lnTo>
                    <a:lnTo>
                      <a:pt x="108" y="191"/>
                    </a:lnTo>
                    <a:lnTo>
                      <a:pt x="112" y="203"/>
                    </a:lnTo>
                    <a:lnTo>
                      <a:pt x="112" y="203"/>
                    </a:lnTo>
                    <a:lnTo>
                      <a:pt x="112" y="203"/>
                    </a:lnTo>
                    <a:lnTo>
                      <a:pt x="112" y="203"/>
                    </a:lnTo>
                    <a:lnTo>
                      <a:pt x="94" y="203"/>
                    </a:lnTo>
                    <a:lnTo>
                      <a:pt x="78" y="207"/>
                    </a:lnTo>
                    <a:lnTo>
                      <a:pt x="62" y="211"/>
                    </a:lnTo>
                    <a:lnTo>
                      <a:pt x="48" y="219"/>
                    </a:lnTo>
                    <a:lnTo>
                      <a:pt x="34" y="227"/>
                    </a:lnTo>
                    <a:lnTo>
                      <a:pt x="22" y="237"/>
                    </a:lnTo>
                    <a:lnTo>
                      <a:pt x="14" y="247"/>
                    </a:lnTo>
                    <a:lnTo>
                      <a:pt x="6" y="259"/>
                    </a:lnTo>
                    <a:lnTo>
                      <a:pt x="6" y="259"/>
                    </a:lnTo>
                    <a:lnTo>
                      <a:pt x="2" y="273"/>
                    </a:lnTo>
                    <a:lnTo>
                      <a:pt x="0" y="287"/>
                    </a:lnTo>
                    <a:lnTo>
                      <a:pt x="0" y="287"/>
                    </a:lnTo>
                    <a:lnTo>
                      <a:pt x="2" y="299"/>
                    </a:lnTo>
                    <a:lnTo>
                      <a:pt x="6" y="311"/>
                    </a:lnTo>
                    <a:lnTo>
                      <a:pt x="6" y="311"/>
                    </a:lnTo>
                    <a:lnTo>
                      <a:pt x="16" y="325"/>
                    </a:lnTo>
                    <a:lnTo>
                      <a:pt x="30" y="335"/>
                    </a:lnTo>
                    <a:lnTo>
                      <a:pt x="46" y="345"/>
                    </a:lnTo>
                    <a:lnTo>
                      <a:pt x="68" y="351"/>
                    </a:lnTo>
                    <a:lnTo>
                      <a:pt x="68" y="351"/>
                    </a:lnTo>
                    <a:lnTo>
                      <a:pt x="92" y="355"/>
                    </a:lnTo>
                    <a:lnTo>
                      <a:pt x="116" y="357"/>
                    </a:lnTo>
                    <a:lnTo>
                      <a:pt x="116" y="357"/>
                    </a:lnTo>
                    <a:lnTo>
                      <a:pt x="138" y="355"/>
                    </a:lnTo>
                    <a:lnTo>
                      <a:pt x="160" y="351"/>
                    </a:lnTo>
                    <a:lnTo>
                      <a:pt x="160" y="351"/>
                    </a:lnTo>
                    <a:lnTo>
                      <a:pt x="174" y="345"/>
                    </a:lnTo>
                    <a:lnTo>
                      <a:pt x="188" y="339"/>
                    </a:lnTo>
                    <a:lnTo>
                      <a:pt x="200" y="331"/>
                    </a:lnTo>
                    <a:lnTo>
                      <a:pt x="210" y="321"/>
                    </a:lnTo>
                    <a:lnTo>
                      <a:pt x="218" y="309"/>
                    </a:lnTo>
                    <a:lnTo>
                      <a:pt x="224" y="299"/>
                    </a:lnTo>
                    <a:lnTo>
                      <a:pt x="226" y="285"/>
                    </a:lnTo>
                    <a:lnTo>
                      <a:pt x="228" y="273"/>
                    </a:lnTo>
                    <a:lnTo>
                      <a:pt x="228" y="273"/>
                    </a:lnTo>
                    <a:lnTo>
                      <a:pt x="228" y="261"/>
                    </a:lnTo>
                    <a:lnTo>
                      <a:pt x="226" y="249"/>
                    </a:lnTo>
                    <a:lnTo>
                      <a:pt x="224" y="239"/>
                    </a:lnTo>
                    <a:lnTo>
                      <a:pt x="220" y="229"/>
                    </a:lnTo>
                    <a:lnTo>
                      <a:pt x="214" y="221"/>
                    </a:lnTo>
                    <a:lnTo>
                      <a:pt x="206" y="213"/>
                    </a:lnTo>
                    <a:lnTo>
                      <a:pt x="188" y="197"/>
                    </a:lnTo>
                    <a:lnTo>
                      <a:pt x="188" y="197"/>
                    </a:lnTo>
                    <a:close/>
                    <a:moveTo>
                      <a:pt x="54" y="275"/>
                    </a:moveTo>
                    <a:lnTo>
                      <a:pt x="54" y="275"/>
                    </a:lnTo>
                    <a:lnTo>
                      <a:pt x="56" y="267"/>
                    </a:lnTo>
                    <a:lnTo>
                      <a:pt x="60" y="257"/>
                    </a:lnTo>
                    <a:lnTo>
                      <a:pt x="66" y="249"/>
                    </a:lnTo>
                    <a:lnTo>
                      <a:pt x="74" y="243"/>
                    </a:lnTo>
                    <a:lnTo>
                      <a:pt x="84" y="237"/>
                    </a:lnTo>
                    <a:lnTo>
                      <a:pt x="96" y="233"/>
                    </a:lnTo>
                    <a:lnTo>
                      <a:pt x="108" y="229"/>
                    </a:lnTo>
                    <a:lnTo>
                      <a:pt x="122" y="229"/>
                    </a:lnTo>
                    <a:lnTo>
                      <a:pt x="122" y="229"/>
                    </a:lnTo>
                    <a:lnTo>
                      <a:pt x="122" y="229"/>
                    </a:lnTo>
                    <a:lnTo>
                      <a:pt x="134" y="229"/>
                    </a:lnTo>
                    <a:lnTo>
                      <a:pt x="146" y="233"/>
                    </a:lnTo>
                    <a:lnTo>
                      <a:pt x="146" y="233"/>
                    </a:lnTo>
                    <a:lnTo>
                      <a:pt x="152" y="237"/>
                    </a:lnTo>
                    <a:lnTo>
                      <a:pt x="152" y="237"/>
                    </a:lnTo>
                    <a:lnTo>
                      <a:pt x="174" y="253"/>
                    </a:lnTo>
                    <a:lnTo>
                      <a:pt x="180" y="259"/>
                    </a:lnTo>
                    <a:lnTo>
                      <a:pt x="184" y="267"/>
                    </a:lnTo>
                    <a:lnTo>
                      <a:pt x="184" y="267"/>
                    </a:lnTo>
                    <a:lnTo>
                      <a:pt x="184" y="277"/>
                    </a:lnTo>
                    <a:lnTo>
                      <a:pt x="184" y="277"/>
                    </a:lnTo>
                    <a:lnTo>
                      <a:pt x="184" y="287"/>
                    </a:lnTo>
                    <a:lnTo>
                      <a:pt x="180" y="297"/>
                    </a:lnTo>
                    <a:lnTo>
                      <a:pt x="174" y="305"/>
                    </a:lnTo>
                    <a:lnTo>
                      <a:pt x="168" y="311"/>
                    </a:lnTo>
                    <a:lnTo>
                      <a:pt x="158" y="317"/>
                    </a:lnTo>
                    <a:lnTo>
                      <a:pt x="146" y="321"/>
                    </a:lnTo>
                    <a:lnTo>
                      <a:pt x="132" y="323"/>
                    </a:lnTo>
                    <a:lnTo>
                      <a:pt x="116" y="323"/>
                    </a:lnTo>
                    <a:lnTo>
                      <a:pt x="116" y="323"/>
                    </a:lnTo>
                    <a:lnTo>
                      <a:pt x="104" y="323"/>
                    </a:lnTo>
                    <a:lnTo>
                      <a:pt x="92" y="319"/>
                    </a:lnTo>
                    <a:lnTo>
                      <a:pt x="82" y="315"/>
                    </a:lnTo>
                    <a:lnTo>
                      <a:pt x="72" y="309"/>
                    </a:lnTo>
                    <a:lnTo>
                      <a:pt x="64" y="303"/>
                    </a:lnTo>
                    <a:lnTo>
                      <a:pt x="58" y="295"/>
                    </a:lnTo>
                    <a:lnTo>
                      <a:pt x="56" y="285"/>
                    </a:lnTo>
                    <a:lnTo>
                      <a:pt x="54" y="275"/>
                    </a:lnTo>
                    <a:lnTo>
                      <a:pt x="54" y="275"/>
                    </a:lnTo>
                    <a:close/>
                    <a:moveTo>
                      <a:pt x="86" y="42"/>
                    </a:moveTo>
                    <a:lnTo>
                      <a:pt x="86" y="42"/>
                    </a:lnTo>
                    <a:lnTo>
                      <a:pt x="92" y="38"/>
                    </a:lnTo>
                    <a:lnTo>
                      <a:pt x="96" y="34"/>
                    </a:lnTo>
                    <a:lnTo>
                      <a:pt x="102" y="32"/>
                    </a:lnTo>
                    <a:lnTo>
                      <a:pt x="108" y="32"/>
                    </a:lnTo>
                    <a:lnTo>
                      <a:pt x="110" y="32"/>
                    </a:lnTo>
                    <a:lnTo>
                      <a:pt x="110" y="32"/>
                    </a:lnTo>
                    <a:lnTo>
                      <a:pt x="118" y="34"/>
                    </a:lnTo>
                    <a:lnTo>
                      <a:pt x="126" y="36"/>
                    </a:lnTo>
                    <a:lnTo>
                      <a:pt x="134" y="42"/>
                    </a:lnTo>
                    <a:lnTo>
                      <a:pt x="142" y="50"/>
                    </a:lnTo>
                    <a:lnTo>
                      <a:pt x="148" y="58"/>
                    </a:lnTo>
                    <a:lnTo>
                      <a:pt x="152" y="68"/>
                    </a:lnTo>
                    <a:lnTo>
                      <a:pt x="156" y="78"/>
                    </a:lnTo>
                    <a:lnTo>
                      <a:pt x="158" y="89"/>
                    </a:lnTo>
                    <a:lnTo>
                      <a:pt x="158" y="89"/>
                    </a:lnTo>
                    <a:lnTo>
                      <a:pt x="160" y="101"/>
                    </a:lnTo>
                    <a:lnTo>
                      <a:pt x="158" y="113"/>
                    </a:lnTo>
                    <a:lnTo>
                      <a:pt x="154" y="125"/>
                    </a:lnTo>
                    <a:lnTo>
                      <a:pt x="148" y="133"/>
                    </a:lnTo>
                    <a:lnTo>
                      <a:pt x="148" y="133"/>
                    </a:lnTo>
                    <a:lnTo>
                      <a:pt x="144" y="137"/>
                    </a:lnTo>
                    <a:lnTo>
                      <a:pt x="138" y="141"/>
                    </a:lnTo>
                    <a:lnTo>
                      <a:pt x="134" y="141"/>
                    </a:lnTo>
                    <a:lnTo>
                      <a:pt x="128" y="143"/>
                    </a:lnTo>
                    <a:lnTo>
                      <a:pt x="128" y="143"/>
                    </a:lnTo>
                    <a:lnTo>
                      <a:pt x="128" y="143"/>
                    </a:lnTo>
                    <a:lnTo>
                      <a:pt x="126" y="143"/>
                    </a:lnTo>
                    <a:lnTo>
                      <a:pt x="126" y="143"/>
                    </a:lnTo>
                    <a:lnTo>
                      <a:pt x="118" y="141"/>
                    </a:lnTo>
                    <a:lnTo>
                      <a:pt x="110" y="137"/>
                    </a:lnTo>
                    <a:lnTo>
                      <a:pt x="102" y="131"/>
                    </a:lnTo>
                    <a:lnTo>
                      <a:pt x="94" y="125"/>
                    </a:lnTo>
                    <a:lnTo>
                      <a:pt x="88" y="115"/>
                    </a:lnTo>
                    <a:lnTo>
                      <a:pt x="84" y="105"/>
                    </a:lnTo>
                    <a:lnTo>
                      <a:pt x="80" y="95"/>
                    </a:lnTo>
                    <a:lnTo>
                      <a:pt x="76" y="83"/>
                    </a:lnTo>
                    <a:lnTo>
                      <a:pt x="76" y="83"/>
                    </a:lnTo>
                    <a:lnTo>
                      <a:pt x="76" y="72"/>
                    </a:lnTo>
                    <a:lnTo>
                      <a:pt x="78" y="60"/>
                    </a:lnTo>
                    <a:lnTo>
                      <a:pt x="82" y="50"/>
                    </a:lnTo>
                    <a:lnTo>
                      <a:pt x="86" y="42"/>
                    </a:lnTo>
                    <a:lnTo>
                      <a:pt x="86"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8" name="Freeform 109"/>
            <p:cNvSpPr>
              <a:spLocks noEditPoints="1"/>
            </p:cNvSpPr>
            <p:nvPr/>
          </p:nvSpPr>
          <p:spPr bwMode="auto">
            <a:xfrm>
              <a:off x="3023808" y="5819127"/>
              <a:ext cx="253101" cy="183977"/>
            </a:xfrm>
            <a:custGeom>
              <a:avLst/>
              <a:gdLst>
                <a:gd name="T0" fmla="*/ 228 w 238"/>
                <a:gd name="T1" fmla="*/ 152 h 173"/>
                <a:gd name="T2" fmla="*/ 226 w 238"/>
                <a:gd name="T3" fmla="*/ 153 h 173"/>
                <a:gd name="T4" fmla="*/ 159 w 238"/>
                <a:gd name="T5" fmla="*/ 86 h 173"/>
                <a:gd name="T6" fmla="*/ 226 w 238"/>
                <a:gd name="T7" fmla="*/ 19 h 173"/>
                <a:gd name="T8" fmla="*/ 228 w 238"/>
                <a:gd name="T9" fmla="*/ 22 h 173"/>
                <a:gd name="T10" fmla="*/ 228 w 238"/>
                <a:gd name="T11" fmla="*/ 152 h 173"/>
                <a:gd name="T12" fmla="*/ 216 w 238"/>
                <a:gd name="T13" fmla="*/ 162 h 173"/>
                <a:gd name="T14" fmla="*/ 22 w 238"/>
                <a:gd name="T15" fmla="*/ 162 h 173"/>
                <a:gd name="T16" fmla="*/ 18 w 238"/>
                <a:gd name="T17" fmla="*/ 161 h 173"/>
                <a:gd name="T18" fmla="*/ 86 w 238"/>
                <a:gd name="T19" fmla="*/ 94 h 173"/>
                <a:gd name="T20" fmla="*/ 104 w 238"/>
                <a:gd name="T21" fmla="*/ 112 h 173"/>
                <a:gd name="T22" fmla="*/ 108 w 238"/>
                <a:gd name="T23" fmla="*/ 116 h 173"/>
                <a:gd name="T24" fmla="*/ 114 w 238"/>
                <a:gd name="T25" fmla="*/ 118 h 173"/>
                <a:gd name="T26" fmla="*/ 119 w 238"/>
                <a:gd name="T27" fmla="*/ 119 h 173"/>
                <a:gd name="T28" fmla="*/ 124 w 238"/>
                <a:gd name="T29" fmla="*/ 118 h 173"/>
                <a:gd name="T30" fmla="*/ 129 w 238"/>
                <a:gd name="T31" fmla="*/ 116 h 173"/>
                <a:gd name="T32" fmla="*/ 135 w 238"/>
                <a:gd name="T33" fmla="*/ 112 h 173"/>
                <a:gd name="T34" fmla="*/ 153 w 238"/>
                <a:gd name="T35" fmla="*/ 94 h 173"/>
                <a:gd name="T36" fmla="*/ 220 w 238"/>
                <a:gd name="T37" fmla="*/ 161 h 173"/>
                <a:gd name="T38" fmla="*/ 216 w 238"/>
                <a:gd name="T39" fmla="*/ 162 h 173"/>
                <a:gd name="T40" fmla="*/ 12 w 238"/>
                <a:gd name="T41" fmla="*/ 152 h 173"/>
                <a:gd name="T42" fmla="*/ 12 w 238"/>
                <a:gd name="T43" fmla="*/ 22 h 173"/>
                <a:gd name="T44" fmla="*/ 12 w 238"/>
                <a:gd name="T45" fmla="*/ 19 h 173"/>
                <a:gd name="T46" fmla="*/ 78 w 238"/>
                <a:gd name="T47" fmla="*/ 86 h 173"/>
                <a:gd name="T48" fmla="*/ 12 w 238"/>
                <a:gd name="T49" fmla="*/ 153 h 173"/>
                <a:gd name="T50" fmla="*/ 12 w 238"/>
                <a:gd name="T51" fmla="*/ 152 h 173"/>
                <a:gd name="T52" fmla="*/ 22 w 238"/>
                <a:gd name="T53" fmla="*/ 10 h 173"/>
                <a:gd name="T54" fmla="*/ 216 w 238"/>
                <a:gd name="T55" fmla="*/ 10 h 173"/>
                <a:gd name="T56" fmla="*/ 220 w 238"/>
                <a:gd name="T57" fmla="*/ 12 h 173"/>
                <a:gd name="T58" fmla="*/ 127 w 238"/>
                <a:gd name="T59" fmla="*/ 104 h 173"/>
                <a:gd name="T60" fmla="*/ 123 w 238"/>
                <a:gd name="T61" fmla="*/ 107 h 173"/>
                <a:gd name="T62" fmla="*/ 119 w 238"/>
                <a:gd name="T63" fmla="*/ 108 h 173"/>
                <a:gd name="T64" fmla="*/ 115 w 238"/>
                <a:gd name="T65" fmla="*/ 107 h 173"/>
                <a:gd name="T66" fmla="*/ 112 w 238"/>
                <a:gd name="T67" fmla="*/ 104 h 173"/>
                <a:gd name="T68" fmla="*/ 18 w 238"/>
                <a:gd name="T69" fmla="*/ 12 h 173"/>
                <a:gd name="T70" fmla="*/ 22 w 238"/>
                <a:gd name="T71" fmla="*/ 10 h 173"/>
                <a:gd name="T72" fmla="*/ 216 w 238"/>
                <a:gd name="T73" fmla="*/ 0 h 173"/>
                <a:gd name="T74" fmla="*/ 22 w 238"/>
                <a:gd name="T75" fmla="*/ 0 h 173"/>
                <a:gd name="T76" fmla="*/ 12 w 238"/>
                <a:gd name="T77" fmla="*/ 2 h 173"/>
                <a:gd name="T78" fmla="*/ 4 w 238"/>
                <a:gd name="T79" fmla="*/ 10 h 173"/>
                <a:gd name="T80" fmla="*/ 0 w 238"/>
                <a:gd name="T81" fmla="*/ 22 h 173"/>
                <a:gd name="T82" fmla="*/ 0 w 238"/>
                <a:gd name="T83" fmla="*/ 152 h 173"/>
                <a:gd name="T84" fmla="*/ 4 w 238"/>
                <a:gd name="T85" fmla="*/ 162 h 173"/>
                <a:gd name="T86" fmla="*/ 12 w 238"/>
                <a:gd name="T87" fmla="*/ 170 h 173"/>
                <a:gd name="T88" fmla="*/ 22 w 238"/>
                <a:gd name="T89" fmla="*/ 173 h 173"/>
                <a:gd name="T90" fmla="*/ 216 w 238"/>
                <a:gd name="T91" fmla="*/ 173 h 173"/>
                <a:gd name="T92" fmla="*/ 228 w 238"/>
                <a:gd name="T93" fmla="*/ 170 h 173"/>
                <a:gd name="T94" fmla="*/ 234 w 238"/>
                <a:gd name="T95" fmla="*/ 162 h 173"/>
                <a:gd name="T96" fmla="*/ 238 w 238"/>
                <a:gd name="T97" fmla="*/ 152 h 173"/>
                <a:gd name="T98" fmla="*/ 238 w 238"/>
                <a:gd name="T99" fmla="*/ 22 h 173"/>
                <a:gd name="T100" fmla="*/ 234 w 238"/>
                <a:gd name="T101" fmla="*/ 10 h 173"/>
                <a:gd name="T102" fmla="*/ 228 w 238"/>
                <a:gd name="T103" fmla="*/ 2 h 173"/>
                <a:gd name="T104" fmla="*/ 216 w 238"/>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8" h="173">
                  <a:moveTo>
                    <a:pt x="228" y="152"/>
                  </a:moveTo>
                  <a:lnTo>
                    <a:pt x="226" y="153"/>
                  </a:lnTo>
                  <a:lnTo>
                    <a:pt x="159" y="86"/>
                  </a:lnTo>
                  <a:lnTo>
                    <a:pt x="226" y="19"/>
                  </a:lnTo>
                  <a:lnTo>
                    <a:pt x="228" y="22"/>
                  </a:lnTo>
                  <a:lnTo>
                    <a:pt x="228" y="152"/>
                  </a:lnTo>
                  <a:close/>
                  <a:moveTo>
                    <a:pt x="216" y="162"/>
                  </a:moveTo>
                  <a:lnTo>
                    <a:pt x="22" y="162"/>
                  </a:lnTo>
                  <a:lnTo>
                    <a:pt x="18" y="161"/>
                  </a:lnTo>
                  <a:lnTo>
                    <a:pt x="86" y="94"/>
                  </a:lnTo>
                  <a:lnTo>
                    <a:pt x="104" y="112"/>
                  </a:lnTo>
                  <a:lnTo>
                    <a:pt x="108" y="116"/>
                  </a:lnTo>
                  <a:lnTo>
                    <a:pt x="114" y="118"/>
                  </a:lnTo>
                  <a:lnTo>
                    <a:pt x="119" y="119"/>
                  </a:lnTo>
                  <a:lnTo>
                    <a:pt x="124" y="118"/>
                  </a:lnTo>
                  <a:lnTo>
                    <a:pt x="129" y="116"/>
                  </a:lnTo>
                  <a:lnTo>
                    <a:pt x="135" y="112"/>
                  </a:lnTo>
                  <a:lnTo>
                    <a:pt x="153" y="94"/>
                  </a:lnTo>
                  <a:lnTo>
                    <a:pt x="220" y="161"/>
                  </a:lnTo>
                  <a:lnTo>
                    <a:pt x="216" y="162"/>
                  </a:lnTo>
                  <a:close/>
                  <a:moveTo>
                    <a:pt x="12" y="152"/>
                  </a:moveTo>
                  <a:lnTo>
                    <a:pt x="12" y="22"/>
                  </a:lnTo>
                  <a:lnTo>
                    <a:pt x="12" y="19"/>
                  </a:lnTo>
                  <a:lnTo>
                    <a:pt x="78" y="86"/>
                  </a:lnTo>
                  <a:lnTo>
                    <a:pt x="12" y="153"/>
                  </a:lnTo>
                  <a:lnTo>
                    <a:pt x="12" y="152"/>
                  </a:lnTo>
                  <a:close/>
                  <a:moveTo>
                    <a:pt x="22" y="10"/>
                  </a:moveTo>
                  <a:lnTo>
                    <a:pt x="216" y="10"/>
                  </a:lnTo>
                  <a:lnTo>
                    <a:pt x="220" y="12"/>
                  </a:lnTo>
                  <a:lnTo>
                    <a:pt x="127" y="104"/>
                  </a:lnTo>
                  <a:lnTo>
                    <a:pt x="123" y="107"/>
                  </a:lnTo>
                  <a:lnTo>
                    <a:pt x="119" y="108"/>
                  </a:lnTo>
                  <a:lnTo>
                    <a:pt x="115" y="107"/>
                  </a:lnTo>
                  <a:lnTo>
                    <a:pt x="112" y="104"/>
                  </a:lnTo>
                  <a:lnTo>
                    <a:pt x="18" y="12"/>
                  </a:lnTo>
                  <a:lnTo>
                    <a:pt x="22" y="10"/>
                  </a:lnTo>
                  <a:close/>
                  <a:moveTo>
                    <a:pt x="216" y="0"/>
                  </a:moveTo>
                  <a:lnTo>
                    <a:pt x="22" y="0"/>
                  </a:lnTo>
                  <a:lnTo>
                    <a:pt x="12" y="2"/>
                  </a:lnTo>
                  <a:lnTo>
                    <a:pt x="4" y="10"/>
                  </a:lnTo>
                  <a:lnTo>
                    <a:pt x="0" y="22"/>
                  </a:lnTo>
                  <a:lnTo>
                    <a:pt x="0" y="152"/>
                  </a:lnTo>
                  <a:lnTo>
                    <a:pt x="4" y="162"/>
                  </a:lnTo>
                  <a:lnTo>
                    <a:pt x="12" y="170"/>
                  </a:lnTo>
                  <a:lnTo>
                    <a:pt x="22" y="173"/>
                  </a:lnTo>
                  <a:lnTo>
                    <a:pt x="216" y="173"/>
                  </a:lnTo>
                  <a:lnTo>
                    <a:pt x="228" y="170"/>
                  </a:lnTo>
                  <a:lnTo>
                    <a:pt x="234" y="162"/>
                  </a:lnTo>
                  <a:lnTo>
                    <a:pt x="238" y="152"/>
                  </a:lnTo>
                  <a:lnTo>
                    <a:pt x="238" y="22"/>
                  </a:lnTo>
                  <a:lnTo>
                    <a:pt x="234" y="10"/>
                  </a:lnTo>
                  <a:lnTo>
                    <a:pt x="228" y="2"/>
                  </a:lnTo>
                  <a:lnTo>
                    <a:pt x="21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d-ID" sz="2000"/>
            </a:p>
          </p:txBody>
        </p:sp>
        <p:sp>
          <p:nvSpPr>
            <p:cNvPr id="19" name="Freeform 9"/>
            <p:cNvSpPr>
              <a:spLocks noEditPoints="1"/>
            </p:cNvSpPr>
            <p:nvPr/>
          </p:nvSpPr>
          <p:spPr bwMode="auto">
            <a:xfrm>
              <a:off x="3025164" y="5032464"/>
              <a:ext cx="251573" cy="253004"/>
            </a:xfrm>
            <a:custGeom>
              <a:avLst/>
              <a:gdLst>
                <a:gd name="T0" fmla="*/ 259 w 352"/>
                <a:gd name="T1" fmla="*/ 336 h 354"/>
                <a:gd name="T2" fmla="*/ 239 w 352"/>
                <a:gd name="T3" fmla="*/ 330 h 354"/>
                <a:gd name="T4" fmla="*/ 185 w 352"/>
                <a:gd name="T5" fmla="*/ 299 h 354"/>
                <a:gd name="T6" fmla="*/ 94 w 352"/>
                <a:gd name="T7" fmla="*/ 218 h 354"/>
                <a:gd name="T8" fmla="*/ 24 w 352"/>
                <a:gd name="T9" fmla="*/ 117 h 354"/>
                <a:gd name="T10" fmla="*/ 20 w 352"/>
                <a:gd name="T11" fmla="*/ 105 h 354"/>
                <a:gd name="T12" fmla="*/ 16 w 352"/>
                <a:gd name="T13" fmla="*/ 85 h 354"/>
                <a:gd name="T14" fmla="*/ 30 w 352"/>
                <a:gd name="T15" fmla="*/ 45 h 354"/>
                <a:gd name="T16" fmla="*/ 59 w 352"/>
                <a:gd name="T17" fmla="*/ 19 h 354"/>
                <a:gd name="T18" fmla="*/ 76 w 352"/>
                <a:gd name="T19" fmla="*/ 17 h 354"/>
                <a:gd name="T20" fmla="*/ 80 w 352"/>
                <a:gd name="T21" fmla="*/ 21 h 354"/>
                <a:gd name="T22" fmla="*/ 132 w 352"/>
                <a:gd name="T23" fmla="*/ 89 h 354"/>
                <a:gd name="T24" fmla="*/ 136 w 352"/>
                <a:gd name="T25" fmla="*/ 93 h 354"/>
                <a:gd name="T26" fmla="*/ 134 w 352"/>
                <a:gd name="T27" fmla="*/ 101 h 354"/>
                <a:gd name="T28" fmla="*/ 117 w 352"/>
                <a:gd name="T29" fmla="*/ 119 h 354"/>
                <a:gd name="T30" fmla="*/ 109 w 352"/>
                <a:gd name="T31" fmla="*/ 134 h 354"/>
                <a:gd name="T32" fmla="*/ 107 w 352"/>
                <a:gd name="T33" fmla="*/ 150 h 354"/>
                <a:gd name="T34" fmla="*/ 115 w 352"/>
                <a:gd name="T35" fmla="*/ 165 h 354"/>
                <a:gd name="T36" fmla="*/ 150 w 352"/>
                <a:gd name="T37" fmla="*/ 204 h 354"/>
                <a:gd name="T38" fmla="*/ 189 w 352"/>
                <a:gd name="T39" fmla="*/ 237 h 354"/>
                <a:gd name="T40" fmla="*/ 202 w 352"/>
                <a:gd name="T41" fmla="*/ 245 h 354"/>
                <a:gd name="T42" fmla="*/ 220 w 352"/>
                <a:gd name="T43" fmla="*/ 245 h 354"/>
                <a:gd name="T44" fmla="*/ 233 w 352"/>
                <a:gd name="T45" fmla="*/ 237 h 354"/>
                <a:gd name="T46" fmla="*/ 253 w 352"/>
                <a:gd name="T47" fmla="*/ 218 h 354"/>
                <a:gd name="T48" fmla="*/ 261 w 352"/>
                <a:gd name="T49" fmla="*/ 218 h 354"/>
                <a:gd name="T50" fmla="*/ 263 w 352"/>
                <a:gd name="T51" fmla="*/ 222 h 354"/>
                <a:gd name="T52" fmla="*/ 332 w 352"/>
                <a:gd name="T53" fmla="*/ 274 h 354"/>
                <a:gd name="T54" fmla="*/ 336 w 352"/>
                <a:gd name="T55" fmla="*/ 278 h 354"/>
                <a:gd name="T56" fmla="*/ 336 w 352"/>
                <a:gd name="T57" fmla="*/ 282 h 354"/>
                <a:gd name="T58" fmla="*/ 323 w 352"/>
                <a:gd name="T59" fmla="*/ 311 h 354"/>
                <a:gd name="T60" fmla="*/ 290 w 352"/>
                <a:gd name="T61" fmla="*/ 334 h 354"/>
                <a:gd name="T62" fmla="*/ 352 w 352"/>
                <a:gd name="T63" fmla="*/ 282 h 354"/>
                <a:gd name="T64" fmla="*/ 352 w 352"/>
                <a:gd name="T65" fmla="*/ 274 h 354"/>
                <a:gd name="T66" fmla="*/ 346 w 352"/>
                <a:gd name="T67" fmla="*/ 264 h 354"/>
                <a:gd name="T68" fmla="*/ 274 w 352"/>
                <a:gd name="T69" fmla="*/ 208 h 354"/>
                <a:gd name="T70" fmla="*/ 263 w 352"/>
                <a:gd name="T71" fmla="*/ 202 h 354"/>
                <a:gd name="T72" fmla="*/ 249 w 352"/>
                <a:gd name="T73" fmla="*/ 202 h 354"/>
                <a:gd name="T74" fmla="*/ 224 w 352"/>
                <a:gd name="T75" fmla="*/ 225 h 354"/>
                <a:gd name="T76" fmla="*/ 220 w 352"/>
                <a:gd name="T77" fmla="*/ 227 h 354"/>
                <a:gd name="T78" fmla="*/ 212 w 352"/>
                <a:gd name="T79" fmla="*/ 229 h 354"/>
                <a:gd name="T80" fmla="*/ 202 w 352"/>
                <a:gd name="T81" fmla="*/ 227 h 354"/>
                <a:gd name="T82" fmla="*/ 198 w 352"/>
                <a:gd name="T83" fmla="*/ 223 h 354"/>
                <a:gd name="T84" fmla="*/ 129 w 352"/>
                <a:gd name="T85" fmla="*/ 155 h 354"/>
                <a:gd name="T86" fmla="*/ 127 w 352"/>
                <a:gd name="T87" fmla="*/ 152 h 354"/>
                <a:gd name="T88" fmla="*/ 123 w 352"/>
                <a:gd name="T89" fmla="*/ 142 h 354"/>
                <a:gd name="T90" fmla="*/ 127 w 352"/>
                <a:gd name="T91" fmla="*/ 134 h 354"/>
                <a:gd name="T92" fmla="*/ 129 w 352"/>
                <a:gd name="T93" fmla="*/ 130 h 354"/>
                <a:gd name="T94" fmla="*/ 152 w 352"/>
                <a:gd name="T95" fmla="*/ 105 h 354"/>
                <a:gd name="T96" fmla="*/ 152 w 352"/>
                <a:gd name="T97" fmla="*/ 91 h 354"/>
                <a:gd name="T98" fmla="*/ 146 w 352"/>
                <a:gd name="T99" fmla="*/ 80 h 354"/>
                <a:gd name="T100" fmla="*/ 90 w 352"/>
                <a:gd name="T101" fmla="*/ 8 h 354"/>
                <a:gd name="T102" fmla="*/ 78 w 352"/>
                <a:gd name="T103" fmla="*/ 2 h 354"/>
                <a:gd name="T104" fmla="*/ 53 w 352"/>
                <a:gd name="T105" fmla="*/ 6 h 354"/>
                <a:gd name="T106" fmla="*/ 16 w 352"/>
                <a:gd name="T107" fmla="*/ 35 h 354"/>
                <a:gd name="T108" fmla="*/ 0 w 352"/>
                <a:gd name="T109" fmla="*/ 85 h 354"/>
                <a:gd name="T110" fmla="*/ 8 w 352"/>
                <a:gd name="T111" fmla="*/ 120 h 354"/>
                <a:gd name="T112" fmla="*/ 41 w 352"/>
                <a:gd name="T113" fmla="*/ 177 h 354"/>
                <a:gd name="T114" fmla="*/ 127 w 352"/>
                <a:gd name="T115" fmla="*/ 274 h 354"/>
                <a:gd name="T116" fmla="*/ 231 w 352"/>
                <a:gd name="T117" fmla="*/ 346 h 354"/>
                <a:gd name="T118" fmla="*/ 249 w 352"/>
                <a:gd name="T119" fmla="*/ 352 h 354"/>
                <a:gd name="T120" fmla="*/ 296 w 352"/>
                <a:gd name="T121" fmla="*/ 348 h 354"/>
                <a:gd name="T122" fmla="*/ 336 w 352"/>
                <a:gd name="T123" fmla="*/ 321 h 354"/>
                <a:gd name="T124" fmla="*/ 352 w 352"/>
                <a:gd name="T125" fmla="*/ 282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2" h="354">
                  <a:moveTo>
                    <a:pt x="268" y="336"/>
                  </a:moveTo>
                  <a:lnTo>
                    <a:pt x="259" y="336"/>
                  </a:lnTo>
                  <a:lnTo>
                    <a:pt x="249" y="334"/>
                  </a:lnTo>
                  <a:lnTo>
                    <a:pt x="239" y="330"/>
                  </a:lnTo>
                  <a:lnTo>
                    <a:pt x="237" y="330"/>
                  </a:lnTo>
                  <a:lnTo>
                    <a:pt x="185" y="299"/>
                  </a:lnTo>
                  <a:lnTo>
                    <a:pt x="136" y="260"/>
                  </a:lnTo>
                  <a:lnTo>
                    <a:pt x="94" y="218"/>
                  </a:lnTo>
                  <a:lnTo>
                    <a:pt x="55" y="169"/>
                  </a:lnTo>
                  <a:lnTo>
                    <a:pt x="24" y="117"/>
                  </a:lnTo>
                  <a:lnTo>
                    <a:pt x="24" y="115"/>
                  </a:lnTo>
                  <a:lnTo>
                    <a:pt x="20" y="105"/>
                  </a:lnTo>
                  <a:lnTo>
                    <a:pt x="18" y="95"/>
                  </a:lnTo>
                  <a:lnTo>
                    <a:pt x="16" y="85"/>
                  </a:lnTo>
                  <a:lnTo>
                    <a:pt x="20" y="62"/>
                  </a:lnTo>
                  <a:lnTo>
                    <a:pt x="30" y="45"/>
                  </a:lnTo>
                  <a:lnTo>
                    <a:pt x="43" y="29"/>
                  </a:lnTo>
                  <a:lnTo>
                    <a:pt x="59" y="19"/>
                  </a:lnTo>
                  <a:lnTo>
                    <a:pt x="72" y="17"/>
                  </a:lnTo>
                  <a:lnTo>
                    <a:pt x="76" y="17"/>
                  </a:lnTo>
                  <a:lnTo>
                    <a:pt x="78" y="19"/>
                  </a:lnTo>
                  <a:lnTo>
                    <a:pt x="80" y="21"/>
                  </a:lnTo>
                  <a:lnTo>
                    <a:pt x="80" y="21"/>
                  </a:lnTo>
                  <a:lnTo>
                    <a:pt x="132" y="89"/>
                  </a:lnTo>
                  <a:lnTo>
                    <a:pt x="134" y="91"/>
                  </a:lnTo>
                  <a:lnTo>
                    <a:pt x="136" y="93"/>
                  </a:lnTo>
                  <a:lnTo>
                    <a:pt x="136" y="97"/>
                  </a:lnTo>
                  <a:lnTo>
                    <a:pt x="134" y="101"/>
                  </a:lnTo>
                  <a:lnTo>
                    <a:pt x="117" y="119"/>
                  </a:lnTo>
                  <a:lnTo>
                    <a:pt x="117" y="119"/>
                  </a:lnTo>
                  <a:lnTo>
                    <a:pt x="111" y="126"/>
                  </a:lnTo>
                  <a:lnTo>
                    <a:pt x="109" y="134"/>
                  </a:lnTo>
                  <a:lnTo>
                    <a:pt x="107" y="142"/>
                  </a:lnTo>
                  <a:lnTo>
                    <a:pt x="107" y="150"/>
                  </a:lnTo>
                  <a:lnTo>
                    <a:pt x="111" y="157"/>
                  </a:lnTo>
                  <a:lnTo>
                    <a:pt x="115" y="165"/>
                  </a:lnTo>
                  <a:lnTo>
                    <a:pt x="117" y="165"/>
                  </a:lnTo>
                  <a:lnTo>
                    <a:pt x="150" y="204"/>
                  </a:lnTo>
                  <a:lnTo>
                    <a:pt x="189" y="237"/>
                  </a:lnTo>
                  <a:lnTo>
                    <a:pt x="189" y="237"/>
                  </a:lnTo>
                  <a:lnTo>
                    <a:pt x="195" y="243"/>
                  </a:lnTo>
                  <a:lnTo>
                    <a:pt x="202" y="245"/>
                  </a:lnTo>
                  <a:lnTo>
                    <a:pt x="212" y="247"/>
                  </a:lnTo>
                  <a:lnTo>
                    <a:pt x="220" y="245"/>
                  </a:lnTo>
                  <a:lnTo>
                    <a:pt x="228" y="243"/>
                  </a:lnTo>
                  <a:lnTo>
                    <a:pt x="233" y="237"/>
                  </a:lnTo>
                  <a:lnTo>
                    <a:pt x="235" y="237"/>
                  </a:lnTo>
                  <a:lnTo>
                    <a:pt x="253" y="218"/>
                  </a:lnTo>
                  <a:lnTo>
                    <a:pt x="257" y="218"/>
                  </a:lnTo>
                  <a:lnTo>
                    <a:pt x="261" y="218"/>
                  </a:lnTo>
                  <a:lnTo>
                    <a:pt x="263" y="220"/>
                  </a:lnTo>
                  <a:lnTo>
                    <a:pt x="263" y="222"/>
                  </a:lnTo>
                  <a:lnTo>
                    <a:pt x="330" y="274"/>
                  </a:lnTo>
                  <a:lnTo>
                    <a:pt x="332" y="274"/>
                  </a:lnTo>
                  <a:lnTo>
                    <a:pt x="334" y="276"/>
                  </a:lnTo>
                  <a:lnTo>
                    <a:pt x="336" y="278"/>
                  </a:lnTo>
                  <a:lnTo>
                    <a:pt x="336" y="282"/>
                  </a:lnTo>
                  <a:lnTo>
                    <a:pt x="336" y="282"/>
                  </a:lnTo>
                  <a:lnTo>
                    <a:pt x="332" y="297"/>
                  </a:lnTo>
                  <a:lnTo>
                    <a:pt x="323" y="311"/>
                  </a:lnTo>
                  <a:lnTo>
                    <a:pt x="309" y="325"/>
                  </a:lnTo>
                  <a:lnTo>
                    <a:pt x="290" y="334"/>
                  </a:lnTo>
                  <a:lnTo>
                    <a:pt x="268" y="336"/>
                  </a:lnTo>
                  <a:close/>
                  <a:moveTo>
                    <a:pt x="352" y="282"/>
                  </a:moveTo>
                  <a:lnTo>
                    <a:pt x="352" y="282"/>
                  </a:lnTo>
                  <a:lnTo>
                    <a:pt x="352" y="274"/>
                  </a:lnTo>
                  <a:lnTo>
                    <a:pt x="350" y="268"/>
                  </a:lnTo>
                  <a:lnTo>
                    <a:pt x="346" y="264"/>
                  </a:lnTo>
                  <a:lnTo>
                    <a:pt x="340" y="260"/>
                  </a:lnTo>
                  <a:lnTo>
                    <a:pt x="274" y="208"/>
                  </a:lnTo>
                  <a:lnTo>
                    <a:pt x="268" y="204"/>
                  </a:lnTo>
                  <a:lnTo>
                    <a:pt x="263" y="202"/>
                  </a:lnTo>
                  <a:lnTo>
                    <a:pt x="257" y="200"/>
                  </a:lnTo>
                  <a:lnTo>
                    <a:pt x="249" y="202"/>
                  </a:lnTo>
                  <a:lnTo>
                    <a:pt x="241" y="206"/>
                  </a:lnTo>
                  <a:lnTo>
                    <a:pt x="224" y="225"/>
                  </a:lnTo>
                  <a:lnTo>
                    <a:pt x="224" y="225"/>
                  </a:lnTo>
                  <a:lnTo>
                    <a:pt x="220" y="227"/>
                  </a:lnTo>
                  <a:lnTo>
                    <a:pt x="216" y="229"/>
                  </a:lnTo>
                  <a:lnTo>
                    <a:pt x="212" y="229"/>
                  </a:lnTo>
                  <a:lnTo>
                    <a:pt x="206" y="229"/>
                  </a:lnTo>
                  <a:lnTo>
                    <a:pt x="202" y="227"/>
                  </a:lnTo>
                  <a:lnTo>
                    <a:pt x="198" y="223"/>
                  </a:lnTo>
                  <a:lnTo>
                    <a:pt x="198" y="223"/>
                  </a:lnTo>
                  <a:lnTo>
                    <a:pt x="162" y="192"/>
                  </a:lnTo>
                  <a:lnTo>
                    <a:pt x="129" y="155"/>
                  </a:lnTo>
                  <a:lnTo>
                    <a:pt x="130" y="155"/>
                  </a:lnTo>
                  <a:lnTo>
                    <a:pt x="127" y="152"/>
                  </a:lnTo>
                  <a:lnTo>
                    <a:pt x="125" y="148"/>
                  </a:lnTo>
                  <a:lnTo>
                    <a:pt x="123" y="142"/>
                  </a:lnTo>
                  <a:lnTo>
                    <a:pt x="125" y="138"/>
                  </a:lnTo>
                  <a:lnTo>
                    <a:pt x="127" y="134"/>
                  </a:lnTo>
                  <a:lnTo>
                    <a:pt x="129" y="130"/>
                  </a:lnTo>
                  <a:lnTo>
                    <a:pt x="129" y="130"/>
                  </a:lnTo>
                  <a:lnTo>
                    <a:pt x="148" y="111"/>
                  </a:lnTo>
                  <a:lnTo>
                    <a:pt x="152" y="105"/>
                  </a:lnTo>
                  <a:lnTo>
                    <a:pt x="152" y="97"/>
                  </a:lnTo>
                  <a:lnTo>
                    <a:pt x="152" y="91"/>
                  </a:lnTo>
                  <a:lnTo>
                    <a:pt x="150" y="85"/>
                  </a:lnTo>
                  <a:lnTo>
                    <a:pt x="146" y="80"/>
                  </a:lnTo>
                  <a:lnTo>
                    <a:pt x="94" y="12"/>
                  </a:lnTo>
                  <a:lnTo>
                    <a:pt x="90" y="8"/>
                  </a:lnTo>
                  <a:lnTo>
                    <a:pt x="84" y="4"/>
                  </a:lnTo>
                  <a:lnTo>
                    <a:pt x="78" y="2"/>
                  </a:lnTo>
                  <a:lnTo>
                    <a:pt x="72" y="0"/>
                  </a:lnTo>
                  <a:lnTo>
                    <a:pt x="53" y="6"/>
                  </a:lnTo>
                  <a:lnTo>
                    <a:pt x="33" y="17"/>
                  </a:lnTo>
                  <a:lnTo>
                    <a:pt x="16" y="35"/>
                  </a:lnTo>
                  <a:lnTo>
                    <a:pt x="4" y="58"/>
                  </a:lnTo>
                  <a:lnTo>
                    <a:pt x="0" y="85"/>
                  </a:lnTo>
                  <a:lnTo>
                    <a:pt x="2" y="103"/>
                  </a:lnTo>
                  <a:lnTo>
                    <a:pt x="8" y="120"/>
                  </a:lnTo>
                  <a:lnTo>
                    <a:pt x="8" y="120"/>
                  </a:lnTo>
                  <a:lnTo>
                    <a:pt x="41" y="177"/>
                  </a:lnTo>
                  <a:lnTo>
                    <a:pt x="80" y="227"/>
                  </a:lnTo>
                  <a:lnTo>
                    <a:pt x="127" y="274"/>
                  </a:lnTo>
                  <a:lnTo>
                    <a:pt x="177" y="313"/>
                  </a:lnTo>
                  <a:lnTo>
                    <a:pt x="231" y="346"/>
                  </a:lnTo>
                  <a:lnTo>
                    <a:pt x="233" y="346"/>
                  </a:lnTo>
                  <a:lnTo>
                    <a:pt x="249" y="352"/>
                  </a:lnTo>
                  <a:lnTo>
                    <a:pt x="268" y="354"/>
                  </a:lnTo>
                  <a:lnTo>
                    <a:pt x="296" y="348"/>
                  </a:lnTo>
                  <a:lnTo>
                    <a:pt x="319" y="336"/>
                  </a:lnTo>
                  <a:lnTo>
                    <a:pt x="336" y="321"/>
                  </a:lnTo>
                  <a:lnTo>
                    <a:pt x="348" y="301"/>
                  </a:lnTo>
                  <a:lnTo>
                    <a:pt x="352" y="282"/>
                  </a:lnTo>
                  <a:lnTo>
                    <a:pt x="352" y="282"/>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d-ID" sz="2000"/>
            </a:p>
          </p:txBody>
        </p:sp>
        <p:sp>
          <p:nvSpPr>
            <p:cNvPr id="20" name="Freeform 48"/>
            <p:cNvSpPr>
              <a:spLocks noEditPoints="1"/>
            </p:cNvSpPr>
            <p:nvPr/>
          </p:nvSpPr>
          <p:spPr bwMode="auto">
            <a:xfrm>
              <a:off x="3004104" y="5383372"/>
              <a:ext cx="272496" cy="272496"/>
            </a:xfrm>
            <a:custGeom>
              <a:avLst/>
              <a:gdLst>
                <a:gd name="T0" fmla="*/ 676 w 976"/>
                <a:gd name="T1" fmla="*/ 779 h 976"/>
                <a:gd name="T2" fmla="*/ 749 w 976"/>
                <a:gd name="T3" fmla="*/ 853 h 976"/>
                <a:gd name="T4" fmla="*/ 638 w 976"/>
                <a:gd name="T5" fmla="*/ 911 h 976"/>
                <a:gd name="T6" fmla="*/ 289 w 976"/>
                <a:gd name="T7" fmla="*/ 752 h 976"/>
                <a:gd name="T8" fmla="*/ 382 w 976"/>
                <a:gd name="T9" fmla="*/ 924 h 976"/>
                <a:gd name="T10" fmla="*/ 265 w 976"/>
                <a:gd name="T11" fmla="*/ 878 h 976"/>
                <a:gd name="T12" fmla="*/ 342 w 976"/>
                <a:gd name="T13" fmla="*/ 105 h 976"/>
                <a:gd name="T14" fmla="*/ 197 w 976"/>
                <a:gd name="T15" fmla="*/ 188 h 976"/>
                <a:gd name="T16" fmla="*/ 308 w 976"/>
                <a:gd name="T17" fmla="*/ 78 h 976"/>
                <a:gd name="T18" fmla="*/ 748 w 976"/>
                <a:gd name="T19" fmla="*/ 202 h 976"/>
                <a:gd name="T20" fmla="*/ 620 w 976"/>
                <a:gd name="T21" fmla="*/ 85 h 976"/>
                <a:gd name="T22" fmla="*/ 682 w 976"/>
                <a:gd name="T23" fmla="*/ 83 h 976"/>
                <a:gd name="T24" fmla="*/ 721 w 976"/>
                <a:gd name="T25" fmla="*/ 441 h 976"/>
                <a:gd name="T26" fmla="*/ 732 w 976"/>
                <a:gd name="T27" fmla="*/ 250 h 976"/>
                <a:gd name="T28" fmla="*/ 884 w 976"/>
                <a:gd name="T29" fmla="*/ 277 h 976"/>
                <a:gd name="T30" fmla="*/ 931 w 976"/>
                <a:gd name="T31" fmla="*/ 414 h 976"/>
                <a:gd name="T32" fmla="*/ 933 w 976"/>
                <a:gd name="T33" fmla="*/ 545 h 976"/>
                <a:gd name="T34" fmla="*/ 892 w 976"/>
                <a:gd name="T35" fmla="*/ 684 h 976"/>
                <a:gd name="T36" fmla="*/ 768 w 976"/>
                <a:gd name="T37" fmla="*/ 740 h 976"/>
                <a:gd name="T38" fmla="*/ 720 w 976"/>
                <a:gd name="T39" fmla="*/ 563 h 976"/>
                <a:gd name="T40" fmla="*/ 678 w 976"/>
                <a:gd name="T41" fmla="*/ 586 h 976"/>
                <a:gd name="T42" fmla="*/ 546 w 976"/>
                <a:gd name="T43" fmla="*/ 686 h 976"/>
                <a:gd name="T44" fmla="*/ 641 w 976"/>
                <a:gd name="T45" fmla="*/ 761 h 976"/>
                <a:gd name="T46" fmla="*/ 575 w 976"/>
                <a:gd name="T47" fmla="*/ 884 h 976"/>
                <a:gd name="T48" fmla="*/ 468 w 976"/>
                <a:gd name="T49" fmla="*/ 722 h 976"/>
                <a:gd name="T50" fmla="*/ 400 w 976"/>
                <a:gd name="T51" fmla="*/ 885 h 976"/>
                <a:gd name="T52" fmla="*/ 335 w 976"/>
                <a:gd name="T53" fmla="*/ 761 h 976"/>
                <a:gd name="T54" fmla="*/ 468 w 976"/>
                <a:gd name="T55" fmla="*/ 684 h 976"/>
                <a:gd name="T56" fmla="*/ 299 w 976"/>
                <a:gd name="T57" fmla="*/ 611 h 976"/>
                <a:gd name="T58" fmla="*/ 257 w 976"/>
                <a:gd name="T59" fmla="*/ 590 h 976"/>
                <a:gd name="T60" fmla="*/ 175 w 976"/>
                <a:gd name="T61" fmla="*/ 756 h 976"/>
                <a:gd name="T62" fmla="*/ 76 w 976"/>
                <a:gd name="T63" fmla="*/ 667 h 976"/>
                <a:gd name="T64" fmla="*/ 41 w 976"/>
                <a:gd name="T65" fmla="*/ 526 h 976"/>
                <a:gd name="T66" fmla="*/ 48 w 976"/>
                <a:gd name="T67" fmla="*/ 395 h 976"/>
                <a:gd name="T68" fmla="*/ 100 w 976"/>
                <a:gd name="T69" fmla="*/ 261 h 976"/>
                <a:gd name="T70" fmla="*/ 279 w 976"/>
                <a:gd name="T71" fmla="*/ 261 h 976"/>
                <a:gd name="T72" fmla="*/ 252 w 976"/>
                <a:gd name="T73" fmla="*/ 469 h 976"/>
                <a:gd name="T74" fmla="*/ 303 w 976"/>
                <a:gd name="T75" fmla="*/ 340 h 976"/>
                <a:gd name="T76" fmla="*/ 468 w 976"/>
                <a:gd name="T77" fmla="*/ 42 h 976"/>
                <a:gd name="T78" fmla="*/ 349 w 976"/>
                <a:gd name="T79" fmla="*/ 178 h 976"/>
                <a:gd name="T80" fmla="*/ 419 w 976"/>
                <a:gd name="T81" fmla="*/ 71 h 976"/>
                <a:gd name="T82" fmla="*/ 517 w 976"/>
                <a:gd name="T83" fmla="*/ 45 h 976"/>
                <a:gd name="T84" fmla="*/ 594 w 976"/>
                <a:gd name="T85" fmla="*/ 117 h 976"/>
                <a:gd name="T86" fmla="*/ 613 w 976"/>
                <a:gd name="T87" fmla="*/ 242 h 976"/>
                <a:gd name="T88" fmla="*/ 659 w 976"/>
                <a:gd name="T89" fmla="*/ 272 h 976"/>
                <a:gd name="T90" fmla="*/ 683 w 976"/>
                <a:gd name="T91" fmla="*/ 469 h 976"/>
                <a:gd name="T92" fmla="*/ 487 w 976"/>
                <a:gd name="T93" fmla="*/ 0 h 976"/>
                <a:gd name="T94" fmla="*/ 319 w 976"/>
                <a:gd name="T95" fmla="*/ 30 h 976"/>
                <a:gd name="T96" fmla="*/ 160 w 976"/>
                <a:gd name="T97" fmla="*/ 127 h 976"/>
                <a:gd name="T98" fmla="*/ 48 w 976"/>
                <a:gd name="T99" fmla="*/ 276 h 976"/>
                <a:gd name="T100" fmla="*/ 1 w 976"/>
                <a:gd name="T101" fmla="*/ 463 h 976"/>
                <a:gd name="T102" fmla="*/ 30 w 976"/>
                <a:gd name="T103" fmla="*/ 655 h 976"/>
                <a:gd name="T104" fmla="*/ 126 w 976"/>
                <a:gd name="T105" fmla="*/ 815 h 976"/>
                <a:gd name="T106" fmla="*/ 276 w 976"/>
                <a:gd name="T107" fmla="*/ 928 h 976"/>
                <a:gd name="T108" fmla="*/ 462 w 976"/>
                <a:gd name="T109" fmla="*/ 975 h 976"/>
                <a:gd name="T110" fmla="*/ 513 w 976"/>
                <a:gd name="T111" fmla="*/ 975 h 976"/>
                <a:gd name="T112" fmla="*/ 700 w 976"/>
                <a:gd name="T113" fmla="*/ 928 h 976"/>
                <a:gd name="T114" fmla="*/ 849 w 976"/>
                <a:gd name="T115" fmla="*/ 816 h 976"/>
                <a:gd name="T116" fmla="*/ 946 w 976"/>
                <a:gd name="T117" fmla="*/ 655 h 976"/>
                <a:gd name="T118" fmla="*/ 975 w 976"/>
                <a:gd name="T119" fmla="*/ 463 h 976"/>
                <a:gd name="T120" fmla="*/ 928 w 976"/>
                <a:gd name="T121" fmla="*/ 276 h 976"/>
                <a:gd name="T122" fmla="*/ 816 w 976"/>
                <a:gd name="T123" fmla="*/ 127 h 976"/>
                <a:gd name="T124" fmla="*/ 655 w 976"/>
                <a:gd name="T125" fmla="*/ 3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76" h="976">
                  <a:moveTo>
                    <a:pt x="593" y="924"/>
                  </a:moveTo>
                  <a:lnTo>
                    <a:pt x="607" y="909"/>
                  </a:lnTo>
                  <a:lnTo>
                    <a:pt x="620" y="891"/>
                  </a:lnTo>
                  <a:lnTo>
                    <a:pt x="633" y="873"/>
                  </a:lnTo>
                  <a:lnTo>
                    <a:pt x="645" y="851"/>
                  </a:lnTo>
                  <a:lnTo>
                    <a:pt x="656" y="828"/>
                  </a:lnTo>
                  <a:lnTo>
                    <a:pt x="666" y="804"/>
                  </a:lnTo>
                  <a:lnTo>
                    <a:pt x="676" y="779"/>
                  </a:lnTo>
                  <a:lnTo>
                    <a:pt x="686" y="752"/>
                  </a:lnTo>
                  <a:lnTo>
                    <a:pt x="717" y="762"/>
                  </a:lnTo>
                  <a:lnTo>
                    <a:pt x="748" y="774"/>
                  </a:lnTo>
                  <a:lnTo>
                    <a:pt x="778" y="787"/>
                  </a:lnTo>
                  <a:lnTo>
                    <a:pt x="808" y="802"/>
                  </a:lnTo>
                  <a:lnTo>
                    <a:pt x="786" y="824"/>
                  </a:lnTo>
                  <a:lnTo>
                    <a:pt x="761" y="843"/>
                  </a:lnTo>
                  <a:lnTo>
                    <a:pt x="749" y="853"/>
                  </a:lnTo>
                  <a:lnTo>
                    <a:pt x="736" y="862"/>
                  </a:lnTo>
                  <a:lnTo>
                    <a:pt x="723" y="870"/>
                  </a:lnTo>
                  <a:lnTo>
                    <a:pt x="709" y="878"/>
                  </a:lnTo>
                  <a:lnTo>
                    <a:pt x="696" y="885"/>
                  </a:lnTo>
                  <a:lnTo>
                    <a:pt x="682" y="893"/>
                  </a:lnTo>
                  <a:lnTo>
                    <a:pt x="667" y="900"/>
                  </a:lnTo>
                  <a:lnTo>
                    <a:pt x="653" y="905"/>
                  </a:lnTo>
                  <a:lnTo>
                    <a:pt x="638" y="911"/>
                  </a:lnTo>
                  <a:lnTo>
                    <a:pt x="623" y="916"/>
                  </a:lnTo>
                  <a:lnTo>
                    <a:pt x="608" y="920"/>
                  </a:lnTo>
                  <a:lnTo>
                    <a:pt x="593" y="924"/>
                  </a:lnTo>
                  <a:close/>
                  <a:moveTo>
                    <a:pt x="168" y="802"/>
                  </a:moveTo>
                  <a:lnTo>
                    <a:pt x="197" y="788"/>
                  </a:lnTo>
                  <a:lnTo>
                    <a:pt x="228" y="774"/>
                  </a:lnTo>
                  <a:lnTo>
                    <a:pt x="258" y="762"/>
                  </a:lnTo>
                  <a:lnTo>
                    <a:pt x="289" y="752"/>
                  </a:lnTo>
                  <a:lnTo>
                    <a:pt x="299" y="779"/>
                  </a:lnTo>
                  <a:lnTo>
                    <a:pt x="309" y="804"/>
                  </a:lnTo>
                  <a:lnTo>
                    <a:pt x="318" y="828"/>
                  </a:lnTo>
                  <a:lnTo>
                    <a:pt x="330" y="851"/>
                  </a:lnTo>
                  <a:lnTo>
                    <a:pt x="342" y="871"/>
                  </a:lnTo>
                  <a:lnTo>
                    <a:pt x="355" y="891"/>
                  </a:lnTo>
                  <a:lnTo>
                    <a:pt x="368" y="908"/>
                  </a:lnTo>
                  <a:lnTo>
                    <a:pt x="382" y="924"/>
                  </a:lnTo>
                  <a:lnTo>
                    <a:pt x="367" y="920"/>
                  </a:lnTo>
                  <a:lnTo>
                    <a:pt x="352" y="916"/>
                  </a:lnTo>
                  <a:lnTo>
                    <a:pt x="337" y="910"/>
                  </a:lnTo>
                  <a:lnTo>
                    <a:pt x="322" y="905"/>
                  </a:lnTo>
                  <a:lnTo>
                    <a:pt x="308" y="898"/>
                  </a:lnTo>
                  <a:lnTo>
                    <a:pt x="293" y="892"/>
                  </a:lnTo>
                  <a:lnTo>
                    <a:pt x="279" y="885"/>
                  </a:lnTo>
                  <a:lnTo>
                    <a:pt x="265" y="878"/>
                  </a:lnTo>
                  <a:lnTo>
                    <a:pt x="239" y="862"/>
                  </a:lnTo>
                  <a:lnTo>
                    <a:pt x="215" y="843"/>
                  </a:lnTo>
                  <a:lnTo>
                    <a:pt x="191" y="824"/>
                  </a:lnTo>
                  <a:lnTo>
                    <a:pt x="168" y="802"/>
                  </a:lnTo>
                  <a:close/>
                  <a:moveTo>
                    <a:pt x="382" y="52"/>
                  </a:moveTo>
                  <a:lnTo>
                    <a:pt x="368" y="68"/>
                  </a:lnTo>
                  <a:lnTo>
                    <a:pt x="355" y="85"/>
                  </a:lnTo>
                  <a:lnTo>
                    <a:pt x="342" y="105"/>
                  </a:lnTo>
                  <a:lnTo>
                    <a:pt x="330" y="125"/>
                  </a:lnTo>
                  <a:lnTo>
                    <a:pt x="319" y="148"/>
                  </a:lnTo>
                  <a:lnTo>
                    <a:pt x="309" y="172"/>
                  </a:lnTo>
                  <a:lnTo>
                    <a:pt x="299" y="198"/>
                  </a:lnTo>
                  <a:lnTo>
                    <a:pt x="289" y="225"/>
                  </a:lnTo>
                  <a:lnTo>
                    <a:pt x="258" y="214"/>
                  </a:lnTo>
                  <a:lnTo>
                    <a:pt x="228" y="202"/>
                  </a:lnTo>
                  <a:lnTo>
                    <a:pt x="197" y="188"/>
                  </a:lnTo>
                  <a:lnTo>
                    <a:pt x="168" y="174"/>
                  </a:lnTo>
                  <a:lnTo>
                    <a:pt x="191" y="152"/>
                  </a:lnTo>
                  <a:lnTo>
                    <a:pt x="215" y="133"/>
                  </a:lnTo>
                  <a:lnTo>
                    <a:pt x="239" y="114"/>
                  </a:lnTo>
                  <a:lnTo>
                    <a:pt x="265" y="98"/>
                  </a:lnTo>
                  <a:lnTo>
                    <a:pt x="279" y="91"/>
                  </a:lnTo>
                  <a:lnTo>
                    <a:pt x="293" y="84"/>
                  </a:lnTo>
                  <a:lnTo>
                    <a:pt x="308" y="78"/>
                  </a:lnTo>
                  <a:lnTo>
                    <a:pt x="322" y="71"/>
                  </a:lnTo>
                  <a:lnTo>
                    <a:pt x="337" y="66"/>
                  </a:lnTo>
                  <a:lnTo>
                    <a:pt x="352" y="60"/>
                  </a:lnTo>
                  <a:lnTo>
                    <a:pt x="367" y="56"/>
                  </a:lnTo>
                  <a:lnTo>
                    <a:pt x="382" y="52"/>
                  </a:lnTo>
                  <a:close/>
                  <a:moveTo>
                    <a:pt x="808" y="174"/>
                  </a:moveTo>
                  <a:lnTo>
                    <a:pt x="778" y="189"/>
                  </a:lnTo>
                  <a:lnTo>
                    <a:pt x="748" y="202"/>
                  </a:lnTo>
                  <a:lnTo>
                    <a:pt x="717" y="214"/>
                  </a:lnTo>
                  <a:lnTo>
                    <a:pt x="686" y="225"/>
                  </a:lnTo>
                  <a:lnTo>
                    <a:pt x="676" y="198"/>
                  </a:lnTo>
                  <a:lnTo>
                    <a:pt x="666" y="172"/>
                  </a:lnTo>
                  <a:lnTo>
                    <a:pt x="656" y="148"/>
                  </a:lnTo>
                  <a:lnTo>
                    <a:pt x="645" y="125"/>
                  </a:lnTo>
                  <a:lnTo>
                    <a:pt x="633" y="105"/>
                  </a:lnTo>
                  <a:lnTo>
                    <a:pt x="620" y="85"/>
                  </a:lnTo>
                  <a:lnTo>
                    <a:pt x="607" y="67"/>
                  </a:lnTo>
                  <a:lnTo>
                    <a:pt x="593" y="52"/>
                  </a:lnTo>
                  <a:lnTo>
                    <a:pt x="608" y="56"/>
                  </a:lnTo>
                  <a:lnTo>
                    <a:pt x="623" y="60"/>
                  </a:lnTo>
                  <a:lnTo>
                    <a:pt x="638" y="66"/>
                  </a:lnTo>
                  <a:lnTo>
                    <a:pt x="653" y="71"/>
                  </a:lnTo>
                  <a:lnTo>
                    <a:pt x="667" y="77"/>
                  </a:lnTo>
                  <a:lnTo>
                    <a:pt x="682" y="83"/>
                  </a:lnTo>
                  <a:lnTo>
                    <a:pt x="696" y="91"/>
                  </a:lnTo>
                  <a:lnTo>
                    <a:pt x="709" y="98"/>
                  </a:lnTo>
                  <a:lnTo>
                    <a:pt x="736" y="114"/>
                  </a:lnTo>
                  <a:lnTo>
                    <a:pt x="761" y="133"/>
                  </a:lnTo>
                  <a:lnTo>
                    <a:pt x="785" y="152"/>
                  </a:lnTo>
                  <a:lnTo>
                    <a:pt x="808" y="174"/>
                  </a:lnTo>
                  <a:close/>
                  <a:moveTo>
                    <a:pt x="722" y="469"/>
                  </a:moveTo>
                  <a:lnTo>
                    <a:pt x="721" y="441"/>
                  </a:lnTo>
                  <a:lnTo>
                    <a:pt x="720" y="414"/>
                  </a:lnTo>
                  <a:lnTo>
                    <a:pt x="718" y="387"/>
                  </a:lnTo>
                  <a:lnTo>
                    <a:pt x="715" y="361"/>
                  </a:lnTo>
                  <a:lnTo>
                    <a:pt x="710" y="335"/>
                  </a:lnTo>
                  <a:lnTo>
                    <a:pt x="706" y="310"/>
                  </a:lnTo>
                  <a:lnTo>
                    <a:pt x="702" y="286"/>
                  </a:lnTo>
                  <a:lnTo>
                    <a:pt x="696" y="262"/>
                  </a:lnTo>
                  <a:lnTo>
                    <a:pt x="732" y="250"/>
                  </a:lnTo>
                  <a:lnTo>
                    <a:pt x="768" y="236"/>
                  </a:lnTo>
                  <a:lnTo>
                    <a:pt x="801" y="220"/>
                  </a:lnTo>
                  <a:lnTo>
                    <a:pt x="835" y="203"/>
                  </a:lnTo>
                  <a:lnTo>
                    <a:pt x="845" y="217"/>
                  </a:lnTo>
                  <a:lnTo>
                    <a:pt x="856" y="232"/>
                  </a:lnTo>
                  <a:lnTo>
                    <a:pt x="866" y="246"/>
                  </a:lnTo>
                  <a:lnTo>
                    <a:pt x="876" y="261"/>
                  </a:lnTo>
                  <a:lnTo>
                    <a:pt x="884" y="277"/>
                  </a:lnTo>
                  <a:lnTo>
                    <a:pt x="892" y="293"/>
                  </a:lnTo>
                  <a:lnTo>
                    <a:pt x="899" y="309"/>
                  </a:lnTo>
                  <a:lnTo>
                    <a:pt x="907" y="326"/>
                  </a:lnTo>
                  <a:lnTo>
                    <a:pt x="912" y="342"/>
                  </a:lnTo>
                  <a:lnTo>
                    <a:pt x="918" y="360"/>
                  </a:lnTo>
                  <a:lnTo>
                    <a:pt x="923" y="377"/>
                  </a:lnTo>
                  <a:lnTo>
                    <a:pt x="928" y="395"/>
                  </a:lnTo>
                  <a:lnTo>
                    <a:pt x="931" y="414"/>
                  </a:lnTo>
                  <a:lnTo>
                    <a:pt x="933" y="432"/>
                  </a:lnTo>
                  <a:lnTo>
                    <a:pt x="935" y="450"/>
                  </a:lnTo>
                  <a:lnTo>
                    <a:pt x="936" y="469"/>
                  </a:lnTo>
                  <a:lnTo>
                    <a:pt x="722" y="469"/>
                  </a:lnTo>
                  <a:close/>
                  <a:moveTo>
                    <a:pt x="722" y="507"/>
                  </a:moveTo>
                  <a:lnTo>
                    <a:pt x="936" y="507"/>
                  </a:lnTo>
                  <a:lnTo>
                    <a:pt x="935" y="526"/>
                  </a:lnTo>
                  <a:lnTo>
                    <a:pt x="933" y="545"/>
                  </a:lnTo>
                  <a:lnTo>
                    <a:pt x="931" y="564"/>
                  </a:lnTo>
                  <a:lnTo>
                    <a:pt x="928" y="581"/>
                  </a:lnTo>
                  <a:lnTo>
                    <a:pt x="923" y="599"/>
                  </a:lnTo>
                  <a:lnTo>
                    <a:pt x="918" y="617"/>
                  </a:lnTo>
                  <a:lnTo>
                    <a:pt x="912" y="634"/>
                  </a:lnTo>
                  <a:lnTo>
                    <a:pt x="907" y="650"/>
                  </a:lnTo>
                  <a:lnTo>
                    <a:pt x="899" y="667"/>
                  </a:lnTo>
                  <a:lnTo>
                    <a:pt x="892" y="684"/>
                  </a:lnTo>
                  <a:lnTo>
                    <a:pt x="884" y="699"/>
                  </a:lnTo>
                  <a:lnTo>
                    <a:pt x="876" y="715"/>
                  </a:lnTo>
                  <a:lnTo>
                    <a:pt x="866" y="730"/>
                  </a:lnTo>
                  <a:lnTo>
                    <a:pt x="856" y="744"/>
                  </a:lnTo>
                  <a:lnTo>
                    <a:pt x="845" y="759"/>
                  </a:lnTo>
                  <a:lnTo>
                    <a:pt x="835" y="773"/>
                  </a:lnTo>
                  <a:lnTo>
                    <a:pt x="801" y="756"/>
                  </a:lnTo>
                  <a:lnTo>
                    <a:pt x="768" y="740"/>
                  </a:lnTo>
                  <a:lnTo>
                    <a:pt x="732" y="726"/>
                  </a:lnTo>
                  <a:lnTo>
                    <a:pt x="696" y="714"/>
                  </a:lnTo>
                  <a:lnTo>
                    <a:pt x="702" y="690"/>
                  </a:lnTo>
                  <a:lnTo>
                    <a:pt x="706" y="666"/>
                  </a:lnTo>
                  <a:lnTo>
                    <a:pt x="710" y="641"/>
                  </a:lnTo>
                  <a:lnTo>
                    <a:pt x="715" y="615"/>
                  </a:lnTo>
                  <a:lnTo>
                    <a:pt x="718" y="590"/>
                  </a:lnTo>
                  <a:lnTo>
                    <a:pt x="720" y="563"/>
                  </a:lnTo>
                  <a:lnTo>
                    <a:pt x="721" y="536"/>
                  </a:lnTo>
                  <a:lnTo>
                    <a:pt x="722" y="507"/>
                  </a:lnTo>
                  <a:close/>
                  <a:moveTo>
                    <a:pt x="507" y="684"/>
                  </a:moveTo>
                  <a:lnTo>
                    <a:pt x="507" y="507"/>
                  </a:lnTo>
                  <a:lnTo>
                    <a:pt x="683" y="507"/>
                  </a:lnTo>
                  <a:lnTo>
                    <a:pt x="682" y="534"/>
                  </a:lnTo>
                  <a:lnTo>
                    <a:pt x="680" y="560"/>
                  </a:lnTo>
                  <a:lnTo>
                    <a:pt x="678" y="586"/>
                  </a:lnTo>
                  <a:lnTo>
                    <a:pt x="676" y="611"/>
                  </a:lnTo>
                  <a:lnTo>
                    <a:pt x="673" y="636"/>
                  </a:lnTo>
                  <a:lnTo>
                    <a:pt x="668" y="659"/>
                  </a:lnTo>
                  <a:lnTo>
                    <a:pt x="663" y="682"/>
                  </a:lnTo>
                  <a:lnTo>
                    <a:pt x="659" y="704"/>
                  </a:lnTo>
                  <a:lnTo>
                    <a:pt x="622" y="696"/>
                  </a:lnTo>
                  <a:lnTo>
                    <a:pt x="584" y="690"/>
                  </a:lnTo>
                  <a:lnTo>
                    <a:pt x="546" y="686"/>
                  </a:lnTo>
                  <a:lnTo>
                    <a:pt x="507" y="684"/>
                  </a:lnTo>
                  <a:close/>
                  <a:moveTo>
                    <a:pt x="507" y="934"/>
                  </a:moveTo>
                  <a:lnTo>
                    <a:pt x="507" y="722"/>
                  </a:lnTo>
                  <a:lnTo>
                    <a:pt x="543" y="725"/>
                  </a:lnTo>
                  <a:lnTo>
                    <a:pt x="579" y="729"/>
                  </a:lnTo>
                  <a:lnTo>
                    <a:pt x="613" y="734"/>
                  </a:lnTo>
                  <a:lnTo>
                    <a:pt x="648" y="742"/>
                  </a:lnTo>
                  <a:lnTo>
                    <a:pt x="641" y="761"/>
                  </a:lnTo>
                  <a:lnTo>
                    <a:pt x="634" y="780"/>
                  </a:lnTo>
                  <a:lnTo>
                    <a:pt x="626" y="798"/>
                  </a:lnTo>
                  <a:lnTo>
                    <a:pt x="619" y="815"/>
                  </a:lnTo>
                  <a:lnTo>
                    <a:pt x="611" y="830"/>
                  </a:lnTo>
                  <a:lnTo>
                    <a:pt x="602" y="846"/>
                  </a:lnTo>
                  <a:lnTo>
                    <a:pt x="594" y="860"/>
                  </a:lnTo>
                  <a:lnTo>
                    <a:pt x="584" y="873"/>
                  </a:lnTo>
                  <a:lnTo>
                    <a:pt x="575" y="884"/>
                  </a:lnTo>
                  <a:lnTo>
                    <a:pt x="566" y="895"/>
                  </a:lnTo>
                  <a:lnTo>
                    <a:pt x="556" y="905"/>
                  </a:lnTo>
                  <a:lnTo>
                    <a:pt x="547" y="912"/>
                  </a:lnTo>
                  <a:lnTo>
                    <a:pt x="538" y="920"/>
                  </a:lnTo>
                  <a:lnTo>
                    <a:pt x="527" y="925"/>
                  </a:lnTo>
                  <a:lnTo>
                    <a:pt x="517" y="931"/>
                  </a:lnTo>
                  <a:lnTo>
                    <a:pt x="507" y="934"/>
                  </a:lnTo>
                  <a:close/>
                  <a:moveTo>
                    <a:pt x="468" y="722"/>
                  </a:moveTo>
                  <a:lnTo>
                    <a:pt x="468" y="934"/>
                  </a:lnTo>
                  <a:lnTo>
                    <a:pt x="459" y="931"/>
                  </a:lnTo>
                  <a:lnTo>
                    <a:pt x="449" y="927"/>
                  </a:lnTo>
                  <a:lnTo>
                    <a:pt x="438" y="921"/>
                  </a:lnTo>
                  <a:lnTo>
                    <a:pt x="428" y="914"/>
                  </a:lnTo>
                  <a:lnTo>
                    <a:pt x="419" y="905"/>
                  </a:lnTo>
                  <a:lnTo>
                    <a:pt x="409" y="896"/>
                  </a:lnTo>
                  <a:lnTo>
                    <a:pt x="400" y="885"/>
                  </a:lnTo>
                  <a:lnTo>
                    <a:pt x="391" y="874"/>
                  </a:lnTo>
                  <a:lnTo>
                    <a:pt x="382" y="861"/>
                  </a:lnTo>
                  <a:lnTo>
                    <a:pt x="373" y="847"/>
                  </a:lnTo>
                  <a:lnTo>
                    <a:pt x="365" y="831"/>
                  </a:lnTo>
                  <a:lnTo>
                    <a:pt x="356" y="815"/>
                  </a:lnTo>
                  <a:lnTo>
                    <a:pt x="349" y="799"/>
                  </a:lnTo>
                  <a:lnTo>
                    <a:pt x="341" y="781"/>
                  </a:lnTo>
                  <a:lnTo>
                    <a:pt x="335" y="761"/>
                  </a:lnTo>
                  <a:lnTo>
                    <a:pt x="327" y="742"/>
                  </a:lnTo>
                  <a:lnTo>
                    <a:pt x="362" y="734"/>
                  </a:lnTo>
                  <a:lnTo>
                    <a:pt x="397" y="729"/>
                  </a:lnTo>
                  <a:lnTo>
                    <a:pt x="433" y="725"/>
                  </a:lnTo>
                  <a:lnTo>
                    <a:pt x="468" y="722"/>
                  </a:lnTo>
                  <a:close/>
                  <a:moveTo>
                    <a:pt x="291" y="507"/>
                  </a:moveTo>
                  <a:lnTo>
                    <a:pt x="468" y="507"/>
                  </a:lnTo>
                  <a:lnTo>
                    <a:pt x="468" y="684"/>
                  </a:lnTo>
                  <a:lnTo>
                    <a:pt x="430" y="686"/>
                  </a:lnTo>
                  <a:lnTo>
                    <a:pt x="392" y="690"/>
                  </a:lnTo>
                  <a:lnTo>
                    <a:pt x="354" y="696"/>
                  </a:lnTo>
                  <a:lnTo>
                    <a:pt x="317" y="704"/>
                  </a:lnTo>
                  <a:lnTo>
                    <a:pt x="312" y="682"/>
                  </a:lnTo>
                  <a:lnTo>
                    <a:pt x="306" y="660"/>
                  </a:lnTo>
                  <a:lnTo>
                    <a:pt x="303" y="636"/>
                  </a:lnTo>
                  <a:lnTo>
                    <a:pt x="299" y="611"/>
                  </a:lnTo>
                  <a:lnTo>
                    <a:pt x="297" y="586"/>
                  </a:lnTo>
                  <a:lnTo>
                    <a:pt x="295" y="560"/>
                  </a:lnTo>
                  <a:lnTo>
                    <a:pt x="292" y="534"/>
                  </a:lnTo>
                  <a:lnTo>
                    <a:pt x="291" y="507"/>
                  </a:lnTo>
                  <a:close/>
                  <a:moveTo>
                    <a:pt x="252" y="507"/>
                  </a:moveTo>
                  <a:lnTo>
                    <a:pt x="253" y="536"/>
                  </a:lnTo>
                  <a:lnTo>
                    <a:pt x="255" y="563"/>
                  </a:lnTo>
                  <a:lnTo>
                    <a:pt x="257" y="590"/>
                  </a:lnTo>
                  <a:lnTo>
                    <a:pt x="260" y="615"/>
                  </a:lnTo>
                  <a:lnTo>
                    <a:pt x="264" y="641"/>
                  </a:lnTo>
                  <a:lnTo>
                    <a:pt x="269" y="666"/>
                  </a:lnTo>
                  <a:lnTo>
                    <a:pt x="273" y="691"/>
                  </a:lnTo>
                  <a:lnTo>
                    <a:pt x="279" y="715"/>
                  </a:lnTo>
                  <a:lnTo>
                    <a:pt x="243" y="727"/>
                  </a:lnTo>
                  <a:lnTo>
                    <a:pt x="208" y="740"/>
                  </a:lnTo>
                  <a:lnTo>
                    <a:pt x="175" y="756"/>
                  </a:lnTo>
                  <a:lnTo>
                    <a:pt x="141" y="773"/>
                  </a:lnTo>
                  <a:lnTo>
                    <a:pt x="130" y="759"/>
                  </a:lnTo>
                  <a:lnTo>
                    <a:pt x="120" y="744"/>
                  </a:lnTo>
                  <a:lnTo>
                    <a:pt x="110" y="730"/>
                  </a:lnTo>
                  <a:lnTo>
                    <a:pt x="100" y="715"/>
                  </a:lnTo>
                  <a:lnTo>
                    <a:pt x="91" y="699"/>
                  </a:lnTo>
                  <a:lnTo>
                    <a:pt x="84" y="684"/>
                  </a:lnTo>
                  <a:lnTo>
                    <a:pt x="76" y="667"/>
                  </a:lnTo>
                  <a:lnTo>
                    <a:pt x="70" y="650"/>
                  </a:lnTo>
                  <a:lnTo>
                    <a:pt x="63" y="634"/>
                  </a:lnTo>
                  <a:lnTo>
                    <a:pt x="58" y="617"/>
                  </a:lnTo>
                  <a:lnTo>
                    <a:pt x="53" y="599"/>
                  </a:lnTo>
                  <a:lnTo>
                    <a:pt x="48" y="581"/>
                  </a:lnTo>
                  <a:lnTo>
                    <a:pt x="45" y="564"/>
                  </a:lnTo>
                  <a:lnTo>
                    <a:pt x="43" y="545"/>
                  </a:lnTo>
                  <a:lnTo>
                    <a:pt x="41" y="526"/>
                  </a:lnTo>
                  <a:lnTo>
                    <a:pt x="40" y="507"/>
                  </a:lnTo>
                  <a:lnTo>
                    <a:pt x="252" y="507"/>
                  </a:lnTo>
                  <a:close/>
                  <a:moveTo>
                    <a:pt x="252" y="469"/>
                  </a:moveTo>
                  <a:lnTo>
                    <a:pt x="40" y="469"/>
                  </a:lnTo>
                  <a:lnTo>
                    <a:pt x="41" y="450"/>
                  </a:lnTo>
                  <a:lnTo>
                    <a:pt x="43" y="432"/>
                  </a:lnTo>
                  <a:lnTo>
                    <a:pt x="45" y="414"/>
                  </a:lnTo>
                  <a:lnTo>
                    <a:pt x="48" y="395"/>
                  </a:lnTo>
                  <a:lnTo>
                    <a:pt x="53" y="378"/>
                  </a:lnTo>
                  <a:lnTo>
                    <a:pt x="58" y="360"/>
                  </a:lnTo>
                  <a:lnTo>
                    <a:pt x="63" y="342"/>
                  </a:lnTo>
                  <a:lnTo>
                    <a:pt x="70" y="326"/>
                  </a:lnTo>
                  <a:lnTo>
                    <a:pt x="76" y="309"/>
                  </a:lnTo>
                  <a:lnTo>
                    <a:pt x="84" y="293"/>
                  </a:lnTo>
                  <a:lnTo>
                    <a:pt x="91" y="277"/>
                  </a:lnTo>
                  <a:lnTo>
                    <a:pt x="100" y="261"/>
                  </a:lnTo>
                  <a:lnTo>
                    <a:pt x="110" y="246"/>
                  </a:lnTo>
                  <a:lnTo>
                    <a:pt x="120" y="232"/>
                  </a:lnTo>
                  <a:lnTo>
                    <a:pt x="130" y="217"/>
                  </a:lnTo>
                  <a:lnTo>
                    <a:pt x="141" y="204"/>
                  </a:lnTo>
                  <a:lnTo>
                    <a:pt x="175" y="220"/>
                  </a:lnTo>
                  <a:lnTo>
                    <a:pt x="208" y="236"/>
                  </a:lnTo>
                  <a:lnTo>
                    <a:pt x="243" y="249"/>
                  </a:lnTo>
                  <a:lnTo>
                    <a:pt x="279" y="261"/>
                  </a:lnTo>
                  <a:lnTo>
                    <a:pt x="273" y="285"/>
                  </a:lnTo>
                  <a:lnTo>
                    <a:pt x="269" y="310"/>
                  </a:lnTo>
                  <a:lnTo>
                    <a:pt x="264" y="335"/>
                  </a:lnTo>
                  <a:lnTo>
                    <a:pt x="260" y="361"/>
                  </a:lnTo>
                  <a:lnTo>
                    <a:pt x="257" y="387"/>
                  </a:lnTo>
                  <a:lnTo>
                    <a:pt x="255" y="414"/>
                  </a:lnTo>
                  <a:lnTo>
                    <a:pt x="253" y="441"/>
                  </a:lnTo>
                  <a:lnTo>
                    <a:pt x="252" y="469"/>
                  </a:lnTo>
                  <a:close/>
                  <a:moveTo>
                    <a:pt x="468" y="293"/>
                  </a:moveTo>
                  <a:lnTo>
                    <a:pt x="468" y="469"/>
                  </a:lnTo>
                  <a:lnTo>
                    <a:pt x="291" y="469"/>
                  </a:lnTo>
                  <a:lnTo>
                    <a:pt x="292" y="442"/>
                  </a:lnTo>
                  <a:lnTo>
                    <a:pt x="295" y="416"/>
                  </a:lnTo>
                  <a:lnTo>
                    <a:pt x="297" y="390"/>
                  </a:lnTo>
                  <a:lnTo>
                    <a:pt x="299" y="365"/>
                  </a:lnTo>
                  <a:lnTo>
                    <a:pt x="303" y="340"/>
                  </a:lnTo>
                  <a:lnTo>
                    <a:pt x="306" y="316"/>
                  </a:lnTo>
                  <a:lnTo>
                    <a:pt x="312" y="294"/>
                  </a:lnTo>
                  <a:lnTo>
                    <a:pt x="317" y="272"/>
                  </a:lnTo>
                  <a:lnTo>
                    <a:pt x="354" y="280"/>
                  </a:lnTo>
                  <a:lnTo>
                    <a:pt x="392" y="286"/>
                  </a:lnTo>
                  <a:lnTo>
                    <a:pt x="430" y="290"/>
                  </a:lnTo>
                  <a:lnTo>
                    <a:pt x="468" y="293"/>
                  </a:lnTo>
                  <a:close/>
                  <a:moveTo>
                    <a:pt x="468" y="42"/>
                  </a:moveTo>
                  <a:lnTo>
                    <a:pt x="468" y="254"/>
                  </a:lnTo>
                  <a:lnTo>
                    <a:pt x="433" y="252"/>
                  </a:lnTo>
                  <a:lnTo>
                    <a:pt x="397" y="247"/>
                  </a:lnTo>
                  <a:lnTo>
                    <a:pt x="362" y="242"/>
                  </a:lnTo>
                  <a:lnTo>
                    <a:pt x="327" y="234"/>
                  </a:lnTo>
                  <a:lnTo>
                    <a:pt x="335" y="215"/>
                  </a:lnTo>
                  <a:lnTo>
                    <a:pt x="341" y="195"/>
                  </a:lnTo>
                  <a:lnTo>
                    <a:pt x="349" y="178"/>
                  </a:lnTo>
                  <a:lnTo>
                    <a:pt x="356" y="161"/>
                  </a:lnTo>
                  <a:lnTo>
                    <a:pt x="365" y="145"/>
                  </a:lnTo>
                  <a:lnTo>
                    <a:pt x="373" y="129"/>
                  </a:lnTo>
                  <a:lnTo>
                    <a:pt x="382" y="115"/>
                  </a:lnTo>
                  <a:lnTo>
                    <a:pt x="391" y="102"/>
                  </a:lnTo>
                  <a:lnTo>
                    <a:pt x="400" y="91"/>
                  </a:lnTo>
                  <a:lnTo>
                    <a:pt x="410" y="80"/>
                  </a:lnTo>
                  <a:lnTo>
                    <a:pt x="419" y="71"/>
                  </a:lnTo>
                  <a:lnTo>
                    <a:pt x="428" y="63"/>
                  </a:lnTo>
                  <a:lnTo>
                    <a:pt x="438" y="56"/>
                  </a:lnTo>
                  <a:lnTo>
                    <a:pt x="449" y="50"/>
                  </a:lnTo>
                  <a:lnTo>
                    <a:pt x="459" y="45"/>
                  </a:lnTo>
                  <a:lnTo>
                    <a:pt x="468" y="42"/>
                  </a:lnTo>
                  <a:close/>
                  <a:moveTo>
                    <a:pt x="507" y="254"/>
                  </a:moveTo>
                  <a:lnTo>
                    <a:pt x="507" y="42"/>
                  </a:lnTo>
                  <a:lnTo>
                    <a:pt x="517" y="45"/>
                  </a:lnTo>
                  <a:lnTo>
                    <a:pt x="527" y="51"/>
                  </a:lnTo>
                  <a:lnTo>
                    <a:pt x="538" y="56"/>
                  </a:lnTo>
                  <a:lnTo>
                    <a:pt x="547" y="64"/>
                  </a:lnTo>
                  <a:lnTo>
                    <a:pt x="556" y="72"/>
                  </a:lnTo>
                  <a:lnTo>
                    <a:pt x="566" y="81"/>
                  </a:lnTo>
                  <a:lnTo>
                    <a:pt x="575" y="92"/>
                  </a:lnTo>
                  <a:lnTo>
                    <a:pt x="584" y="104"/>
                  </a:lnTo>
                  <a:lnTo>
                    <a:pt x="594" y="117"/>
                  </a:lnTo>
                  <a:lnTo>
                    <a:pt x="602" y="131"/>
                  </a:lnTo>
                  <a:lnTo>
                    <a:pt x="611" y="146"/>
                  </a:lnTo>
                  <a:lnTo>
                    <a:pt x="619" y="161"/>
                  </a:lnTo>
                  <a:lnTo>
                    <a:pt x="626" y="178"/>
                  </a:lnTo>
                  <a:lnTo>
                    <a:pt x="634" y="196"/>
                  </a:lnTo>
                  <a:lnTo>
                    <a:pt x="641" y="215"/>
                  </a:lnTo>
                  <a:lnTo>
                    <a:pt x="648" y="234"/>
                  </a:lnTo>
                  <a:lnTo>
                    <a:pt x="613" y="242"/>
                  </a:lnTo>
                  <a:lnTo>
                    <a:pt x="579" y="247"/>
                  </a:lnTo>
                  <a:lnTo>
                    <a:pt x="543" y="252"/>
                  </a:lnTo>
                  <a:lnTo>
                    <a:pt x="507" y="254"/>
                  </a:lnTo>
                  <a:close/>
                  <a:moveTo>
                    <a:pt x="507" y="293"/>
                  </a:moveTo>
                  <a:lnTo>
                    <a:pt x="546" y="290"/>
                  </a:lnTo>
                  <a:lnTo>
                    <a:pt x="584" y="286"/>
                  </a:lnTo>
                  <a:lnTo>
                    <a:pt x="622" y="280"/>
                  </a:lnTo>
                  <a:lnTo>
                    <a:pt x="659" y="272"/>
                  </a:lnTo>
                  <a:lnTo>
                    <a:pt x="663" y="294"/>
                  </a:lnTo>
                  <a:lnTo>
                    <a:pt x="668" y="317"/>
                  </a:lnTo>
                  <a:lnTo>
                    <a:pt x="672" y="340"/>
                  </a:lnTo>
                  <a:lnTo>
                    <a:pt x="676" y="365"/>
                  </a:lnTo>
                  <a:lnTo>
                    <a:pt x="678" y="390"/>
                  </a:lnTo>
                  <a:lnTo>
                    <a:pt x="680" y="416"/>
                  </a:lnTo>
                  <a:lnTo>
                    <a:pt x="682" y="442"/>
                  </a:lnTo>
                  <a:lnTo>
                    <a:pt x="683" y="469"/>
                  </a:lnTo>
                  <a:lnTo>
                    <a:pt x="507" y="469"/>
                  </a:lnTo>
                  <a:lnTo>
                    <a:pt x="507" y="293"/>
                  </a:lnTo>
                  <a:close/>
                  <a:moveTo>
                    <a:pt x="488" y="0"/>
                  </a:moveTo>
                  <a:lnTo>
                    <a:pt x="488" y="0"/>
                  </a:lnTo>
                  <a:lnTo>
                    <a:pt x="488" y="0"/>
                  </a:lnTo>
                  <a:lnTo>
                    <a:pt x="488" y="0"/>
                  </a:lnTo>
                  <a:lnTo>
                    <a:pt x="488" y="0"/>
                  </a:lnTo>
                  <a:lnTo>
                    <a:pt x="487" y="0"/>
                  </a:lnTo>
                  <a:lnTo>
                    <a:pt x="487" y="0"/>
                  </a:lnTo>
                  <a:lnTo>
                    <a:pt x="462" y="1"/>
                  </a:lnTo>
                  <a:lnTo>
                    <a:pt x="437" y="3"/>
                  </a:lnTo>
                  <a:lnTo>
                    <a:pt x="412" y="6"/>
                  </a:lnTo>
                  <a:lnTo>
                    <a:pt x="389" y="11"/>
                  </a:lnTo>
                  <a:lnTo>
                    <a:pt x="365" y="16"/>
                  </a:lnTo>
                  <a:lnTo>
                    <a:pt x="342" y="23"/>
                  </a:lnTo>
                  <a:lnTo>
                    <a:pt x="319" y="30"/>
                  </a:lnTo>
                  <a:lnTo>
                    <a:pt x="298" y="39"/>
                  </a:lnTo>
                  <a:lnTo>
                    <a:pt x="276" y="48"/>
                  </a:lnTo>
                  <a:lnTo>
                    <a:pt x="255" y="59"/>
                  </a:lnTo>
                  <a:lnTo>
                    <a:pt x="234" y="71"/>
                  </a:lnTo>
                  <a:lnTo>
                    <a:pt x="215" y="84"/>
                  </a:lnTo>
                  <a:lnTo>
                    <a:pt x="195" y="97"/>
                  </a:lnTo>
                  <a:lnTo>
                    <a:pt x="177" y="112"/>
                  </a:lnTo>
                  <a:lnTo>
                    <a:pt x="160" y="127"/>
                  </a:lnTo>
                  <a:lnTo>
                    <a:pt x="142" y="144"/>
                  </a:lnTo>
                  <a:lnTo>
                    <a:pt x="126" y="161"/>
                  </a:lnTo>
                  <a:lnTo>
                    <a:pt x="111" y="178"/>
                  </a:lnTo>
                  <a:lnTo>
                    <a:pt x="97" y="196"/>
                  </a:lnTo>
                  <a:lnTo>
                    <a:pt x="83" y="216"/>
                  </a:lnTo>
                  <a:lnTo>
                    <a:pt x="71" y="235"/>
                  </a:lnTo>
                  <a:lnTo>
                    <a:pt x="59" y="256"/>
                  </a:lnTo>
                  <a:lnTo>
                    <a:pt x="48" y="276"/>
                  </a:lnTo>
                  <a:lnTo>
                    <a:pt x="39" y="298"/>
                  </a:lnTo>
                  <a:lnTo>
                    <a:pt x="30" y="321"/>
                  </a:lnTo>
                  <a:lnTo>
                    <a:pt x="22" y="343"/>
                  </a:lnTo>
                  <a:lnTo>
                    <a:pt x="15" y="366"/>
                  </a:lnTo>
                  <a:lnTo>
                    <a:pt x="9" y="390"/>
                  </a:lnTo>
                  <a:lnTo>
                    <a:pt x="6" y="414"/>
                  </a:lnTo>
                  <a:lnTo>
                    <a:pt x="3" y="438"/>
                  </a:lnTo>
                  <a:lnTo>
                    <a:pt x="1" y="463"/>
                  </a:lnTo>
                  <a:lnTo>
                    <a:pt x="0" y="488"/>
                  </a:lnTo>
                  <a:lnTo>
                    <a:pt x="1" y="513"/>
                  </a:lnTo>
                  <a:lnTo>
                    <a:pt x="3" y="538"/>
                  </a:lnTo>
                  <a:lnTo>
                    <a:pt x="6" y="563"/>
                  </a:lnTo>
                  <a:lnTo>
                    <a:pt x="9" y="586"/>
                  </a:lnTo>
                  <a:lnTo>
                    <a:pt x="15" y="610"/>
                  </a:lnTo>
                  <a:lnTo>
                    <a:pt x="22" y="633"/>
                  </a:lnTo>
                  <a:lnTo>
                    <a:pt x="30" y="655"/>
                  </a:lnTo>
                  <a:lnTo>
                    <a:pt x="39" y="678"/>
                  </a:lnTo>
                  <a:lnTo>
                    <a:pt x="48" y="700"/>
                  </a:lnTo>
                  <a:lnTo>
                    <a:pt x="59" y="720"/>
                  </a:lnTo>
                  <a:lnTo>
                    <a:pt x="71" y="741"/>
                  </a:lnTo>
                  <a:lnTo>
                    <a:pt x="83" y="760"/>
                  </a:lnTo>
                  <a:lnTo>
                    <a:pt x="97" y="780"/>
                  </a:lnTo>
                  <a:lnTo>
                    <a:pt x="111" y="798"/>
                  </a:lnTo>
                  <a:lnTo>
                    <a:pt x="126" y="815"/>
                  </a:lnTo>
                  <a:lnTo>
                    <a:pt x="142" y="833"/>
                  </a:lnTo>
                  <a:lnTo>
                    <a:pt x="160" y="849"/>
                  </a:lnTo>
                  <a:lnTo>
                    <a:pt x="177" y="864"/>
                  </a:lnTo>
                  <a:lnTo>
                    <a:pt x="195" y="879"/>
                  </a:lnTo>
                  <a:lnTo>
                    <a:pt x="215" y="892"/>
                  </a:lnTo>
                  <a:lnTo>
                    <a:pt x="234" y="905"/>
                  </a:lnTo>
                  <a:lnTo>
                    <a:pt x="255" y="917"/>
                  </a:lnTo>
                  <a:lnTo>
                    <a:pt x="276" y="928"/>
                  </a:lnTo>
                  <a:lnTo>
                    <a:pt x="298" y="937"/>
                  </a:lnTo>
                  <a:lnTo>
                    <a:pt x="319" y="946"/>
                  </a:lnTo>
                  <a:lnTo>
                    <a:pt x="342" y="954"/>
                  </a:lnTo>
                  <a:lnTo>
                    <a:pt x="365" y="960"/>
                  </a:lnTo>
                  <a:lnTo>
                    <a:pt x="389" y="965"/>
                  </a:lnTo>
                  <a:lnTo>
                    <a:pt x="412" y="970"/>
                  </a:lnTo>
                  <a:lnTo>
                    <a:pt x="437" y="973"/>
                  </a:lnTo>
                  <a:lnTo>
                    <a:pt x="462" y="975"/>
                  </a:lnTo>
                  <a:lnTo>
                    <a:pt x="487" y="976"/>
                  </a:lnTo>
                  <a:lnTo>
                    <a:pt x="487" y="976"/>
                  </a:lnTo>
                  <a:lnTo>
                    <a:pt x="488" y="976"/>
                  </a:lnTo>
                  <a:lnTo>
                    <a:pt x="488" y="976"/>
                  </a:lnTo>
                  <a:lnTo>
                    <a:pt x="488" y="976"/>
                  </a:lnTo>
                  <a:lnTo>
                    <a:pt x="488" y="976"/>
                  </a:lnTo>
                  <a:lnTo>
                    <a:pt x="488" y="976"/>
                  </a:lnTo>
                  <a:lnTo>
                    <a:pt x="513" y="975"/>
                  </a:lnTo>
                  <a:lnTo>
                    <a:pt x="538" y="974"/>
                  </a:lnTo>
                  <a:lnTo>
                    <a:pt x="562" y="971"/>
                  </a:lnTo>
                  <a:lnTo>
                    <a:pt x="586" y="966"/>
                  </a:lnTo>
                  <a:lnTo>
                    <a:pt x="610" y="961"/>
                  </a:lnTo>
                  <a:lnTo>
                    <a:pt x="633" y="955"/>
                  </a:lnTo>
                  <a:lnTo>
                    <a:pt x="655" y="946"/>
                  </a:lnTo>
                  <a:lnTo>
                    <a:pt x="678" y="937"/>
                  </a:lnTo>
                  <a:lnTo>
                    <a:pt x="700" y="928"/>
                  </a:lnTo>
                  <a:lnTo>
                    <a:pt x="720" y="917"/>
                  </a:lnTo>
                  <a:lnTo>
                    <a:pt x="741" y="905"/>
                  </a:lnTo>
                  <a:lnTo>
                    <a:pt x="761" y="893"/>
                  </a:lnTo>
                  <a:lnTo>
                    <a:pt x="780" y="879"/>
                  </a:lnTo>
                  <a:lnTo>
                    <a:pt x="798" y="865"/>
                  </a:lnTo>
                  <a:lnTo>
                    <a:pt x="816" y="849"/>
                  </a:lnTo>
                  <a:lnTo>
                    <a:pt x="834" y="834"/>
                  </a:lnTo>
                  <a:lnTo>
                    <a:pt x="849" y="816"/>
                  </a:lnTo>
                  <a:lnTo>
                    <a:pt x="865" y="798"/>
                  </a:lnTo>
                  <a:lnTo>
                    <a:pt x="879" y="780"/>
                  </a:lnTo>
                  <a:lnTo>
                    <a:pt x="893" y="761"/>
                  </a:lnTo>
                  <a:lnTo>
                    <a:pt x="905" y="741"/>
                  </a:lnTo>
                  <a:lnTo>
                    <a:pt x="917" y="720"/>
                  </a:lnTo>
                  <a:lnTo>
                    <a:pt x="928" y="700"/>
                  </a:lnTo>
                  <a:lnTo>
                    <a:pt x="937" y="678"/>
                  </a:lnTo>
                  <a:lnTo>
                    <a:pt x="946" y="655"/>
                  </a:lnTo>
                  <a:lnTo>
                    <a:pt x="955" y="633"/>
                  </a:lnTo>
                  <a:lnTo>
                    <a:pt x="961" y="610"/>
                  </a:lnTo>
                  <a:lnTo>
                    <a:pt x="966" y="586"/>
                  </a:lnTo>
                  <a:lnTo>
                    <a:pt x="971" y="563"/>
                  </a:lnTo>
                  <a:lnTo>
                    <a:pt x="974" y="538"/>
                  </a:lnTo>
                  <a:lnTo>
                    <a:pt x="975" y="513"/>
                  </a:lnTo>
                  <a:lnTo>
                    <a:pt x="976" y="488"/>
                  </a:lnTo>
                  <a:lnTo>
                    <a:pt x="975" y="463"/>
                  </a:lnTo>
                  <a:lnTo>
                    <a:pt x="974" y="438"/>
                  </a:lnTo>
                  <a:lnTo>
                    <a:pt x="971" y="414"/>
                  </a:lnTo>
                  <a:lnTo>
                    <a:pt x="966" y="390"/>
                  </a:lnTo>
                  <a:lnTo>
                    <a:pt x="961" y="366"/>
                  </a:lnTo>
                  <a:lnTo>
                    <a:pt x="955" y="343"/>
                  </a:lnTo>
                  <a:lnTo>
                    <a:pt x="946" y="321"/>
                  </a:lnTo>
                  <a:lnTo>
                    <a:pt x="937" y="298"/>
                  </a:lnTo>
                  <a:lnTo>
                    <a:pt x="928" y="276"/>
                  </a:lnTo>
                  <a:lnTo>
                    <a:pt x="917" y="256"/>
                  </a:lnTo>
                  <a:lnTo>
                    <a:pt x="905" y="235"/>
                  </a:lnTo>
                  <a:lnTo>
                    <a:pt x="893" y="216"/>
                  </a:lnTo>
                  <a:lnTo>
                    <a:pt x="879" y="196"/>
                  </a:lnTo>
                  <a:lnTo>
                    <a:pt x="865" y="178"/>
                  </a:lnTo>
                  <a:lnTo>
                    <a:pt x="849" y="160"/>
                  </a:lnTo>
                  <a:lnTo>
                    <a:pt x="834" y="144"/>
                  </a:lnTo>
                  <a:lnTo>
                    <a:pt x="816" y="127"/>
                  </a:lnTo>
                  <a:lnTo>
                    <a:pt x="798" y="111"/>
                  </a:lnTo>
                  <a:lnTo>
                    <a:pt x="780" y="97"/>
                  </a:lnTo>
                  <a:lnTo>
                    <a:pt x="761" y="83"/>
                  </a:lnTo>
                  <a:lnTo>
                    <a:pt x="741" y="71"/>
                  </a:lnTo>
                  <a:lnTo>
                    <a:pt x="720" y="59"/>
                  </a:lnTo>
                  <a:lnTo>
                    <a:pt x="700" y="48"/>
                  </a:lnTo>
                  <a:lnTo>
                    <a:pt x="678" y="39"/>
                  </a:lnTo>
                  <a:lnTo>
                    <a:pt x="655" y="30"/>
                  </a:lnTo>
                  <a:lnTo>
                    <a:pt x="633" y="23"/>
                  </a:lnTo>
                  <a:lnTo>
                    <a:pt x="610" y="16"/>
                  </a:lnTo>
                  <a:lnTo>
                    <a:pt x="586" y="11"/>
                  </a:lnTo>
                  <a:lnTo>
                    <a:pt x="562" y="6"/>
                  </a:lnTo>
                  <a:lnTo>
                    <a:pt x="538" y="3"/>
                  </a:lnTo>
                  <a:lnTo>
                    <a:pt x="513" y="1"/>
                  </a:lnTo>
                  <a:lnTo>
                    <a:pt x="48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23" name="Straight Connector 22"/>
          <p:cNvCxnSpPr/>
          <p:nvPr/>
        </p:nvCxnSpPr>
        <p:spPr>
          <a:xfrm>
            <a:off x="4025900" y="3717128"/>
            <a:ext cx="6009398"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025900" y="5095985"/>
            <a:ext cx="6009398"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506898" y="0"/>
            <a:ext cx="3141304" cy="399787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Oval 25"/>
          <p:cNvSpPr/>
          <p:nvPr/>
        </p:nvSpPr>
        <p:spPr>
          <a:xfrm>
            <a:off x="1515040" y="1720301"/>
            <a:ext cx="1926660" cy="1926660"/>
          </a:xfrm>
          <a:prstGeom prst="ellipse">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Freeform 9"/>
          <p:cNvSpPr>
            <a:spLocks noEditPoints="1"/>
          </p:cNvSpPr>
          <p:nvPr/>
        </p:nvSpPr>
        <p:spPr bwMode="auto">
          <a:xfrm flipH="1">
            <a:off x="2111824" y="2280383"/>
            <a:ext cx="768228" cy="769441"/>
          </a:xfrm>
          <a:custGeom>
            <a:avLst/>
            <a:gdLst>
              <a:gd name="T0" fmla="*/ 746 w 1268"/>
              <a:gd name="T1" fmla="*/ 559 h 1270"/>
              <a:gd name="T2" fmla="*/ 711 w 1268"/>
              <a:gd name="T3" fmla="*/ 632 h 1270"/>
              <a:gd name="T4" fmla="*/ 637 w 1268"/>
              <a:gd name="T5" fmla="*/ 596 h 1270"/>
              <a:gd name="T6" fmla="*/ 674 w 1268"/>
              <a:gd name="T7" fmla="*/ 522 h 1270"/>
              <a:gd name="T8" fmla="*/ 825 w 1268"/>
              <a:gd name="T9" fmla="*/ 321 h 1270"/>
              <a:gd name="T10" fmla="*/ 966 w 1268"/>
              <a:gd name="T11" fmla="*/ 486 h 1270"/>
              <a:gd name="T12" fmla="*/ 962 w 1268"/>
              <a:gd name="T13" fmla="*/ 603 h 1270"/>
              <a:gd name="T14" fmla="*/ 923 w 1268"/>
              <a:gd name="T15" fmla="*/ 577 h 1270"/>
              <a:gd name="T16" fmla="*/ 840 w 1268"/>
              <a:gd name="T17" fmla="*/ 401 h 1270"/>
              <a:gd name="T18" fmla="*/ 681 w 1268"/>
              <a:gd name="T19" fmla="*/ 344 h 1270"/>
              <a:gd name="T20" fmla="*/ 671 w 1268"/>
              <a:gd name="T21" fmla="*/ 297 h 1270"/>
              <a:gd name="T22" fmla="*/ 208 w 1268"/>
              <a:gd name="T23" fmla="*/ 71 h 1270"/>
              <a:gd name="T24" fmla="*/ 87 w 1268"/>
              <a:gd name="T25" fmla="*/ 189 h 1270"/>
              <a:gd name="T26" fmla="*/ 68 w 1268"/>
              <a:gd name="T27" fmla="*/ 374 h 1270"/>
              <a:gd name="T28" fmla="*/ 198 w 1268"/>
              <a:gd name="T29" fmla="*/ 607 h 1270"/>
              <a:gd name="T30" fmla="*/ 573 w 1268"/>
              <a:gd name="T31" fmla="*/ 1007 h 1270"/>
              <a:gd name="T32" fmla="*/ 895 w 1268"/>
              <a:gd name="T33" fmla="*/ 1202 h 1270"/>
              <a:gd name="T34" fmla="*/ 1077 w 1268"/>
              <a:gd name="T35" fmla="*/ 1185 h 1270"/>
              <a:gd name="T36" fmla="*/ 1196 w 1268"/>
              <a:gd name="T37" fmla="*/ 1067 h 1270"/>
              <a:gd name="T38" fmla="*/ 1208 w 1268"/>
              <a:gd name="T39" fmla="*/ 999 h 1270"/>
              <a:gd name="T40" fmla="*/ 1199 w 1268"/>
              <a:gd name="T41" fmla="*/ 987 h 1270"/>
              <a:gd name="T42" fmla="*/ 940 w 1268"/>
              <a:gd name="T43" fmla="*/ 785 h 1270"/>
              <a:gd name="T44" fmla="*/ 916 w 1268"/>
              <a:gd name="T45" fmla="*/ 779 h 1270"/>
              <a:gd name="T46" fmla="*/ 822 w 1268"/>
              <a:gd name="T47" fmla="*/ 865 h 1270"/>
              <a:gd name="T48" fmla="*/ 716 w 1268"/>
              <a:gd name="T49" fmla="*/ 876 h 1270"/>
              <a:gd name="T50" fmla="*/ 535 w 1268"/>
              <a:gd name="T51" fmla="*/ 730 h 1270"/>
              <a:gd name="T52" fmla="*/ 388 w 1268"/>
              <a:gd name="T53" fmla="*/ 539 h 1270"/>
              <a:gd name="T54" fmla="*/ 420 w 1268"/>
              <a:gd name="T55" fmla="*/ 425 h 1270"/>
              <a:gd name="T56" fmla="*/ 490 w 1268"/>
              <a:gd name="T57" fmla="*/ 340 h 1270"/>
              <a:gd name="T58" fmla="*/ 476 w 1268"/>
              <a:gd name="T59" fmla="*/ 321 h 1270"/>
              <a:gd name="T60" fmla="*/ 279 w 1268"/>
              <a:gd name="T61" fmla="*/ 67 h 1270"/>
              <a:gd name="T62" fmla="*/ 259 w 1268"/>
              <a:gd name="T63" fmla="*/ 59 h 1270"/>
              <a:gd name="T64" fmla="*/ 945 w 1268"/>
              <a:gd name="T65" fmla="*/ 59 h 1270"/>
              <a:gd name="T66" fmla="*/ 1179 w 1268"/>
              <a:gd name="T67" fmla="*/ 268 h 1270"/>
              <a:gd name="T68" fmla="*/ 1268 w 1268"/>
              <a:gd name="T69" fmla="*/ 577 h 1270"/>
              <a:gd name="T70" fmla="*/ 1229 w 1268"/>
              <a:gd name="T71" fmla="*/ 603 h 1270"/>
              <a:gd name="T72" fmla="*/ 1195 w 1268"/>
              <a:gd name="T73" fmla="*/ 449 h 1270"/>
              <a:gd name="T74" fmla="*/ 1037 w 1268"/>
              <a:gd name="T75" fmla="*/ 190 h 1270"/>
              <a:gd name="T76" fmla="*/ 757 w 1268"/>
              <a:gd name="T77" fmla="*/ 63 h 1270"/>
              <a:gd name="T78" fmla="*/ 664 w 1268"/>
              <a:gd name="T79" fmla="*/ 29 h 1270"/>
              <a:gd name="T80" fmla="*/ 259 w 1268"/>
              <a:gd name="T81" fmla="*/ 0 h 1270"/>
              <a:gd name="T82" fmla="*/ 333 w 1268"/>
              <a:gd name="T83" fmla="*/ 42 h 1270"/>
              <a:gd name="T84" fmla="*/ 546 w 1268"/>
              <a:gd name="T85" fmla="*/ 365 h 1270"/>
              <a:gd name="T86" fmla="*/ 452 w 1268"/>
              <a:gd name="T87" fmla="*/ 478 h 1270"/>
              <a:gd name="T88" fmla="*/ 466 w 1268"/>
              <a:gd name="T89" fmla="*/ 558 h 1270"/>
              <a:gd name="T90" fmla="*/ 711 w 1268"/>
              <a:gd name="T91" fmla="*/ 804 h 1270"/>
              <a:gd name="T92" fmla="*/ 775 w 1268"/>
              <a:gd name="T93" fmla="*/ 825 h 1270"/>
              <a:gd name="T94" fmla="*/ 885 w 1268"/>
              <a:gd name="T95" fmla="*/ 729 h 1270"/>
              <a:gd name="T96" fmla="*/ 983 w 1268"/>
              <a:gd name="T97" fmla="*/ 746 h 1270"/>
              <a:gd name="T98" fmla="*/ 1264 w 1268"/>
              <a:gd name="T99" fmla="*/ 987 h 1270"/>
              <a:gd name="T100" fmla="*/ 1255 w 1268"/>
              <a:gd name="T101" fmla="*/ 1075 h 1270"/>
              <a:gd name="T102" fmla="*/ 1131 w 1268"/>
              <a:gd name="T103" fmla="*/ 1220 h 1270"/>
              <a:gd name="T104" fmla="*/ 920 w 1268"/>
              <a:gd name="T105" fmla="*/ 1266 h 1270"/>
              <a:gd name="T106" fmla="*/ 635 w 1268"/>
              <a:gd name="T107" fmla="*/ 1123 h 1270"/>
              <a:gd name="T108" fmla="*/ 213 w 1268"/>
              <a:gd name="T109" fmla="*/ 728 h 1270"/>
              <a:gd name="T110" fmla="*/ 13 w 1268"/>
              <a:gd name="T111" fmla="*/ 391 h 1270"/>
              <a:gd name="T112" fmla="*/ 28 w 1268"/>
              <a:gd name="T113" fmla="*/ 175 h 1270"/>
              <a:gd name="T114" fmla="*/ 162 w 1268"/>
              <a:gd name="T115" fmla="*/ 29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8" h="1270">
                <a:moveTo>
                  <a:pt x="692" y="520"/>
                </a:moveTo>
                <a:lnTo>
                  <a:pt x="711" y="522"/>
                </a:lnTo>
                <a:lnTo>
                  <a:pt x="726" y="531"/>
                </a:lnTo>
                <a:lnTo>
                  <a:pt x="738" y="543"/>
                </a:lnTo>
                <a:lnTo>
                  <a:pt x="746" y="559"/>
                </a:lnTo>
                <a:lnTo>
                  <a:pt x="750" y="577"/>
                </a:lnTo>
                <a:lnTo>
                  <a:pt x="746" y="596"/>
                </a:lnTo>
                <a:lnTo>
                  <a:pt x="738" y="611"/>
                </a:lnTo>
                <a:lnTo>
                  <a:pt x="726" y="624"/>
                </a:lnTo>
                <a:lnTo>
                  <a:pt x="711" y="632"/>
                </a:lnTo>
                <a:lnTo>
                  <a:pt x="692" y="635"/>
                </a:lnTo>
                <a:lnTo>
                  <a:pt x="674" y="632"/>
                </a:lnTo>
                <a:lnTo>
                  <a:pt x="658" y="624"/>
                </a:lnTo>
                <a:lnTo>
                  <a:pt x="645" y="611"/>
                </a:lnTo>
                <a:lnTo>
                  <a:pt x="637" y="596"/>
                </a:lnTo>
                <a:lnTo>
                  <a:pt x="635" y="577"/>
                </a:lnTo>
                <a:lnTo>
                  <a:pt x="637" y="559"/>
                </a:lnTo>
                <a:lnTo>
                  <a:pt x="645" y="543"/>
                </a:lnTo>
                <a:lnTo>
                  <a:pt x="658" y="531"/>
                </a:lnTo>
                <a:lnTo>
                  <a:pt x="674" y="522"/>
                </a:lnTo>
                <a:lnTo>
                  <a:pt x="692" y="520"/>
                </a:lnTo>
                <a:close/>
                <a:moveTo>
                  <a:pt x="692" y="289"/>
                </a:moveTo>
                <a:lnTo>
                  <a:pt x="738" y="293"/>
                </a:lnTo>
                <a:lnTo>
                  <a:pt x="783" y="304"/>
                </a:lnTo>
                <a:lnTo>
                  <a:pt x="825" y="321"/>
                </a:lnTo>
                <a:lnTo>
                  <a:pt x="863" y="344"/>
                </a:lnTo>
                <a:lnTo>
                  <a:pt x="895" y="373"/>
                </a:lnTo>
                <a:lnTo>
                  <a:pt x="924" y="407"/>
                </a:lnTo>
                <a:lnTo>
                  <a:pt x="948" y="445"/>
                </a:lnTo>
                <a:lnTo>
                  <a:pt x="966" y="486"/>
                </a:lnTo>
                <a:lnTo>
                  <a:pt x="976" y="530"/>
                </a:lnTo>
                <a:lnTo>
                  <a:pt x="980" y="577"/>
                </a:lnTo>
                <a:lnTo>
                  <a:pt x="978" y="589"/>
                </a:lnTo>
                <a:lnTo>
                  <a:pt x="971" y="598"/>
                </a:lnTo>
                <a:lnTo>
                  <a:pt x="962" y="603"/>
                </a:lnTo>
                <a:lnTo>
                  <a:pt x="951" y="606"/>
                </a:lnTo>
                <a:lnTo>
                  <a:pt x="940" y="603"/>
                </a:lnTo>
                <a:lnTo>
                  <a:pt x="931" y="598"/>
                </a:lnTo>
                <a:lnTo>
                  <a:pt x="925" y="589"/>
                </a:lnTo>
                <a:lnTo>
                  <a:pt x="923" y="577"/>
                </a:lnTo>
                <a:lnTo>
                  <a:pt x="919" y="535"/>
                </a:lnTo>
                <a:lnTo>
                  <a:pt x="908" y="497"/>
                </a:lnTo>
                <a:lnTo>
                  <a:pt x="891" y="461"/>
                </a:lnTo>
                <a:lnTo>
                  <a:pt x="868" y="429"/>
                </a:lnTo>
                <a:lnTo>
                  <a:pt x="840" y="401"/>
                </a:lnTo>
                <a:lnTo>
                  <a:pt x="809" y="378"/>
                </a:lnTo>
                <a:lnTo>
                  <a:pt x="772" y="361"/>
                </a:lnTo>
                <a:lnTo>
                  <a:pt x="733" y="351"/>
                </a:lnTo>
                <a:lnTo>
                  <a:pt x="692" y="347"/>
                </a:lnTo>
                <a:lnTo>
                  <a:pt x="681" y="344"/>
                </a:lnTo>
                <a:lnTo>
                  <a:pt x="671" y="338"/>
                </a:lnTo>
                <a:lnTo>
                  <a:pt x="665" y="329"/>
                </a:lnTo>
                <a:lnTo>
                  <a:pt x="664" y="318"/>
                </a:lnTo>
                <a:lnTo>
                  <a:pt x="665" y="306"/>
                </a:lnTo>
                <a:lnTo>
                  <a:pt x="671" y="297"/>
                </a:lnTo>
                <a:lnTo>
                  <a:pt x="681" y="291"/>
                </a:lnTo>
                <a:lnTo>
                  <a:pt x="692" y="289"/>
                </a:lnTo>
                <a:close/>
                <a:moveTo>
                  <a:pt x="259" y="59"/>
                </a:moveTo>
                <a:lnTo>
                  <a:pt x="234" y="62"/>
                </a:lnTo>
                <a:lnTo>
                  <a:pt x="208" y="71"/>
                </a:lnTo>
                <a:lnTo>
                  <a:pt x="181" y="85"/>
                </a:lnTo>
                <a:lnTo>
                  <a:pt x="153" y="105"/>
                </a:lnTo>
                <a:lnTo>
                  <a:pt x="128" y="128"/>
                </a:lnTo>
                <a:lnTo>
                  <a:pt x="105" y="157"/>
                </a:lnTo>
                <a:lnTo>
                  <a:pt x="87" y="189"/>
                </a:lnTo>
                <a:lnTo>
                  <a:pt x="71" y="224"/>
                </a:lnTo>
                <a:lnTo>
                  <a:pt x="60" y="263"/>
                </a:lnTo>
                <a:lnTo>
                  <a:pt x="58" y="304"/>
                </a:lnTo>
                <a:lnTo>
                  <a:pt x="60" y="339"/>
                </a:lnTo>
                <a:lnTo>
                  <a:pt x="68" y="374"/>
                </a:lnTo>
                <a:lnTo>
                  <a:pt x="81" y="408"/>
                </a:lnTo>
                <a:lnTo>
                  <a:pt x="83" y="412"/>
                </a:lnTo>
                <a:lnTo>
                  <a:pt x="85" y="418"/>
                </a:lnTo>
                <a:lnTo>
                  <a:pt x="138" y="514"/>
                </a:lnTo>
                <a:lnTo>
                  <a:pt x="198" y="607"/>
                </a:lnTo>
                <a:lnTo>
                  <a:pt x="262" y="696"/>
                </a:lnTo>
                <a:lnTo>
                  <a:pt x="333" y="782"/>
                </a:lnTo>
                <a:lnTo>
                  <a:pt x="407" y="861"/>
                </a:lnTo>
                <a:lnTo>
                  <a:pt x="488" y="937"/>
                </a:lnTo>
                <a:lnTo>
                  <a:pt x="573" y="1007"/>
                </a:lnTo>
                <a:lnTo>
                  <a:pt x="662" y="1072"/>
                </a:lnTo>
                <a:lnTo>
                  <a:pt x="755" y="1131"/>
                </a:lnTo>
                <a:lnTo>
                  <a:pt x="851" y="1185"/>
                </a:lnTo>
                <a:lnTo>
                  <a:pt x="861" y="1189"/>
                </a:lnTo>
                <a:lnTo>
                  <a:pt x="895" y="1202"/>
                </a:lnTo>
                <a:lnTo>
                  <a:pt x="929" y="1210"/>
                </a:lnTo>
                <a:lnTo>
                  <a:pt x="966" y="1212"/>
                </a:lnTo>
                <a:lnTo>
                  <a:pt x="1005" y="1208"/>
                </a:lnTo>
                <a:lnTo>
                  <a:pt x="1043" y="1199"/>
                </a:lnTo>
                <a:lnTo>
                  <a:pt x="1077" y="1185"/>
                </a:lnTo>
                <a:lnTo>
                  <a:pt x="1110" y="1165"/>
                </a:lnTo>
                <a:lnTo>
                  <a:pt x="1137" y="1143"/>
                </a:lnTo>
                <a:lnTo>
                  <a:pt x="1161" y="1119"/>
                </a:lnTo>
                <a:lnTo>
                  <a:pt x="1182" y="1093"/>
                </a:lnTo>
                <a:lnTo>
                  <a:pt x="1196" y="1067"/>
                </a:lnTo>
                <a:lnTo>
                  <a:pt x="1207" y="1041"/>
                </a:lnTo>
                <a:lnTo>
                  <a:pt x="1211" y="1016"/>
                </a:lnTo>
                <a:lnTo>
                  <a:pt x="1211" y="1009"/>
                </a:lnTo>
                <a:lnTo>
                  <a:pt x="1209" y="1004"/>
                </a:lnTo>
                <a:lnTo>
                  <a:pt x="1208" y="999"/>
                </a:lnTo>
                <a:lnTo>
                  <a:pt x="1205" y="995"/>
                </a:lnTo>
                <a:lnTo>
                  <a:pt x="1204" y="991"/>
                </a:lnTo>
                <a:lnTo>
                  <a:pt x="1201" y="990"/>
                </a:lnTo>
                <a:lnTo>
                  <a:pt x="1200" y="988"/>
                </a:lnTo>
                <a:lnTo>
                  <a:pt x="1199" y="987"/>
                </a:lnTo>
                <a:lnTo>
                  <a:pt x="1196" y="986"/>
                </a:lnTo>
                <a:lnTo>
                  <a:pt x="1191" y="982"/>
                </a:lnTo>
                <a:lnTo>
                  <a:pt x="948" y="792"/>
                </a:lnTo>
                <a:lnTo>
                  <a:pt x="942" y="787"/>
                </a:lnTo>
                <a:lnTo>
                  <a:pt x="940" y="785"/>
                </a:lnTo>
                <a:lnTo>
                  <a:pt x="937" y="783"/>
                </a:lnTo>
                <a:lnTo>
                  <a:pt x="932" y="782"/>
                </a:lnTo>
                <a:lnTo>
                  <a:pt x="928" y="779"/>
                </a:lnTo>
                <a:lnTo>
                  <a:pt x="921" y="779"/>
                </a:lnTo>
                <a:lnTo>
                  <a:pt x="916" y="779"/>
                </a:lnTo>
                <a:lnTo>
                  <a:pt x="912" y="780"/>
                </a:lnTo>
                <a:lnTo>
                  <a:pt x="907" y="783"/>
                </a:lnTo>
                <a:lnTo>
                  <a:pt x="843" y="848"/>
                </a:lnTo>
                <a:lnTo>
                  <a:pt x="839" y="851"/>
                </a:lnTo>
                <a:lnTo>
                  <a:pt x="822" y="865"/>
                </a:lnTo>
                <a:lnTo>
                  <a:pt x="802" y="876"/>
                </a:lnTo>
                <a:lnTo>
                  <a:pt x="781" y="882"/>
                </a:lnTo>
                <a:lnTo>
                  <a:pt x="759" y="885"/>
                </a:lnTo>
                <a:lnTo>
                  <a:pt x="737" y="882"/>
                </a:lnTo>
                <a:lnTo>
                  <a:pt x="716" y="876"/>
                </a:lnTo>
                <a:lnTo>
                  <a:pt x="696" y="865"/>
                </a:lnTo>
                <a:lnTo>
                  <a:pt x="679" y="852"/>
                </a:lnTo>
                <a:lnTo>
                  <a:pt x="677" y="851"/>
                </a:lnTo>
                <a:lnTo>
                  <a:pt x="603" y="793"/>
                </a:lnTo>
                <a:lnTo>
                  <a:pt x="535" y="730"/>
                </a:lnTo>
                <a:lnTo>
                  <a:pt x="474" y="664"/>
                </a:lnTo>
                <a:lnTo>
                  <a:pt x="418" y="593"/>
                </a:lnTo>
                <a:lnTo>
                  <a:pt x="415" y="589"/>
                </a:lnTo>
                <a:lnTo>
                  <a:pt x="398" y="566"/>
                </a:lnTo>
                <a:lnTo>
                  <a:pt x="388" y="539"/>
                </a:lnTo>
                <a:lnTo>
                  <a:pt x="384" y="509"/>
                </a:lnTo>
                <a:lnTo>
                  <a:pt x="386" y="486"/>
                </a:lnTo>
                <a:lnTo>
                  <a:pt x="394" y="463"/>
                </a:lnTo>
                <a:lnTo>
                  <a:pt x="405" y="444"/>
                </a:lnTo>
                <a:lnTo>
                  <a:pt x="420" y="425"/>
                </a:lnTo>
                <a:lnTo>
                  <a:pt x="422" y="424"/>
                </a:lnTo>
                <a:lnTo>
                  <a:pt x="486" y="361"/>
                </a:lnTo>
                <a:lnTo>
                  <a:pt x="488" y="353"/>
                </a:lnTo>
                <a:lnTo>
                  <a:pt x="490" y="347"/>
                </a:lnTo>
                <a:lnTo>
                  <a:pt x="490" y="340"/>
                </a:lnTo>
                <a:lnTo>
                  <a:pt x="488" y="336"/>
                </a:lnTo>
                <a:lnTo>
                  <a:pt x="486" y="331"/>
                </a:lnTo>
                <a:lnTo>
                  <a:pt x="483" y="329"/>
                </a:lnTo>
                <a:lnTo>
                  <a:pt x="482" y="326"/>
                </a:lnTo>
                <a:lnTo>
                  <a:pt x="476" y="321"/>
                </a:lnTo>
                <a:lnTo>
                  <a:pt x="287" y="77"/>
                </a:lnTo>
                <a:lnTo>
                  <a:pt x="283" y="72"/>
                </a:lnTo>
                <a:lnTo>
                  <a:pt x="282" y="69"/>
                </a:lnTo>
                <a:lnTo>
                  <a:pt x="280" y="68"/>
                </a:lnTo>
                <a:lnTo>
                  <a:pt x="279" y="67"/>
                </a:lnTo>
                <a:lnTo>
                  <a:pt x="278" y="64"/>
                </a:lnTo>
                <a:lnTo>
                  <a:pt x="274" y="63"/>
                </a:lnTo>
                <a:lnTo>
                  <a:pt x="270" y="60"/>
                </a:lnTo>
                <a:lnTo>
                  <a:pt x="265" y="59"/>
                </a:lnTo>
                <a:lnTo>
                  <a:pt x="259" y="59"/>
                </a:lnTo>
                <a:close/>
                <a:moveTo>
                  <a:pt x="692" y="0"/>
                </a:moveTo>
                <a:lnTo>
                  <a:pt x="759" y="4"/>
                </a:lnTo>
                <a:lnTo>
                  <a:pt x="825" y="16"/>
                </a:lnTo>
                <a:lnTo>
                  <a:pt x="886" y="34"/>
                </a:lnTo>
                <a:lnTo>
                  <a:pt x="945" y="59"/>
                </a:lnTo>
                <a:lnTo>
                  <a:pt x="1001" y="90"/>
                </a:lnTo>
                <a:lnTo>
                  <a:pt x="1052" y="127"/>
                </a:lnTo>
                <a:lnTo>
                  <a:pt x="1099" y="169"/>
                </a:lnTo>
                <a:lnTo>
                  <a:pt x="1141" y="216"/>
                </a:lnTo>
                <a:lnTo>
                  <a:pt x="1179" y="268"/>
                </a:lnTo>
                <a:lnTo>
                  <a:pt x="1209" y="323"/>
                </a:lnTo>
                <a:lnTo>
                  <a:pt x="1235" y="382"/>
                </a:lnTo>
                <a:lnTo>
                  <a:pt x="1254" y="445"/>
                </a:lnTo>
                <a:lnTo>
                  <a:pt x="1264" y="511"/>
                </a:lnTo>
                <a:lnTo>
                  <a:pt x="1268" y="577"/>
                </a:lnTo>
                <a:lnTo>
                  <a:pt x="1266" y="589"/>
                </a:lnTo>
                <a:lnTo>
                  <a:pt x="1260" y="598"/>
                </a:lnTo>
                <a:lnTo>
                  <a:pt x="1251" y="603"/>
                </a:lnTo>
                <a:lnTo>
                  <a:pt x="1239" y="606"/>
                </a:lnTo>
                <a:lnTo>
                  <a:pt x="1229" y="603"/>
                </a:lnTo>
                <a:lnTo>
                  <a:pt x="1220" y="598"/>
                </a:lnTo>
                <a:lnTo>
                  <a:pt x="1213" y="589"/>
                </a:lnTo>
                <a:lnTo>
                  <a:pt x="1211" y="577"/>
                </a:lnTo>
                <a:lnTo>
                  <a:pt x="1207" y="512"/>
                </a:lnTo>
                <a:lnTo>
                  <a:pt x="1195" y="449"/>
                </a:lnTo>
                <a:lnTo>
                  <a:pt x="1175" y="390"/>
                </a:lnTo>
                <a:lnTo>
                  <a:pt x="1150" y="334"/>
                </a:lnTo>
                <a:lnTo>
                  <a:pt x="1118" y="281"/>
                </a:lnTo>
                <a:lnTo>
                  <a:pt x="1080" y="233"/>
                </a:lnTo>
                <a:lnTo>
                  <a:pt x="1037" y="190"/>
                </a:lnTo>
                <a:lnTo>
                  <a:pt x="988" y="152"/>
                </a:lnTo>
                <a:lnTo>
                  <a:pt x="936" y="119"/>
                </a:lnTo>
                <a:lnTo>
                  <a:pt x="880" y="93"/>
                </a:lnTo>
                <a:lnTo>
                  <a:pt x="819" y="75"/>
                </a:lnTo>
                <a:lnTo>
                  <a:pt x="757" y="63"/>
                </a:lnTo>
                <a:lnTo>
                  <a:pt x="692" y="59"/>
                </a:lnTo>
                <a:lnTo>
                  <a:pt x="681" y="56"/>
                </a:lnTo>
                <a:lnTo>
                  <a:pt x="671" y="50"/>
                </a:lnTo>
                <a:lnTo>
                  <a:pt x="665" y="41"/>
                </a:lnTo>
                <a:lnTo>
                  <a:pt x="664" y="29"/>
                </a:lnTo>
                <a:lnTo>
                  <a:pt x="665" y="18"/>
                </a:lnTo>
                <a:lnTo>
                  <a:pt x="671" y="9"/>
                </a:lnTo>
                <a:lnTo>
                  <a:pt x="681" y="3"/>
                </a:lnTo>
                <a:lnTo>
                  <a:pt x="692" y="0"/>
                </a:lnTo>
                <a:close/>
                <a:moveTo>
                  <a:pt x="259" y="0"/>
                </a:moveTo>
                <a:lnTo>
                  <a:pt x="282" y="4"/>
                </a:lnTo>
                <a:lnTo>
                  <a:pt x="302" y="12"/>
                </a:lnTo>
                <a:lnTo>
                  <a:pt x="321" y="26"/>
                </a:lnTo>
                <a:lnTo>
                  <a:pt x="327" y="33"/>
                </a:lnTo>
                <a:lnTo>
                  <a:pt x="333" y="42"/>
                </a:lnTo>
                <a:lnTo>
                  <a:pt x="522" y="285"/>
                </a:lnTo>
                <a:lnTo>
                  <a:pt x="535" y="302"/>
                </a:lnTo>
                <a:lnTo>
                  <a:pt x="545" y="323"/>
                </a:lnTo>
                <a:lnTo>
                  <a:pt x="547" y="347"/>
                </a:lnTo>
                <a:lnTo>
                  <a:pt x="546" y="365"/>
                </a:lnTo>
                <a:lnTo>
                  <a:pt x="539" y="384"/>
                </a:lnTo>
                <a:lnTo>
                  <a:pt x="530" y="398"/>
                </a:lnTo>
                <a:lnTo>
                  <a:pt x="462" y="466"/>
                </a:lnTo>
                <a:lnTo>
                  <a:pt x="462" y="466"/>
                </a:lnTo>
                <a:lnTo>
                  <a:pt x="452" y="478"/>
                </a:lnTo>
                <a:lnTo>
                  <a:pt x="444" y="494"/>
                </a:lnTo>
                <a:lnTo>
                  <a:pt x="441" y="509"/>
                </a:lnTo>
                <a:lnTo>
                  <a:pt x="445" y="529"/>
                </a:lnTo>
                <a:lnTo>
                  <a:pt x="453" y="545"/>
                </a:lnTo>
                <a:lnTo>
                  <a:pt x="466" y="558"/>
                </a:lnTo>
                <a:lnTo>
                  <a:pt x="465" y="559"/>
                </a:lnTo>
                <a:lnTo>
                  <a:pt x="518" y="627"/>
                </a:lnTo>
                <a:lnTo>
                  <a:pt x="577" y="691"/>
                </a:lnTo>
                <a:lnTo>
                  <a:pt x="641" y="750"/>
                </a:lnTo>
                <a:lnTo>
                  <a:pt x="711" y="804"/>
                </a:lnTo>
                <a:lnTo>
                  <a:pt x="712" y="802"/>
                </a:lnTo>
                <a:lnTo>
                  <a:pt x="724" y="816"/>
                </a:lnTo>
                <a:lnTo>
                  <a:pt x="741" y="823"/>
                </a:lnTo>
                <a:lnTo>
                  <a:pt x="759" y="827"/>
                </a:lnTo>
                <a:lnTo>
                  <a:pt x="775" y="825"/>
                </a:lnTo>
                <a:lnTo>
                  <a:pt x="789" y="818"/>
                </a:lnTo>
                <a:lnTo>
                  <a:pt x="801" y="808"/>
                </a:lnTo>
                <a:lnTo>
                  <a:pt x="802" y="808"/>
                </a:lnTo>
                <a:lnTo>
                  <a:pt x="870" y="738"/>
                </a:lnTo>
                <a:lnTo>
                  <a:pt x="885" y="729"/>
                </a:lnTo>
                <a:lnTo>
                  <a:pt x="903" y="724"/>
                </a:lnTo>
                <a:lnTo>
                  <a:pt x="921" y="721"/>
                </a:lnTo>
                <a:lnTo>
                  <a:pt x="945" y="724"/>
                </a:lnTo>
                <a:lnTo>
                  <a:pt x="966" y="733"/>
                </a:lnTo>
                <a:lnTo>
                  <a:pt x="983" y="746"/>
                </a:lnTo>
                <a:lnTo>
                  <a:pt x="1226" y="936"/>
                </a:lnTo>
                <a:lnTo>
                  <a:pt x="1235" y="943"/>
                </a:lnTo>
                <a:lnTo>
                  <a:pt x="1242" y="948"/>
                </a:lnTo>
                <a:lnTo>
                  <a:pt x="1256" y="966"/>
                </a:lnTo>
                <a:lnTo>
                  <a:pt x="1264" y="987"/>
                </a:lnTo>
                <a:lnTo>
                  <a:pt x="1268" y="1009"/>
                </a:lnTo>
                <a:lnTo>
                  <a:pt x="1268" y="1009"/>
                </a:lnTo>
                <a:lnTo>
                  <a:pt x="1268" y="1011"/>
                </a:lnTo>
                <a:lnTo>
                  <a:pt x="1264" y="1042"/>
                </a:lnTo>
                <a:lnTo>
                  <a:pt x="1255" y="1075"/>
                </a:lnTo>
                <a:lnTo>
                  <a:pt x="1239" y="1107"/>
                </a:lnTo>
                <a:lnTo>
                  <a:pt x="1220" y="1139"/>
                </a:lnTo>
                <a:lnTo>
                  <a:pt x="1194" y="1169"/>
                </a:lnTo>
                <a:lnTo>
                  <a:pt x="1163" y="1197"/>
                </a:lnTo>
                <a:lnTo>
                  <a:pt x="1131" y="1220"/>
                </a:lnTo>
                <a:lnTo>
                  <a:pt x="1093" y="1241"/>
                </a:lnTo>
                <a:lnTo>
                  <a:pt x="1052" y="1257"/>
                </a:lnTo>
                <a:lnTo>
                  <a:pt x="1010" y="1266"/>
                </a:lnTo>
                <a:lnTo>
                  <a:pt x="966" y="1270"/>
                </a:lnTo>
                <a:lnTo>
                  <a:pt x="920" y="1266"/>
                </a:lnTo>
                <a:lnTo>
                  <a:pt x="877" y="1257"/>
                </a:lnTo>
                <a:lnTo>
                  <a:pt x="836" y="1240"/>
                </a:lnTo>
                <a:lnTo>
                  <a:pt x="835" y="1241"/>
                </a:lnTo>
                <a:lnTo>
                  <a:pt x="733" y="1186"/>
                </a:lnTo>
                <a:lnTo>
                  <a:pt x="635" y="1123"/>
                </a:lnTo>
                <a:lnTo>
                  <a:pt x="542" y="1055"/>
                </a:lnTo>
                <a:lnTo>
                  <a:pt x="452" y="982"/>
                </a:lnTo>
                <a:lnTo>
                  <a:pt x="367" y="902"/>
                </a:lnTo>
                <a:lnTo>
                  <a:pt x="288" y="817"/>
                </a:lnTo>
                <a:lnTo>
                  <a:pt x="213" y="728"/>
                </a:lnTo>
                <a:lnTo>
                  <a:pt x="145" y="634"/>
                </a:lnTo>
                <a:lnTo>
                  <a:pt x="84" y="535"/>
                </a:lnTo>
                <a:lnTo>
                  <a:pt x="28" y="433"/>
                </a:lnTo>
                <a:lnTo>
                  <a:pt x="29" y="433"/>
                </a:lnTo>
                <a:lnTo>
                  <a:pt x="13" y="391"/>
                </a:lnTo>
                <a:lnTo>
                  <a:pt x="3" y="348"/>
                </a:lnTo>
                <a:lnTo>
                  <a:pt x="0" y="304"/>
                </a:lnTo>
                <a:lnTo>
                  <a:pt x="3" y="259"/>
                </a:lnTo>
                <a:lnTo>
                  <a:pt x="13" y="216"/>
                </a:lnTo>
                <a:lnTo>
                  <a:pt x="28" y="175"/>
                </a:lnTo>
                <a:lnTo>
                  <a:pt x="49" y="139"/>
                </a:lnTo>
                <a:lnTo>
                  <a:pt x="72" y="105"/>
                </a:lnTo>
                <a:lnTo>
                  <a:pt x="100" y="75"/>
                </a:lnTo>
                <a:lnTo>
                  <a:pt x="130" y="50"/>
                </a:lnTo>
                <a:lnTo>
                  <a:pt x="162" y="29"/>
                </a:lnTo>
                <a:lnTo>
                  <a:pt x="194" y="13"/>
                </a:lnTo>
                <a:lnTo>
                  <a:pt x="227" y="4"/>
                </a:lnTo>
                <a:lnTo>
                  <a:pt x="259" y="0"/>
                </a:lnTo>
                <a:close/>
              </a:path>
            </a:pathLst>
          </a:custGeom>
          <a:solidFill>
            <a:srgbClr val="0167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045703412"/>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38"/>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t="22430" b="22430"/>
          <a:stretch>
            <a:fillRect/>
          </a:stretch>
        </p:blipFill>
        <p:spPr/>
      </p:pic>
      <p:pic>
        <p:nvPicPr>
          <p:cNvPr id="38" name="Picture Placeholder 37"/>
          <p:cNvPicPr>
            <a:picLocks noGrp="1" noChangeAspect="1"/>
          </p:cNvPicPr>
          <p:nvPr>
            <p:ph type="pic" sz="quarter" idx="14"/>
          </p:nvPr>
        </p:nvPicPr>
        <p:blipFill>
          <a:blip r:embed="rId4" cstate="print">
            <a:extLst>
              <a:ext uri="{28A0092B-C50C-407E-A947-70E740481C1C}">
                <a14:useLocalDpi xmlns:a14="http://schemas.microsoft.com/office/drawing/2010/main" val="0"/>
              </a:ext>
            </a:extLst>
          </a:blip>
          <a:srcRect l="32211" r="32211"/>
          <a:stretch>
            <a:fillRect/>
          </a:stretch>
        </p:blipFill>
        <p:spPr/>
      </p:pic>
      <p:sp>
        <p:nvSpPr>
          <p:cNvPr id="9" name="Title 11"/>
          <p:cNvSpPr txBox="1">
            <a:spLocks/>
          </p:cNvSpPr>
          <p:nvPr/>
        </p:nvSpPr>
        <p:spPr>
          <a:xfrm>
            <a:off x="3872715" y="966422"/>
            <a:ext cx="3435161" cy="192764"/>
          </a:xfrm>
          <a:prstGeom prst="rect">
            <a:avLst/>
          </a:prstGeom>
        </p:spPr>
        <p:txBody>
          <a:bodyPr vert="horz"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dirty="0">
                <a:solidFill>
                  <a:schemeClr val="tx1">
                    <a:lumMod val="85000"/>
                    <a:lumOff val="15000"/>
                  </a:schemeClr>
                </a:solidFill>
                <a:latin typeface="Montserrat" panose="00000500000000000000" pitchFamily="50" charset="0"/>
                <a:ea typeface="Roboto" panose="02000000000000000000" pitchFamily="2" charset="0"/>
                <a:cs typeface="Open Sans Light" panose="020B0306030504020204" pitchFamily="34" charset="0"/>
              </a:rPr>
              <a:t>Insert Your Creative Idea </a:t>
            </a:r>
          </a:p>
        </p:txBody>
      </p:sp>
      <p:sp>
        <p:nvSpPr>
          <p:cNvPr id="10" name="Rectangle 9"/>
          <p:cNvSpPr/>
          <p:nvPr/>
        </p:nvSpPr>
        <p:spPr>
          <a:xfrm>
            <a:off x="3839317" y="2353000"/>
            <a:ext cx="1796135" cy="769441"/>
          </a:xfrm>
          <a:prstGeom prst="rect">
            <a:avLst/>
          </a:prstGeom>
        </p:spPr>
        <p:txBody>
          <a:bodyPr wrap="square">
            <a:spAutoFit/>
          </a:bodyPr>
          <a:lstStyle/>
          <a:p>
            <a:pPr>
              <a:spcBef>
                <a:spcPts val="600"/>
              </a:spcBef>
              <a:buClr>
                <a:srgbClr val="E24848"/>
              </a:buClr>
              <a:defRPr/>
            </a:pPr>
            <a:r>
              <a:rPr lang="en-US" sz="1100" noProof="1">
                <a:solidFill>
                  <a:schemeClr val="tx1">
                    <a:lumMod val="50000"/>
                    <a:lumOff val="50000"/>
                  </a:schemeClr>
                </a:solidFill>
                <a:latin typeface="Montserrat" panose="00000500000000000000" pitchFamily="50" charset="0"/>
                <a:ea typeface="Open Sans Light" panose="020B0306030504020204" pitchFamily="34" charset="0"/>
                <a:cs typeface="Open Sans Light" panose="020B0306030504020204" pitchFamily="34" charset="0"/>
              </a:rPr>
              <a:t>Lorem ipsum dolor sit amet, consectetur adipiscing elit. Nulla imperdiet volutpat dui</a:t>
            </a:r>
          </a:p>
        </p:txBody>
      </p:sp>
      <p:sp>
        <p:nvSpPr>
          <p:cNvPr id="11" name="Rectangle 10"/>
          <p:cNvSpPr/>
          <p:nvPr/>
        </p:nvSpPr>
        <p:spPr>
          <a:xfrm>
            <a:off x="3839317" y="1988701"/>
            <a:ext cx="1696361" cy="363099"/>
          </a:xfrm>
          <a:prstGeom prst="rect">
            <a:avLst/>
          </a:prstGeom>
        </p:spPr>
        <p:txBody>
          <a:bodyPr vert="horz" lIns="91440" tIns="45720" rIns="91440" bIns="45720" rtlCol="0" anchor="ctr">
            <a:noAutofit/>
          </a:bodyPr>
          <a:lstStyle/>
          <a:p>
            <a:pPr>
              <a:spcBef>
                <a:spcPct val="0"/>
              </a:spcBef>
            </a:pPr>
            <a:r>
              <a:rPr lang="en-US" sz="1600" b="1" noProof="1">
                <a:solidFill>
                  <a:schemeClr val="tx1">
                    <a:lumMod val="85000"/>
                    <a:lumOff val="15000"/>
                  </a:schemeClr>
                </a:solidFill>
                <a:latin typeface="Montserrat" panose="00000500000000000000" pitchFamily="50" charset="0"/>
                <a:ea typeface="Open Sans" panose="020B0606030504020204" pitchFamily="34" charset="0"/>
                <a:cs typeface="Open Sans" panose="020B0606030504020204" pitchFamily="34" charset="0"/>
              </a:rPr>
              <a:t>Lorem </a:t>
            </a:r>
            <a:r>
              <a:rPr lang="en-US" sz="1600" noProof="1">
                <a:solidFill>
                  <a:schemeClr val="tx1">
                    <a:lumMod val="85000"/>
                    <a:lumOff val="15000"/>
                  </a:schemeClr>
                </a:solidFill>
                <a:latin typeface="Montserrat" panose="00000500000000000000" pitchFamily="50" charset="0"/>
                <a:ea typeface="Open Sans" panose="020B0606030504020204" pitchFamily="34" charset="0"/>
                <a:cs typeface="Open Sans" panose="020B0606030504020204" pitchFamily="34" charset="0"/>
              </a:rPr>
              <a:t>Ipsum</a:t>
            </a:r>
          </a:p>
        </p:txBody>
      </p:sp>
      <p:sp>
        <p:nvSpPr>
          <p:cNvPr id="12" name="Rectangle 11"/>
          <p:cNvSpPr/>
          <p:nvPr/>
        </p:nvSpPr>
        <p:spPr>
          <a:xfrm>
            <a:off x="3839317" y="3791885"/>
            <a:ext cx="1796135" cy="769441"/>
          </a:xfrm>
          <a:prstGeom prst="rect">
            <a:avLst/>
          </a:prstGeom>
        </p:spPr>
        <p:txBody>
          <a:bodyPr wrap="square">
            <a:spAutoFit/>
          </a:bodyPr>
          <a:lstStyle/>
          <a:p>
            <a:pPr>
              <a:spcBef>
                <a:spcPts val="600"/>
              </a:spcBef>
              <a:buClr>
                <a:srgbClr val="E24848"/>
              </a:buClr>
              <a:defRPr/>
            </a:pPr>
            <a:r>
              <a:rPr lang="en-US" sz="1100" noProof="1">
                <a:solidFill>
                  <a:schemeClr val="tx1">
                    <a:lumMod val="50000"/>
                    <a:lumOff val="50000"/>
                  </a:schemeClr>
                </a:solidFill>
                <a:latin typeface="Montserrat" panose="00000500000000000000" pitchFamily="50" charset="0"/>
                <a:ea typeface="Open Sans Light" panose="020B0306030504020204" pitchFamily="34" charset="0"/>
                <a:cs typeface="Open Sans Light" panose="020B0306030504020204" pitchFamily="34" charset="0"/>
              </a:rPr>
              <a:t>Lorem ipsum dolor sit amet, consectetur adipiscing elit. Nulla imperdiet volutpat dui</a:t>
            </a:r>
          </a:p>
        </p:txBody>
      </p:sp>
      <p:sp>
        <p:nvSpPr>
          <p:cNvPr id="13" name="Rectangle 12"/>
          <p:cNvSpPr/>
          <p:nvPr/>
        </p:nvSpPr>
        <p:spPr>
          <a:xfrm>
            <a:off x="3839317" y="3427586"/>
            <a:ext cx="1696361" cy="363099"/>
          </a:xfrm>
          <a:prstGeom prst="rect">
            <a:avLst/>
          </a:prstGeom>
        </p:spPr>
        <p:txBody>
          <a:bodyPr vert="horz" lIns="91440" tIns="45720" rIns="91440" bIns="45720" rtlCol="0" anchor="ctr">
            <a:noAutofit/>
          </a:bodyPr>
          <a:lstStyle/>
          <a:p>
            <a:pPr>
              <a:spcBef>
                <a:spcPct val="0"/>
              </a:spcBef>
            </a:pPr>
            <a:r>
              <a:rPr lang="en-US" sz="1600" b="1" noProof="1">
                <a:solidFill>
                  <a:schemeClr val="tx1">
                    <a:lumMod val="85000"/>
                    <a:lumOff val="15000"/>
                  </a:schemeClr>
                </a:solidFill>
                <a:latin typeface="Montserrat" panose="00000500000000000000" pitchFamily="50" charset="0"/>
                <a:ea typeface="Open Sans" panose="020B0606030504020204" pitchFamily="34" charset="0"/>
                <a:cs typeface="Open Sans" panose="020B0606030504020204" pitchFamily="34" charset="0"/>
              </a:rPr>
              <a:t>Lorem </a:t>
            </a:r>
            <a:r>
              <a:rPr lang="en-US" sz="1600" noProof="1">
                <a:solidFill>
                  <a:schemeClr val="tx1">
                    <a:lumMod val="85000"/>
                    <a:lumOff val="15000"/>
                  </a:schemeClr>
                </a:solidFill>
                <a:latin typeface="Montserrat" panose="00000500000000000000" pitchFamily="50" charset="0"/>
                <a:ea typeface="Open Sans" panose="020B0606030504020204" pitchFamily="34" charset="0"/>
                <a:cs typeface="Open Sans" panose="020B0606030504020204" pitchFamily="34" charset="0"/>
              </a:rPr>
              <a:t>Ipsum</a:t>
            </a:r>
          </a:p>
        </p:txBody>
      </p:sp>
      <p:sp>
        <p:nvSpPr>
          <p:cNvPr id="14" name="Rectangle 13"/>
          <p:cNvSpPr/>
          <p:nvPr/>
        </p:nvSpPr>
        <p:spPr>
          <a:xfrm>
            <a:off x="3839317" y="5179980"/>
            <a:ext cx="1796135" cy="769441"/>
          </a:xfrm>
          <a:prstGeom prst="rect">
            <a:avLst/>
          </a:prstGeom>
        </p:spPr>
        <p:txBody>
          <a:bodyPr wrap="square">
            <a:spAutoFit/>
          </a:bodyPr>
          <a:lstStyle/>
          <a:p>
            <a:pPr>
              <a:spcBef>
                <a:spcPts val="600"/>
              </a:spcBef>
              <a:buClr>
                <a:srgbClr val="E24848"/>
              </a:buClr>
              <a:defRPr/>
            </a:pPr>
            <a:r>
              <a:rPr lang="en-US" sz="1100" noProof="1">
                <a:solidFill>
                  <a:schemeClr val="tx1">
                    <a:lumMod val="50000"/>
                    <a:lumOff val="50000"/>
                  </a:schemeClr>
                </a:solidFill>
                <a:latin typeface="Montserrat" panose="00000500000000000000" pitchFamily="50" charset="0"/>
                <a:ea typeface="Open Sans Light" panose="020B0306030504020204" pitchFamily="34" charset="0"/>
                <a:cs typeface="Open Sans Light" panose="020B0306030504020204" pitchFamily="34" charset="0"/>
              </a:rPr>
              <a:t>Lorem ipsum dolor sit amet, consectetur adipiscing elit. Nulla imperdiet volutpat dui</a:t>
            </a:r>
          </a:p>
        </p:txBody>
      </p:sp>
      <p:sp>
        <p:nvSpPr>
          <p:cNvPr id="15" name="Rectangle 14"/>
          <p:cNvSpPr/>
          <p:nvPr/>
        </p:nvSpPr>
        <p:spPr>
          <a:xfrm>
            <a:off x="3839317" y="4815681"/>
            <a:ext cx="1696361" cy="363099"/>
          </a:xfrm>
          <a:prstGeom prst="rect">
            <a:avLst/>
          </a:prstGeom>
        </p:spPr>
        <p:txBody>
          <a:bodyPr vert="horz" lIns="91440" tIns="45720" rIns="91440" bIns="45720" rtlCol="0" anchor="ctr">
            <a:noAutofit/>
          </a:bodyPr>
          <a:lstStyle/>
          <a:p>
            <a:pPr>
              <a:spcBef>
                <a:spcPct val="0"/>
              </a:spcBef>
            </a:pPr>
            <a:r>
              <a:rPr lang="en-US" sz="1600" b="1" noProof="1">
                <a:solidFill>
                  <a:schemeClr val="tx1">
                    <a:lumMod val="85000"/>
                    <a:lumOff val="15000"/>
                  </a:schemeClr>
                </a:solidFill>
                <a:latin typeface="Montserrat" panose="00000500000000000000" pitchFamily="50" charset="0"/>
                <a:ea typeface="Open Sans" panose="020B0606030504020204" pitchFamily="34" charset="0"/>
                <a:cs typeface="Open Sans" panose="020B0606030504020204" pitchFamily="34" charset="0"/>
              </a:rPr>
              <a:t>Lorem </a:t>
            </a:r>
            <a:r>
              <a:rPr lang="en-US" sz="1600" noProof="1">
                <a:solidFill>
                  <a:schemeClr val="tx1">
                    <a:lumMod val="85000"/>
                    <a:lumOff val="15000"/>
                  </a:schemeClr>
                </a:solidFill>
                <a:latin typeface="Montserrat" panose="00000500000000000000" pitchFamily="50" charset="0"/>
                <a:ea typeface="Open Sans" panose="020B0606030504020204" pitchFamily="34" charset="0"/>
                <a:cs typeface="Open Sans" panose="020B0606030504020204" pitchFamily="34" charset="0"/>
              </a:rPr>
              <a:t>Ipsum</a:t>
            </a:r>
          </a:p>
        </p:txBody>
      </p:sp>
      <p:sp>
        <p:nvSpPr>
          <p:cNvPr id="16" name="Oval 15"/>
          <p:cNvSpPr/>
          <p:nvPr/>
        </p:nvSpPr>
        <p:spPr>
          <a:xfrm>
            <a:off x="2573099" y="2052291"/>
            <a:ext cx="763339" cy="763335"/>
          </a:xfrm>
          <a:prstGeom prst="ellipse">
            <a:avLst/>
          </a:prstGeom>
          <a:solidFill>
            <a:schemeClr val="bg1"/>
          </a:solidFill>
          <a:ln w="28575">
            <a:solidFill>
              <a:srgbClr val="0167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endParaRPr>
          </a:p>
        </p:txBody>
      </p:sp>
      <p:sp>
        <p:nvSpPr>
          <p:cNvPr id="17" name="Oval 16"/>
          <p:cNvSpPr/>
          <p:nvPr/>
        </p:nvSpPr>
        <p:spPr>
          <a:xfrm>
            <a:off x="2675527" y="3467944"/>
            <a:ext cx="763339" cy="763335"/>
          </a:xfrm>
          <a:prstGeom prst="ellipse">
            <a:avLst/>
          </a:prstGeom>
          <a:solidFill>
            <a:schemeClr val="bg1"/>
          </a:solidFill>
          <a:ln w="28575">
            <a:solidFill>
              <a:srgbClr val="0167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endParaRPr>
          </a:p>
        </p:txBody>
      </p:sp>
      <p:sp>
        <p:nvSpPr>
          <p:cNvPr id="18" name="Oval 17"/>
          <p:cNvSpPr/>
          <p:nvPr/>
        </p:nvSpPr>
        <p:spPr>
          <a:xfrm>
            <a:off x="2361884" y="4815681"/>
            <a:ext cx="763339" cy="763335"/>
          </a:xfrm>
          <a:prstGeom prst="ellipse">
            <a:avLst/>
          </a:prstGeom>
          <a:solidFill>
            <a:schemeClr val="bg1"/>
          </a:solidFill>
          <a:ln w="28575">
            <a:solidFill>
              <a:srgbClr val="0167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endParaRPr>
          </a:p>
        </p:txBody>
      </p:sp>
      <p:grpSp>
        <p:nvGrpSpPr>
          <p:cNvPr id="19" name="Group 18"/>
          <p:cNvGrpSpPr/>
          <p:nvPr/>
        </p:nvGrpSpPr>
        <p:grpSpPr>
          <a:xfrm>
            <a:off x="2852298" y="2317791"/>
            <a:ext cx="194630" cy="232333"/>
            <a:chOff x="1133476" y="4130676"/>
            <a:chExt cx="303213" cy="361950"/>
          </a:xfrm>
          <a:solidFill>
            <a:schemeClr val="tx1">
              <a:lumMod val="85000"/>
              <a:lumOff val="15000"/>
            </a:schemeClr>
          </a:solidFill>
        </p:grpSpPr>
        <p:sp>
          <p:nvSpPr>
            <p:cNvPr id="20" name="Freeform 19"/>
            <p:cNvSpPr>
              <a:spLocks/>
            </p:cNvSpPr>
            <p:nvPr/>
          </p:nvSpPr>
          <p:spPr bwMode="auto">
            <a:xfrm>
              <a:off x="1222376" y="4130676"/>
              <a:ext cx="114300" cy="11113"/>
            </a:xfrm>
            <a:custGeom>
              <a:avLst/>
              <a:gdLst>
                <a:gd name="T0" fmla="*/ 68 w 72"/>
                <a:gd name="T1" fmla="*/ 7 h 7"/>
                <a:gd name="T2" fmla="*/ 68 w 72"/>
                <a:gd name="T3" fmla="*/ 7 h 7"/>
                <a:gd name="T4" fmla="*/ 70 w 72"/>
                <a:gd name="T5" fmla="*/ 6 h 7"/>
                <a:gd name="T6" fmla="*/ 72 w 72"/>
                <a:gd name="T7" fmla="*/ 4 h 7"/>
                <a:gd name="T8" fmla="*/ 72 w 72"/>
                <a:gd name="T9" fmla="*/ 4 h 7"/>
                <a:gd name="T10" fmla="*/ 70 w 72"/>
                <a:gd name="T11" fmla="*/ 1 h 7"/>
                <a:gd name="T12" fmla="*/ 68 w 72"/>
                <a:gd name="T13" fmla="*/ 0 h 7"/>
                <a:gd name="T14" fmla="*/ 4 w 72"/>
                <a:gd name="T15" fmla="*/ 0 h 7"/>
                <a:gd name="T16" fmla="*/ 4 w 72"/>
                <a:gd name="T17" fmla="*/ 0 h 7"/>
                <a:gd name="T18" fmla="*/ 1 w 72"/>
                <a:gd name="T19" fmla="*/ 1 h 7"/>
                <a:gd name="T20" fmla="*/ 0 w 72"/>
                <a:gd name="T21" fmla="*/ 4 h 7"/>
                <a:gd name="T22" fmla="*/ 0 w 72"/>
                <a:gd name="T23" fmla="*/ 4 h 7"/>
                <a:gd name="T24" fmla="*/ 1 w 72"/>
                <a:gd name="T25" fmla="*/ 6 h 7"/>
                <a:gd name="T26" fmla="*/ 4 w 72"/>
                <a:gd name="T27" fmla="*/ 7 h 7"/>
                <a:gd name="T28" fmla="*/ 68 w 72"/>
                <a:gd name="T2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7">
                  <a:moveTo>
                    <a:pt x="68" y="7"/>
                  </a:moveTo>
                  <a:lnTo>
                    <a:pt x="68" y="7"/>
                  </a:lnTo>
                  <a:lnTo>
                    <a:pt x="70" y="6"/>
                  </a:lnTo>
                  <a:lnTo>
                    <a:pt x="72" y="4"/>
                  </a:lnTo>
                  <a:lnTo>
                    <a:pt x="72" y="4"/>
                  </a:lnTo>
                  <a:lnTo>
                    <a:pt x="70" y="1"/>
                  </a:lnTo>
                  <a:lnTo>
                    <a:pt x="68" y="0"/>
                  </a:lnTo>
                  <a:lnTo>
                    <a:pt x="4" y="0"/>
                  </a:lnTo>
                  <a:lnTo>
                    <a:pt x="4" y="0"/>
                  </a:lnTo>
                  <a:lnTo>
                    <a:pt x="1" y="1"/>
                  </a:lnTo>
                  <a:lnTo>
                    <a:pt x="0" y="4"/>
                  </a:lnTo>
                  <a:lnTo>
                    <a:pt x="0" y="4"/>
                  </a:lnTo>
                  <a:lnTo>
                    <a:pt x="1" y="6"/>
                  </a:lnTo>
                  <a:lnTo>
                    <a:pt x="4" y="7"/>
                  </a:lnTo>
                  <a:lnTo>
                    <a:pt x="6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1" name="Freeform 17"/>
            <p:cNvSpPr>
              <a:spLocks noEditPoints="1"/>
            </p:cNvSpPr>
            <p:nvPr/>
          </p:nvSpPr>
          <p:spPr bwMode="auto">
            <a:xfrm>
              <a:off x="1133476" y="4152901"/>
              <a:ext cx="303213" cy="339725"/>
            </a:xfrm>
            <a:custGeom>
              <a:avLst/>
              <a:gdLst>
                <a:gd name="T0" fmla="*/ 6 w 191"/>
                <a:gd name="T1" fmla="*/ 184 h 214"/>
                <a:gd name="T2" fmla="*/ 0 w 191"/>
                <a:gd name="T3" fmla="*/ 197 h 214"/>
                <a:gd name="T4" fmla="*/ 1 w 191"/>
                <a:gd name="T5" fmla="*/ 205 h 214"/>
                <a:gd name="T6" fmla="*/ 4 w 191"/>
                <a:gd name="T7" fmla="*/ 208 h 214"/>
                <a:gd name="T8" fmla="*/ 14 w 191"/>
                <a:gd name="T9" fmla="*/ 214 h 214"/>
                <a:gd name="T10" fmla="*/ 167 w 191"/>
                <a:gd name="T11" fmla="*/ 214 h 214"/>
                <a:gd name="T12" fmla="*/ 177 w 191"/>
                <a:gd name="T13" fmla="*/ 214 h 214"/>
                <a:gd name="T14" fmla="*/ 187 w 191"/>
                <a:gd name="T15" fmla="*/ 208 h 214"/>
                <a:gd name="T16" fmla="*/ 190 w 191"/>
                <a:gd name="T17" fmla="*/ 205 h 214"/>
                <a:gd name="T18" fmla="*/ 191 w 191"/>
                <a:gd name="T19" fmla="*/ 197 h 214"/>
                <a:gd name="T20" fmla="*/ 185 w 191"/>
                <a:gd name="T21" fmla="*/ 184 h 214"/>
                <a:gd name="T22" fmla="*/ 139 w 191"/>
                <a:gd name="T23" fmla="*/ 111 h 214"/>
                <a:gd name="T24" fmla="*/ 136 w 191"/>
                <a:gd name="T25" fmla="*/ 104 h 214"/>
                <a:gd name="T26" fmla="*/ 125 w 191"/>
                <a:gd name="T27" fmla="*/ 82 h 214"/>
                <a:gd name="T28" fmla="*/ 121 w 191"/>
                <a:gd name="T29" fmla="*/ 65 h 214"/>
                <a:gd name="T30" fmla="*/ 121 w 191"/>
                <a:gd name="T31" fmla="*/ 4 h 214"/>
                <a:gd name="T32" fmla="*/ 119 w 191"/>
                <a:gd name="T33" fmla="*/ 1 h 214"/>
                <a:gd name="T34" fmla="*/ 67 w 191"/>
                <a:gd name="T35" fmla="*/ 0 h 214"/>
                <a:gd name="T36" fmla="*/ 64 w 191"/>
                <a:gd name="T37" fmla="*/ 1 h 214"/>
                <a:gd name="T38" fmla="*/ 63 w 191"/>
                <a:gd name="T39" fmla="*/ 55 h 214"/>
                <a:gd name="T40" fmla="*/ 62 w 191"/>
                <a:gd name="T41" fmla="*/ 66 h 214"/>
                <a:gd name="T42" fmla="*/ 54 w 191"/>
                <a:gd name="T43" fmla="*/ 94 h 214"/>
                <a:gd name="T44" fmla="*/ 46 w 191"/>
                <a:gd name="T45" fmla="*/ 113 h 214"/>
                <a:gd name="T46" fmla="*/ 184 w 191"/>
                <a:gd name="T47" fmla="*/ 202 h 214"/>
                <a:gd name="T48" fmla="*/ 181 w 191"/>
                <a:gd name="T49" fmla="*/ 205 h 214"/>
                <a:gd name="T50" fmla="*/ 173 w 191"/>
                <a:gd name="T51" fmla="*/ 207 h 214"/>
                <a:gd name="T52" fmla="*/ 24 w 191"/>
                <a:gd name="T53" fmla="*/ 207 h 214"/>
                <a:gd name="T54" fmla="*/ 18 w 191"/>
                <a:gd name="T55" fmla="*/ 207 h 214"/>
                <a:gd name="T56" fmla="*/ 10 w 191"/>
                <a:gd name="T57" fmla="*/ 205 h 214"/>
                <a:gd name="T58" fmla="*/ 7 w 191"/>
                <a:gd name="T59" fmla="*/ 202 h 214"/>
                <a:gd name="T60" fmla="*/ 7 w 191"/>
                <a:gd name="T61" fmla="*/ 195 h 214"/>
                <a:gd name="T62" fmla="*/ 12 w 191"/>
                <a:gd name="T63" fmla="*/ 187 h 214"/>
                <a:gd name="T64" fmla="*/ 48 w 191"/>
                <a:gd name="T65" fmla="*/ 123 h 214"/>
                <a:gd name="T66" fmla="*/ 53 w 191"/>
                <a:gd name="T67" fmla="*/ 127 h 214"/>
                <a:gd name="T68" fmla="*/ 66 w 191"/>
                <a:gd name="T69" fmla="*/ 130 h 214"/>
                <a:gd name="T70" fmla="*/ 75 w 191"/>
                <a:gd name="T71" fmla="*/ 131 h 214"/>
                <a:gd name="T72" fmla="*/ 90 w 191"/>
                <a:gd name="T73" fmla="*/ 129 h 214"/>
                <a:gd name="T74" fmla="*/ 101 w 191"/>
                <a:gd name="T75" fmla="*/ 123 h 214"/>
                <a:gd name="T76" fmla="*/ 110 w 191"/>
                <a:gd name="T77" fmla="*/ 118 h 214"/>
                <a:gd name="T78" fmla="*/ 124 w 191"/>
                <a:gd name="T79" fmla="*/ 117 h 214"/>
                <a:gd name="T80" fmla="*/ 130 w 191"/>
                <a:gd name="T81" fmla="*/ 117 h 214"/>
                <a:gd name="T82" fmla="*/ 179 w 191"/>
                <a:gd name="T83" fmla="*/ 187 h 214"/>
                <a:gd name="T84" fmla="*/ 181 w 191"/>
                <a:gd name="T85" fmla="*/ 192 h 214"/>
                <a:gd name="T86" fmla="*/ 184 w 191"/>
                <a:gd name="T87" fmla="*/ 199 h 214"/>
                <a:gd name="T88" fmla="*/ 184 w 191"/>
                <a:gd name="T89" fmla="*/ 202 h 214"/>
                <a:gd name="T90" fmla="*/ 70 w 191"/>
                <a:gd name="T91" fmla="*/ 7 h 214"/>
                <a:gd name="T92" fmla="*/ 114 w 191"/>
                <a:gd name="T93" fmla="*/ 55 h 214"/>
                <a:gd name="T94" fmla="*/ 114 w 191"/>
                <a:gd name="T95" fmla="*/ 63 h 214"/>
                <a:gd name="T96" fmla="*/ 119 w 191"/>
                <a:gd name="T97" fmla="*/ 87 h 214"/>
                <a:gd name="T98" fmla="*/ 130 w 191"/>
                <a:gd name="T99" fmla="*/ 110 h 214"/>
                <a:gd name="T100" fmla="*/ 124 w 191"/>
                <a:gd name="T101" fmla="*/ 110 h 214"/>
                <a:gd name="T102" fmla="*/ 115 w 191"/>
                <a:gd name="T103" fmla="*/ 110 h 214"/>
                <a:gd name="T104" fmla="*/ 102 w 191"/>
                <a:gd name="T105" fmla="*/ 115 h 214"/>
                <a:gd name="T106" fmla="*/ 97 w 191"/>
                <a:gd name="T107" fmla="*/ 117 h 214"/>
                <a:gd name="T108" fmla="*/ 82 w 191"/>
                <a:gd name="T109" fmla="*/ 123 h 214"/>
                <a:gd name="T110" fmla="*/ 75 w 191"/>
                <a:gd name="T111" fmla="*/ 124 h 214"/>
                <a:gd name="T112" fmla="*/ 61 w 191"/>
                <a:gd name="T113" fmla="*/ 122 h 214"/>
                <a:gd name="T114" fmla="*/ 52 w 191"/>
                <a:gd name="T115" fmla="*/ 117 h 214"/>
                <a:gd name="T116" fmla="*/ 52 w 191"/>
                <a:gd name="T117" fmla="*/ 117 h 214"/>
                <a:gd name="T118" fmla="*/ 61 w 191"/>
                <a:gd name="T119" fmla="*/ 96 h 214"/>
                <a:gd name="T120" fmla="*/ 68 w 191"/>
                <a:gd name="T121" fmla="*/ 76 h 214"/>
                <a:gd name="T122" fmla="*/ 70 w 191"/>
                <a:gd name="T123" fmla="*/ 55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1" h="214">
                  <a:moveTo>
                    <a:pt x="6" y="184"/>
                  </a:moveTo>
                  <a:lnTo>
                    <a:pt x="6" y="184"/>
                  </a:lnTo>
                  <a:lnTo>
                    <a:pt x="1" y="191"/>
                  </a:lnTo>
                  <a:lnTo>
                    <a:pt x="0" y="197"/>
                  </a:lnTo>
                  <a:lnTo>
                    <a:pt x="0" y="201"/>
                  </a:lnTo>
                  <a:lnTo>
                    <a:pt x="1" y="205"/>
                  </a:lnTo>
                  <a:lnTo>
                    <a:pt x="1" y="205"/>
                  </a:lnTo>
                  <a:lnTo>
                    <a:pt x="4" y="208"/>
                  </a:lnTo>
                  <a:lnTo>
                    <a:pt x="8" y="212"/>
                  </a:lnTo>
                  <a:lnTo>
                    <a:pt x="14" y="214"/>
                  </a:lnTo>
                  <a:lnTo>
                    <a:pt x="24" y="214"/>
                  </a:lnTo>
                  <a:lnTo>
                    <a:pt x="167" y="214"/>
                  </a:lnTo>
                  <a:lnTo>
                    <a:pt x="167" y="214"/>
                  </a:lnTo>
                  <a:lnTo>
                    <a:pt x="177" y="214"/>
                  </a:lnTo>
                  <a:lnTo>
                    <a:pt x="183" y="212"/>
                  </a:lnTo>
                  <a:lnTo>
                    <a:pt x="187" y="208"/>
                  </a:lnTo>
                  <a:lnTo>
                    <a:pt x="190" y="205"/>
                  </a:lnTo>
                  <a:lnTo>
                    <a:pt x="190" y="205"/>
                  </a:lnTo>
                  <a:lnTo>
                    <a:pt x="191" y="201"/>
                  </a:lnTo>
                  <a:lnTo>
                    <a:pt x="191" y="197"/>
                  </a:lnTo>
                  <a:lnTo>
                    <a:pt x="190" y="191"/>
                  </a:lnTo>
                  <a:lnTo>
                    <a:pt x="185" y="184"/>
                  </a:lnTo>
                  <a:lnTo>
                    <a:pt x="140" y="113"/>
                  </a:lnTo>
                  <a:lnTo>
                    <a:pt x="139" y="111"/>
                  </a:lnTo>
                  <a:lnTo>
                    <a:pt x="139" y="111"/>
                  </a:lnTo>
                  <a:lnTo>
                    <a:pt x="136" y="104"/>
                  </a:lnTo>
                  <a:lnTo>
                    <a:pt x="129" y="90"/>
                  </a:lnTo>
                  <a:lnTo>
                    <a:pt x="125" y="82"/>
                  </a:lnTo>
                  <a:lnTo>
                    <a:pt x="123" y="74"/>
                  </a:lnTo>
                  <a:lnTo>
                    <a:pt x="121" y="65"/>
                  </a:lnTo>
                  <a:lnTo>
                    <a:pt x="121" y="55"/>
                  </a:lnTo>
                  <a:lnTo>
                    <a:pt x="121" y="4"/>
                  </a:lnTo>
                  <a:lnTo>
                    <a:pt x="121" y="4"/>
                  </a:lnTo>
                  <a:lnTo>
                    <a:pt x="119" y="1"/>
                  </a:lnTo>
                  <a:lnTo>
                    <a:pt x="117" y="0"/>
                  </a:lnTo>
                  <a:lnTo>
                    <a:pt x="67" y="0"/>
                  </a:lnTo>
                  <a:lnTo>
                    <a:pt x="67" y="0"/>
                  </a:lnTo>
                  <a:lnTo>
                    <a:pt x="64" y="1"/>
                  </a:lnTo>
                  <a:lnTo>
                    <a:pt x="63" y="4"/>
                  </a:lnTo>
                  <a:lnTo>
                    <a:pt x="63" y="55"/>
                  </a:lnTo>
                  <a:lnTo>
                    <a:pt x="63" y="55"/>
                  </a:lnTo>
                  <a:lnTo>
                    <a:pt x="62" y="66"/>
                  </a:lnTo>
                  <a:lnTo>
                    <a:pt x="61" y="75"/>
                  </a:lnTo>
                  <a:lnTo>
                    <a:pt x="54" y="94"/>
                  </a:lnTo>
                  <a:lnTo>
                    <a:pt x="48" y="108"/>
                  </a:lnTo>
                  <a:lnTo>
                    <a:pt x="46" y="113"/>
                  </a:lnTo>
                  <a:lnTo>
                    <a:pt x="6" y="184"/>
                  </a:lnTo>
                  <a:close/>
                  <a:moveTo>
                    <a:pt x="184" y="202"/>
                  </a:moveTo>
                  <a:lnTo>
                    <a:pt x="184" y="202"/>
                  </a:lnTo>
                  <a:lnTo>
                    <a:pt x="181" y="205"/>
                  </a:lnTo>
                  <a:lnTo>
                    <a:pt x="178" y="206"/>
                  </a:lnTo>
                  <a:lnTo>
                    <a:pt x="173" y="207"/>
                  </a:lnTo>
                  <a:lnTo>
                    <a:pt x="167" y="207"/>
                  </a:lnTo>
                  <a:lnTo>
                    <a:pt x="24" y="207"/>
                  </a:lnTo>
                  <a:lnTo>
                    <a:pt x="24" y="207"/>
                  </a:lnTo>
                  <a:lnTo>
                    <a:pt x="18" y="207"/>
                  </a:lnTo>
                  <a:lnTo>
                    <a:pt x="13" y="206"/>
                  </a:lnTo>
                  <a:lnTo>
                    <a:pt x="10" y="205"/>
                  </a:lnTo>
                  <a:lnTo>
                    <a:pt x="7" y="202"/>
                  </a:lnTo>
                  <a:lnTo>
                    <a:pt x="7" y="202"/>
                  </a:lnTo>
                  <a:lnTo>
                    <a:pt x="7" y="199"/>
                  </a:lnTo>
                  <a:lnTo>
                    <a:pt x="7" y="195"/>
                  </a:lnTo>
                  <a:lnTo>
                    <a:pt x="10" y="192"/>
                  </a:lnTo>
                  <a:lnTo>
                    <a:pt x="12" y="187"/>
                  </a:lnTo>
                  <a:lnTo>
                    <a:pt x="48" y="123"/>
                  </a:lnTo>
                  <a:lnTo>
                    <a:pt x="48" y="123"/>
                  </a:lnTo>
                  <a:lnTo>
                    <a:pt x="48" y="123"/>
                  </a:lnTo>
                  <a:lnTo>
                    <a:pt x="53" y="127"/>
                  </a:lnTo>
                  <a:lnTo>
                    <a:pt x="59" y="129"/>
                  </a:lnTo>
                  <a:lnTo>
                    <a:pt x="66" y="130"/>
                  </a:lnTo>
                  <a:lnTo>
                    <a:pt x="75" y="131"/>
                  </a:lnTo>
                  <a:lnTo>
                    <a:pt x="75" y="131"/>
                  </a:lnTo>
                  <a:lnTo>
                    <a:pt x="83" y="130"/>
                  </a:lnTo>
                  <a:lnTo>
                    <a:pt x="90" y="129"/>
                  </a:lnTo>
                  <a:lnTo>
                    <a:pt x="96" y="127"/>
                  </a:lnTo>
                  <a:lnTo>
                    <a:pt x="101" y="123"/>
                  </a:lnTo>
                  <a:lnTo>
                    <a:pt x="101" y="123"/>
                  </a:lnTo>
                  <a:lnTo>
                    <a:pt x="110" y="118"/>
                  </a:lnTo>
                  <a:lnTo>
                    <a:pt x="116" y="117"/>
                  </a:lnTo>
                  <a:lnTo>
                    <a:pt x="124" y="117"/>
                  </a:lnTo>
                  <a:lnTo>
                    <a:pt x="124" y="117"/>
                  </a:lnTo>
                  <a:lnTo>
                    <a:pt x="130" y="117"/>
                  </a:lnTo>
                  <a:lnTo>
                    <a:pt x="136" y="118"/>
                  </a:lnTo>
                  <a:lnTo>
                    <a:pt x="179" y="187"/>
                  </a:lnTo>
                  <a:lnTo>
                    <a:pt x="179" y="187"/>
                  </a:lnTo>
                  <a:lnTo>
                    <a:pt x="181" y="192"/>
                  </a:lnTo>
                  <a:lnTo>
                    <a:pt x="184" y="195"/>
                  </a:lnTo>
                  <a:lnTo>
                    <a:pt x="184" y="199"/>
                  </a:lnTo>
                  <a:lnTo>
                    <a:pt x="184" y="202"/>
                  </a:lnTo>
                  <a:lnTo>
                    <a:pt x="184" y="202"/>
                  </a:lnTo>
                  <a:close/>
                  <a:moveTo>
                    <a:pt x="70" y="55"/>
                  </a:moveTo>
                  <a:lnTo>
                    <a:pt x="70" y="7"/>
                  </a:lnTo>
                  <a:lnTo>
                    <a:pt x="114" y="7"/>
                  </a:lnTo>
                  <a:lnTo>
                    <a:pt x="114" y="55"/>
                  </a:lnTo>
                  <a:lnTo>
                    <a:pt x="114" y="55"/>
                  </a:lnTo>
                  <a:lnTo>
                    <a:pt x="114" y="63"/>
                  </a:lnTo>
                  <a:lnTo>
                    <a:pt x="115" y="72"/>
                  </a:lnTo>
                  <a:lnTo>
                    <a:pt x="119" y="87"/>
                  </a:lnTo>
                  <a:lnTo>
                    <a:pt x="125" y="100"/>
                  </a:lnTo>
                  <a:lnTo>
                    <a:pt x="130" y="110"/>
                  </a:lnTo>
                  <a:lnTo>
                    <a:pt x="130" y="110"/>
                  </a:lnTo>
                  <a:lnTo>
                    <a:pt x="124" y="110"/>
                  </a:lnTo>
                  <a:lnTo>
                    <a:pt x="124" y="110"/>
                  </a:lnTo>
                  <a:lnTo>
                    <a:pt x="115" y="110"/>
                  </a:lnTo>
                  <a:lnTo>
                    <a:pt x="108" y="113"/>
                  </a:lnTo>
                  <a:lnTo>
                    <a:pt x="102" y="115"/>
                  </a:lnTo>
                  <a:lnTo>
                    <a:pt x="97" y="117"/>
                  </a:lnTo>
                  <a:lnTo>
                    <a:pt x="97" y="117"/>
                  </a:lnTo>
                  <a:lnTo>
                    <a:pt x="88" y="122"/>
                  </a:lnTo>
                  <a:lnTo>
                    <a:pt x="82" y="123"/>
                  </a:lnTo>
                  <a:lnTo>
                    <a:pt x="75" y="124"/>
                  </a:lnTo>
                  <a:lnTo>
                    <a:pt x="75" y="124"/>
                  </a:lnTo>
                  <a:lnTo>
                    <a:pt x="67" y="123"/>
                  </a:lnTo>
                  <a:lnTo>
                    <a:pt x="61" y="122"/>
                  </a:lnTo>
                  <a:lnTo>
                    <a:pt x="52" y="117"/>
                  </a:lnTo>
                  <a:lnTo>
                    <a:pt x="52" y="117"/>
                  </a:lnTo>
                  <a:lnTo>
                    <a:pt x="52" y="117"/>
                  </a:lnTo>
                  <a:lnTo>
                    <a:pt x="52" y="117"/>
                  </a:lnTo>
                  <a:lnTo>
                    <a:pt x="55" y="111"/>
                  </a:lnTo>
                  <a:lnTo>
                    <a:pt x="61" y="96"/>
                  </a:lnTo>
                  <a:lnTo>
                    <a:pt x="64" y="87"/>
                  </a:lnTo>
                  <a:lnTo>
                    <a:pt x="68" y="76"/>
                  </a:lnTo>
                  <a:lnTo>
                    <a:pt x="69" y="66"/>
                  </a:lnTo>
                  <a:lnTo>
                    <a:pt x="70" y="55"/>
                  </a:lnTo>
                  <a:lnTo>
                    <a:pt x="70"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grpSp>
      <p:grpSp>
        <p:nvGrpSpPr>
          <p:cNvPr id="22" name="Group 21"/>
          <p:cNvGrpSpPr/>
          <p:nvPr/>
        </p:nvGrpSpPr>
        <p:grpSpPr>
          <a:xfrm>
            <a:off x="2907630" y="3699765"/>
            <a:ext cx="299132" cy="300445"/>
            <a:chOff x="1835151" y="5308601"/>
            <a:chExt cx="361950" cy="363538"/>
          </a:xfrm>
          <a:solidFill>
            <a:schemeClr val="tx1">
              <a:lumMod val="85000"/>
              <a:lumOff val="15000"/>
            </a:schemeClr>
          </a:solidFill>
        </p:grpSpPr>
        <p:sp>
          <p:nvSpPr>
            <p:cNvPr id="23" name="Freeform 84"/>
            <p:cNvSpPr>
              <a:spLocks noEditPoints="1"/>
            </p:cNvSpPr>
            <p:nvPr/>
          </p:nvSpPr>
          <p:spPr bwMode="auto">
            <a:xfrm>
              <a:off x="1835151" y="5308601"/>
              <a:ext cx="361950" cy="363538"/>
            </a:xfrm>
            <a:custGeom>
              <a:avLst/>
              <a:gdLst>
                <a:gd name="T0" fmla="*/ 102 w 228"/>
                <a:gd name="T1" fmla="*/ 2 h 229"/>
                <a:gd name="T2" fmla="*/ 69 w 228"/>
                <a:gd name="T3" fmla="*/ 10 h 229"/>
                <a:gd name="T4" fmla="*/ 41 w 228"/>
                <a:gd name="T5" fmla="*/ 26 h 229"/>
                <a:gd name="T6" fmla="*/ 19 w 228"/>
                <a:gd name="T7" fmla="*/ 51 h 229"/>
                <a:gd name="T8" fmla="*/ 5 w 228"/>
                <a:gd name="T9" fmla="*/ 81 h 229"/>
                <a:gd name="T10" fmla="*/ 0 w 228"/>
                <a:gd name="T11" fmla="*/ 115 h 229"/>
                <a:gd name="T12" fmla="*/ 2 w 228"/>
                <a:gd name="T13" fmla="*/ 138 h 229"/>
                <a:gd name="T14" fmla="*/ 13 w 228"/>
                <a:gd name="T15" fmla="*/ 170 h 229"/>
                <a:gd name="T16" fmla="*/ 33 w 228"/>
                <a:gd name="T17" fmla="*/ 196 h 229"/>
                <a:gd name="T18" fmla="*/ 60 w 228"/>
                <a:gd name="T19" fmla="*/ 215 h 229"/>
                <a:gd name="T20" fmla="*/ 91 w 228"/>
                <a:gd name="T21" fmla="*/ 227 h 229"/>
                <a:gd name="T22" fmla="*/ 113 w 228"/>
                <a:gd name="T23" fmla="*/ 229 h 229"/>
                <a:gd name="T24" fmla="*/ 148 w 228"/>
                <a:gd name="T25" fmla="*/ 225 h 229"/>
                <a:gd name="T26" fmla="*/ 178 w 228"/>
                <a:gd name="T27" fmla="*/ 210 h 229"/>
                <a:gd name="T28" fmla="*/ 202 w 228"/>
                <a:gd name="T29" fmla="*/ 187 h 229"/>
                <a:gd name="T30" fmla="*/ 220 w 228"/>
                <a:gd name="T31" fmla="*/ 159 h 229"/>
                <a:gd name="T32" fmla="*/ 228 w 228"/>
                <a:gd name="T33" fmla="*/ 127 h 229"/>
                <a:gd name="T34" fmla="*/ 228 w 228"/>
                <a:gd name="T35" fmla="*/ 103 h 229"/>
                <a:gd name="T36" fmla="*/ 220 w 228"/>
                <a:gd name="T37" fmla="*/ 70 h 229"/>
                <a:gd name="T38" fmla="*/ 202 w 228"/>
                <a:gd name="T39" fmla="*/ 42 h 229"/>
                <a:gd name="T40" fmla="*/ 178 w 228"/>
                <a:gd name="T41" fmla="*/ 20 h 229"/>
                <a:gd name="T42" fmla="*/ 148 w 228"/>
                <a:gd name="T43" fmla="*/ 5 h 229"/>
                <a:gd name="T44" fmla="*/ 113 w 228"/>
                <a:gd name="T45" fmla="*/ 0 h 229"/>
                <a:gd name="T46" fmla="*/ 113 w 228"/>
                <a:gd name="T47" fmla="*/ 221 h 229"/>
                <a:gd name="T48" fmla="*/ 82 w 228"/>
                <a:gd name="T49" fmla="*/ 217 h 229"/>
                <a:gd name="T50" fmla="*/ 54 w 228"/>
                <a:gd name="T51" fmla="*/ 204 h 229"/>
                <a:gd name="T52" fmla="*/ 32 w 228"/>
                <a:gd name="T53" fmla="*/ 183 h 229"/>
                <a:gd name="T54" fmla="*/ 15 w 228"/>
                <a:gd name="T55" fmla="*/ 157 h 229"/>
                <a:gd name="T56" fmla="*/ 8 w 228"/>
                <a:gd name="T57" fmla="*/ 125 h 229"/>
                <a:gd name="T58" fmla="*/ 8 w 228"/>
                <a:gd name="T59" fmla="*/ 104 h 229"/>
                <a:gd name="T60" fmla="*/ 15 w 228"/>
                <a:gd name="T61" fmla="*/ 73 h 229"/>
                <a:gd name="T62" fmla="*/ 32 w 228"/>
                <a:gd name="T63" fmla="*/ 47 h 229"/>
                <a:gd name="T64" fmla="*/ 54 w 228"/>
                <a:gd name="T65" fmla="*/ 26 h 229"/>
                <a:gd name="T66" fmla="*/ 82 w 228"/>
                <a:gd name="T67" fmla="*/ 13 h 229"/>
                <a:gd name="T68" fmla="*/ 113 w 228"/>
                <a:gd name="T69" fmla="*/ 9 h 229"/>
                <a:gd name="T70" fmla="*/ 136 w 228"/>
                <a:gd name="T71" fmla="*/ 10 h 229"/>
                <a:gd name="T72" fmla="*/ 165 w 228"/>
                <a:gd name="T73" fmla="*/ 21 h 229"/>
                <a:gd name="T74" fmla="*/ 189 w 228"/>
                <a:gd name="T75" fmla="*/ 39 h 229"/>
                <a:gd name="T76" fmla="*/ 208 w 228"/>
                <a:gd name="T77" fmla="*/ 63 h 229"/>
                <a:gd name="T78" fmla="*/ 219 w 228"/>
                <a:gd name="T79" fmla="*/ 94 h 229"/>
                <a:gd name="T80" fmla="*/ 221 w 228"/>
                <a:gd name="T81" fmla="*/ 115 h 229"/>
                <a:gd name="T82" fmla="*/ 216 w 228"/>
                <a:gd name="T83" fmla="*/ 146 h 229"/>
                <a:gd name="T84" fmla="*/ 202 w 228"/>
                <a:gd name="T85" fmla="*/ 174 h 229"/>
                <a:gd name="T86" fmla="*/ 182 w 228"/>
                <a:gd name="T87" fmla="*/ 197 h 229"/>
                <a:gd name="T88" fmla="*/ 155 w 228"/>
                <a:gd name="T89" fmla="*/ 213 h 229"/>
                <a:gd name="T90" fmla="*/ 125 w 228"/>
                <a:gd name="T91" fmla="*/ 22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8" h="229">
                  <a:moveTo>
                    <a:pt x="113" y="0"/>
                  </a:moveTo>
                  <a:lnTo>
                    <a:pt x="113" y="0"/>
                  </a:lnTo>
                  <a:lnTo>
                    <a:pt x="102" y="2"/>
                  </a:lnTo>
                  <a:lnTo>
                    <a:pt x="91" y="3"/>
                  </a:lnTo>
                  <a:lnTo>
                    <a:pt x="79" y="5"/>
                  </a:lnTo>
                  <a:lnTo>
                    <a:pt x="69" y="10"/>
                  </a:lnTo>
                  <a:lnTo>
                    <a:pt x="60" y="14"/>
                  </a:lnTo>
                  <a:lnTo>
                    <a:pt x="50" y="20"/>
                  </a:lnTo>
                  <a:lnTo>
                    <a:pt x="41" y="26"/>
                  </a:lnTo>
                  <a:lnTo>
                    <a:pt x="33" y="34"/>
                  </a:lnTo>
                  <a:lnTo>
                    <a:pt x="26" y="42"/>
                  </a:lnTo>
                  <a:lnTo>
                    <a:pt x="19" y="51"/>
                  </a:lnTo>
                  <a:lnTo>
                    <a:pt x="13" y="60"/>
                  </a:lnTo>
                  <a:lnTo>
                    <a:pt x="8" y="70"/>
                  </a:lnTo>
                  <a:lnTo>
                    <a:pt x="5" y="81"/>
                  </a:lnTo>
                  <a:lnTo>
                    <a:pt x="2" y="92"/>
                  </a:lnTo>
                  <a:lnTo>
                    <a:pt x="0" y="103"/>
                  </a:lnTo>
                  <a:lnTo>
                    <a:pt x="0" y="115"/>
                  </a:lnTo>
                  <a:lnTo>
                    <a:pt x="0" y="115"/>
                  </a:lnTo>
                  <a:lnTo>
                    <a:pt x="0" y="127"/>
                  </a:lnTo>
                  <a:lnTo>
                    <a:pt x="2" y="138"/>
                  </a:lnTo>
                  <a:lnTo>
                    <a:pt x="5" y="149"/>
                  </a:lnTo>
                  <a:lnTo>
                    <a:pt x="8" y="159"/>
                  </a:lnTo>
                  <a:lnTo>
                    <a:pt x="13" y="170"/>
                  </a:lnTo>
                  <a:lnTo>
                    <a:pt x="19" y="179"/>
                  </a:lnTo>
                  <a:lnTo>
                    <a:pt x="26" y="187"/>
                  </a:lnTo>
                  <a:lnTo>
                    <a:pt x="33" y="196"/>
                  </a:lnTo>
                  <a:lnTo>
                    <a:pt x="41" y="204"/>
                  </a:lnTo>
                  <a:lnTo>
                    <a:pt x="50" y="210"/>
                  </a:lnTo>
                  <a:lnTo>
                    <a:pt x="60" y="215"/>
                  </a:lnTo>
                  <a:lnTo>
                    <a:pt x="69" y="220"/>
                  </a:lnTo>
                  <a:lnTo>
                    <a:pt x="79" y="225"/>
                  </a:lnTo>
                  <a:lnTo>
                    <a:pt x="91" y="227"/>
                  </a:lnTo>
                  <a:lnTo>
                    <a:pt x="102" y="228"/>
                  </a:lnTo>
                  <a:lnTo>
                    <a:pt x="113" y="229"/>
                  </a:lnTo>
                  <a:lnTo>
                    <a:pt x="113" y="229"/>
                  </a:lnTo>
                  <a:lnTo>
                    <a:pt x="125" y="228"/>
                  </a:lnTo>
                  <a:lnTo>
                    <a:pt x="137" y="227"/>
                  </a:lnTo>
                  <a:lnTo>
                    <a:pt x="148" y="225"/>
                  </a:lnTo>
                  <a:lnTo>
                    <a:pt x="159" y="220"/>
                  </a:lnTo>
                  <a:lnTo>
                    <a:pt x="168" y="215"/>
                  </a:lnTo>
                  <a:lnTo>
                    <a:pt x="178" y="210"/>
                  </a:lnTo>
                  <a:lnTo>
                    <a:pt x="187" y="204"/>
                  </a:lnTo>
                  <a:lnTo>
                    <a:pt x="195" y="196"/>
                  </a:lnTo>
                  <a:lnTo>
                    <a:pt x="202" y="187"/>
                  </a:lnTo>
                  <a:lnTo>
                    <a:pt x="209" y="179"/>
                  </a:lnTo>
                  <a:lnTo>
                    <a:pt x="215" y="170"/>
                  </a:lnTo>
                  <a:lnTo>
                    <a:pt x="220" y="159"/>
                  </a:lnTo>
                  <a:lnTo>
                    <a:pt x="223" y="149"/>
                  </a:lnTo>
                  <a:lnTo>
                    <a:pt x="226" y="138"/>
                  </a:lnTo>
                  <a:lnTo>
                    <a:pt x="228" y="127"/>
                  </a:lnTo>
                  <a:lnTo>
                    <a:pt x="228" y="115"/>
                  </a:lnTo>
                  <a:lnTo>
                    <a:pt x="228" y="115"/>
                  </a:lnTo>
                  <a:lnTo>
                    <a:pt x="228" y="103"/>
                  </a:lnTo>
                  <a:lnTo>
                    <a:pt x="226" y="92"/>
                  </a:lnTo>
                  <a:lnTo>
                    <a:pt x="223" y="81"/>
                  </a:lnTo>
                  <a:lnTo>
                    <a:pt x="220" y="70"/>
                  </a:lnTo>
                  <a:lnTo>
                    <a:pt x="215" y="60"/>
                  </a:lnTo>
                  <a:lnTo>
                    <a:pt x="209" y="51"/>
                  </a:lnTo>
                  <a:lnTo>
                    <a:pt x="202" y="42"/>
                  </a:lnTo>
                  <a:lnTo>
                    <a:pt x="195" y="34"/>
                  </a:lnTo>
                  <a:lnTo>
                    <a:pt x="187" y="26"/>
                  </a:lnTo>
                  <a:lnTo>
                    <a:pt x="178" y="20"/>
                  </a:lnTo>
                  <a:lnTo>
                    <a:pt x="168" y="14"/>
                  </a:lnTo>
                  <a:lnTo>
                    <a:pt x="159" y="10"/>
                  </a:lnTo>
                  <a:lnTo>
                    <a:pt x="148" y="5"/>
                  </a:lnTo>
                  <a:lnTo>
                    <a:pt x="137" y="3"/>
                  </a:lnTo>
                  <a:lnTo>
                    <a:pt x="125" y="2"/>
                  </a:lnTo>
                  <a:lnTo>
                    <a:pt x="113" y="0"/>
                  </a:lnTo>
                  <a:lnTo>
                    <a:pt x="113" y="0"/>
                  </a:lnTo>
                  <a:close/>
                  <a:moveTo>
                    <a:pt x="113" y="221"/>
                  </a:moveTo>
                  <a:lnTo>
                    <a:pt x="113" y="221"/>
                  </a:lnTo>
                  <a:lnTo>
                    <a:pt x="103" y="221"/>
                  </a:lnTo>
                  <a:lnTo>
                    <a:pt x="92" y="220"/>
                  </a:lnTo>
                  <a:lnTo>
                    <a:pt x="82" y="217"/>
                  </a:lnTo>
                  <a:lnTo>
                    <a:pt x="72" y="213"/>
                  </a:lnTo>
                  <a:lnTo>
                    <a:pt x="63" y="208"/>
                  </a:lnTo>
                  <a:lnTo>
                    <a:pt x="54" y="204"/>
                  </a:lnTo>
                  <a:lnTo>
                    <a:pt x="46" y="197"/>
                  </a:lnTo>
                  <a:lnTo>
                    <a:pt x="39" y="191"/>
                  </a:lnTo>
                  <a:lnTo>
                    <a:pt x="32" y="183"/>
                  </a:lnTo>
                  <a:lnTo>
                    <a:pt x="26" y="174"/>
                  </a:lnTo>
                  <a:lnTo>
                    <a:pt x="20" y="166"/>
                  </a:lnTo>
                  <a:lnTo>
                    <a:pt x="15" y="157"/>
                  </a:lnTo>
                  <a:lnTo>
                    <a:pt x="12" y="146"/>
                  </a:lnTo>
                  <a:lnTo>
                    <a:pt x="9" y="136"/>
                  </a:lnTo>
                  <a:lnTo>
                    <a:pt x="8" y="125"/>
                  </a:lnTo>
                  <a:lnTo>
                    <a:pt x="7" y="115"/>
                  </a:lnTo>
                  <a:lnTo>
                    <a:pt x="7" y="115"/>
                  </a:lnTo>
                  <a:lnTo>
                    <a:pt x="8" y="104"/>
                  </a:lnTo>
                  <a:lnTo>
                    <a:pt x="9" y="94"/>
                  </a:lnTo>
                  <a:lnTo>
                    <a:pt x="12" y="83"/>
                  </a:lnTo>
                  <a:lnTo>
                    <a:pt x="15" y="73"/>
                  </a:lnTo>
                  <a:lnTo>
                    <a:pt x="20" y="63"/>
                  </a:lnTo>
                  <a:lnTo>
                    <a:pt x="26" y="55"/>
                  </a:lnTo>
                  <a:lnTo>
                    <a:pt x="32" y="47"/>
                  </a:lnTo>
                  <a:lnTo>
                    <a:pt x="39" y="39"/>
                  </a:lnTo>
                  <a:lnTo>
                    <a:pt x="46" y="32"/>
                  </a:lnTo>
                  <a:lnTo>
                    <a:pt x="54" y="26"/>
                  </a:lnTo>
                  <a:lnTo>
                    <a:pt x="63" y="21"/>
                  </a:lnTo>
                  <a:lnTo>
                    <a:pt x="72" y="17"/>
                  </a:lnTo>
                  <a:lnTo>
                    <a:pt x="82" y="13"/>
                  </a:lnTo>
                  <a:lnTo>
                    <a:pt x="92" y="10"/>
                  </a:lnTo>
                  <a:lnTo>
                    <a:pt x="103" y="9"/>
                  </a:lnTo>
                  <a:lnTo>
                    <a:pt x="113" y="9"/>
                  </a:lnTo>
                  <a:lnTo>
                    <a:pt x="113" y="9"/>
                  </a:lnTo>
                  <a:lnTo>
                    <a:pt x="125" y="9"/>
                  </a:lnTo>
                  <a:lnTo>
                    <a:pt x="136" y="10"/>
                  </a:lnTo>
                  <a:lnTo>
                    <a:pt x="146" y="13"/>
                  </a:lnTo>
                  <a:lnTo>
                    <a:pt x="155" y="17"/>
                  </a:lnTo>
                  <a:lnTo>
                    <a:pt x="165" y="21"/>
                  </a:lnTo>
                  <a:lnTo>
                    <a:pt x="174" y="26"/>
                  </a:lnTo>
                  <a:lnTo>
                    <a:pt x="182" y="32"/>
                  </a:lnTo>
                  <a:lnTo>
                    <a:pt x="189" y="39"/>
                  </a:lnTo>
                  <a:lnTo>
                    <a:pt x="196" y="47"/>
                  </a:lnTo>
                  <a:lnTo>
                    <a:pt x="202" y="55"/>
                  </a:lnTo>
                  <a:lnTo>
                    <a:pt x="208" y="63"/>
                  </a:lnTo>
                  <a:lnTo>
                    <a:pt x="213" y="73"/>
                  </a:lnTo>
                  <a:lnTo>
                    <a:pt x="216" y="83"/>
                  </a:lnTo>
                  <a:lnTo>
                    <a:pt x="219" y="94"/>
                  </a:lnTo>
                  <a:lnTo>
                    <a:pt x="220" y="104"/>
                  </a:lnTo>
                  <a:lnTo>
                    <a:pt x="221" y="115"/>
                  </a:lnTo>
                  <a:lnTo>
                    <a:pt x="221" y="115"/>
                  </a:lnTo>
                  <a:lnTo>
                    <a:pt x="220" y="125"/>
                  </a:lnTo>
                  <a:lnTo>
                    <a:pt x="219" y="136"/>
                  </a:lnTo>
                  <a:lnTo>
                    <a:pt x="216" y="146"/>
                  </a:lnTo>
                  <a:lnTo>
                    <a:pt x="213" y="157"/>
                  </a:lnTo>
                  <a:lnTo>
                    <a:pt x="208" y="166"/>
                  </a:lnTo>
                  <a:lnTo>
                    <a:pt x="202" y="174"/>
                  </a:lnTo>
                  <a:lnTo>
                    <a:pt x="196" y="183"/>
                  </a:lnTo>
                  <a:lnTo>
                    <a:pt x="189" y="191"/>
                  </a:lnTo>
                  <a:lnTo>
                    <a:pt x="182" y="197"/>
                  </a:lnTo>
                  <a:lnTo>
                    <a:pt x="174" y="204"/>
                  </a:lnTo>
                  <a:lnTo>
                    <a:pt x="165" y="208"/>
                  </a:lnTo>
                  <a:lnTo>
                    <a:pt x="155" y="213"/>
                  </a:lnTo>
                  <a:lnTo>
                    <a:pt x="146" y="217"/>
                  </a:lnTo>
                  <a:lnTo>
                    <a:pt x="136" y="220"/>
                  </a:lnTo>
                  <a:lnTo>
                    <a:pt x="125" y="221"/>
                  </a:lnTo>
                  <a:lnTo>
                    <a:pt x="113" y="221"/>
                  </a:lnTo>
                  <a:lnTo>
                    <a:pt x="113" y="2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4" name="Freeform 85"/>
            <p:cNvSpPr>
              <a:spLocks/>
            </p:cNvSpPr>
            <p:nvPr/>
          </p:nvSpPr>
          <p:spPr bwMode="auto">
            <a:xfrm>
              <a:off x="2014538" y="5341938"/>
              <a:ext cx="14288" cy="36513"/>
            </a:xfrm>
            <a:custGeom>
              <a:avLst/>
              <a:gdLst>
                <a:gd name="T0" fmla="*/ 5 w 9"/>
                <a:gd name="T1" fmla="*/ 23 h 23"/>
                <a:gd name="T2" fmla="*/ 5 w 9"/>
                <a:gd name="T3" fmla="*/ 23 h 23"/>
                <a:gd name="T4" fmla="*/ 7 w 9"/>
                <a:gd name="T5" fmla="*/ 21 h 23"/>
                <a:gd name="T6" fmla="*/ 9 w 9"/>
                <a:gd name="T7" fmla="*/ 19 h 23"/>
                <a:gd name="T8" fmla="*/ 9 w 9"/>
                <a:gd name="T9" fmla="*/ 5 h 23"/>
                <a:gd name="T10" fmla="*/ 9 w 9"/>
                <a:gd name="T11" fmla="*/ 5 h 23"/>
                <a:gd name="T12" fmla="*/ 7 w 9"/>
                <a:gd name="T13" fmla="*/ 2 h 23"/>
                <a:gd name="T14" fmla="*/ 5 w 9"/>
                <a:gd name="T15" fmla="*/ 0 h 23"/>
                <a:gd name="T16" fmla="*/ 5 w 9"/>
                <a:gd name="T17" fmla="*/ 0 h 23"/>
                <a:gd name="T18" fmla="*/ 2 w 9"/>
                <a:gd name="T19" fmla="*/ 2 h 23"/>
                <a:gd name="T20" fmla="*/ 0 w 9"/>
                <a:gd name="T21" fmla="*/ 5 h 23"/>
                <a:gd name="T22" fmla="*/ 0 w 9"/>
                <a:gd name="T23" fmla="*/ 19 h 23"/>
                <a:gd name="T24" fmla="*/ 0 w 9"/>
                <a:gd name="T25" fmla="*/ 19 h 23"/>
                <a:gd name="T26" fmla="*/ 2 w 9"/>
                <a:gd name="T27" fmla="*/ 21 h 23"/>
                <a:gd name="T28" fmla="*/ 5 w 9"/>
                <a:gd name="T29" fmla="*/ 23 h 23"/>
                <a:gd name="T30" fmla="*/ 5 w 9"/>
                <a:gd name="T3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23">
                  <a:moveTo>
                    <a:pt x="5" y="23"/>
                  </a:moveTo>
                  <a:lnTo>
                    <a:pt x="5" y="23"/>
                  </a:lnTo>
                  <a:lnTo>
                    <a:pt x="7" y="21"/>
                  </a:lnTo>
                  <a:lnTo>
                    <a:pt x="9" y="19"/>
                  </a:lnTo>
                  <a:lnTo>
                    <a:pt x="9" y="5"/>
                  </a:lnTo>
                  <a:lnTo>
                    <a:pt x="9" y="5"/>
                  </a:lnTo>
                  <a:lnTo>
                    <a:pt x="7" y="2"/>
                  </a:lnTo>
                  <a:lnTo>
                    <a:pt x="5" y="0"/>
                  </a:lnTo>
                  <a:lnTo>
                    <a:pt x="5" y="0"/>
                  </a:lnTo>
                  <a:lnTo>
                    <a:pt x="2" y="2"/>
                  </a:lnTo>
                  <a:lnTo>
                    <a:pt x="0" y="5"/>
                  </a:lnTo>
                  <a:lnTo>
                    <a:pt x="0" y="19"/>
                  </a:lnTo>
                  <a:lnTo>
                    <a:pt x="0" y="19"/>
                  </a:lnTo>
                  <a:lnTo>
                    <a:pt x="2" y="21"/>
                  </a:lnTo>
                  <a:lnTo>
                    <a:pt x="5" y="23"/>
                  </a:lnTo>
                  <a:lnTo>
                    <a:pt x="5"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5" name="Freeform 86"/>
            <p:cNvSpPr>
              <a:spLocks/>
            </p:cNvSpPr>
            <p:nvPr/>
          </p:nvSpPr>
          <p:spPr bwMode="auto">
            <a:xfrm>
              <a:off x="1868488" y="5480051"/>
              <a:ext cx="34925" cy="11113"/>
            </a:xfrm>
            <a:custGeom>
              <a:avLst/>
              <a:gdLst>
                <a:gd name="T0" fmla="*/ 18 w 22"/>
                <a:gd name="T1" fmla="*/ 0 h 7"/>
                <a:gd name="T2" fmla="*/ 4 w 22"/>
                <a:gd name="T3" fmla="*/ 0 h 7"/>
                <a:gd name="T4" fmla="*/ 4 w 22"/>
                <a:gd name="T5" fmla="*/ 0 h 7"/>
                <a:gd name="T6" fmla="*/ 1 w 22"/>
                <a:gd name="T7" fmla="*/ 1 h 7"/>
                <a:gd name="T8" fmla="*/ 0 w 22"/>
                <a:gd name="T9" fmla="*/ 3 h 7"/>
                <a:gd name="T10" fmla="*/ 0 w 22"/>
                <a:gd name="T11" fmla="*/ 3 h 7"/>
                <a:gd name="T12" fmla="*/ 1 w 22"/>
                <a:gd name="T13" fmla="*/ 6 h 7"/>
                <a:gd name="T14" fmla="*/ 4 w 22"/>
                <a:gd name="T15" fmla="*/ 7 h 7"/>
                <a:gd name="T16" fmla="*/ 18 w 22"/>
                <a:gd name="T17" fmla="*/ 7 h 7"/>
                <a:gd name="T18" fmla="*/ 18 w 22"/>
                <a:gd name="T19" fmla="*/ 7 h 7"/>
                <a:gd name="T20" fmla="*/ 21 w 22"/>
                <a:gd name="T21" fmla="*/ 6 h 7"/>
                <a:gd name="T22" fmla="*/ 22 w 22"/>
                <a:gd name="T23" fmla="*/ 3 h 7"/>
                <a:gd name="T24" fmla="*/ 22 w 22"/>
                <a:gd name="T25" fmla="*/ 3 h 7"/>
                <a:gd name="T26" fmla="*/ 21 w 22"/>
                <a:gd name="T27" fmla="*/ 1 h 7"/>
                <a:gd name="T28" fmla="*/ 18 w 22"/>
                <a:gd name="T29" fmla="*/ 0 h 7"/>
                <a:gd name="T30" fmla="*/ 18 w 22"/>
                <a:gd name="T3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7">
                  <a:moveTo>
                    <a:pt x="18" y="0"/>
                  </a:moveTo>
                  <a:lnTo>
                    <a:pt x="4" y="0"/>
                  </a:lnTo>
                  <a:lnTo>
                    <a:pt x="4" y="0"/>
                  </a:lnTo>
                  <a:lnTo>
                    <a:pt x="1" y="1"/>
                  </a:lnTo>
                  <a:lnTo>
                    <a:pt x="0" y="3"/>
                  </a:lnTo>
                  <a:lnTo>
                    <a:pt x="0" y="3"/>
                  </a:lnTo>
                  <a:lnTo>
                    <a:pt x="1" y="6"/>
                  </a:lnTo>
                  <a:lnTo>
                    <a:pt x="4" y="7"/>
                  </a:lnTo>
                  <a:lnTo>
                    <a:pt x="18" y="7"/>
                  </a:lnTo>
                  <a:lnTo>
                    <a:pt x="18" y="7"/>
                  </a:lnTo>
                  <a:lnTo>
                    <a:pt x="21" y="6"/>
                  </a:lnTo>
                  <a:lnTo>
                    <a:pt x="22" y="3"/>
                  </a:lnTo>
                  <a:lnTo>
                    <a:pt x="22" y="3"/>
                  </a:lnTo>
                  <a:lnTo>
                    <a:pt x="21" y="1"/>
                  </a:lnTo>
                  <a:lnTo>
                    <a:pt x="18" y="0"/>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6" name="Freeform 87"/>
            <p:cNvSpPr>
              <a:spLocks/>
            </p:cNvSpPr>
            <p:nvPr/>
          </p:nvSpPr>
          <p:spPr bwMode="auto">
            <a:xfrm>
              <a:off x="2128838" y="5480051"/>
              <a:ext cx="34925" cy="11113"/>
            </a:xfrm>
            <a:custGeom>
              <a:avLst/>
              <a:gdLst>
                <a:gd name="T0" fmla="*/ 0 w 22"/>
                <a:gd name="T1" fmla="*/ 3 h 7"/>
                <a:gd name="T2" fmla="*/ 0 w 22"/>
                <a:gd name="T3" fmla="*/ 3 h 7"/>
                <a:gd name="T4" fmla="*/ 1 w 22"/>
                <a:gd name="T5" fmla="*/ 6 h 7"/>
                <a:gd name="T6" fmla="*/ 4 w 22"/>
                <a:gd name="T7" fmla="*/ 7 h 7"/>
                <a:gd name="T8" fmla="*/ 18 w 22"/>
                <a:gd name="T9" fmla="*/ 7 h 7"/>
                <a:gd name="T10" fmla="*/ 18 w 22"/>
                <a:gd name="T11" fmla="*/ 7 h 7"/>
                <a:gd name="T12" fmla="*/ 21 w 22"/>
                <a:gd name="T13" fmla="*/ 6 h 7"/>
                <a:gd name="T14" fmla="*/ 22 w 22"/>
                <a:gd name="T15" fmla="*/ 3 h 7"/>
                <a:gd name="T16" fmla="*/ 22 w 22"/>
                <a:gd name="T17" fmla="*/ 3 h 7"/>
                <a:gd name="T18" fmla="*/ 21 w 22"/>
                <a:gd name="T19" fmla="*/ 1 h 7"/>
                <a:gd name="T20" fmla="*/ 18 w 22"/>
                <a:gd name="T21" fmla="*/ 0 h 7"/>
                <a:gd name="T22" fmla="*/ 4 w 22"/>
                <a:gd name="T23" fmla="*/ 0 h 7"/>
                <a:gd name="T24" fmla="*/ 4 w 22"/>
                <a:gd name="T25" fmla="*/ 0 h 7"/>
                <a:gd name="T26" fmla="*/ 1 w 22"/>
                <a:gd name="T27" fmla="*/ 1 h 7"/>
                <a:gd name="T28" fmla="*/ 0 w 22"/>
                <a:gd name="T29" fmla="*/ 3 h 7"/>
                <a:gd name="T30" fmla="*/ 0 w 22"/>
                <a:gd name="T3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7">
                  <a:moveTo>
                    <a:pt x="0" y="3"/>
                  </a:moveTo>
                  <a:lnTo>
                    <a:pt x="0" y="3"/>
                  </a:lnTo>
                  <a:lnTo>
                    <a:pt x="1" y="6"/>
                  </a:lnTo>
                  <a:lnTo>
                    <a:pt x="4" y="7"/>
                  </a:lnTo>
                  <a:lnTo>
                    <a:pt x="18" y="7"/>
                  </a:lnTo>
                  <a:lnTo>
                    <a:pt x="18" y="7"/>
                  </a:lnTo>
                  <a:lnTo>
                    <a:pt x="21" y="6"/>
                  </a:lnTo>
                  <a:lnTo>
                    <a:pt x="22" y="3"/>
                  </a:lnTo>
                  <a:lnTo>
                    <a:pt x="22" y="3"/>
                  </a:lnTo>
                  <a:lnTo>
                    <a:pt x="21" y="1"/>
                  </a:lnTo>
                  <a:lnTo>
                    <a:pt x="18" y="0"/>
                  </a:lnTo>
                  <a:lnTo>
                    <a:pt x="4" y="0"/>
                  </a:lnTo>
                  <a:lnTo>
                    <a:pt x="4" y="0"/>
                  </a:lnTo>
                  <a:lnTo>
                    <a:pt x="1" y="1"/>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7" name="Freeform 88"/>
            <p:cNvSpPr>
              <a:spLocks/>
            </p:cNvSpPr>
            <p:nvPr/>
          </p:nvSpPr>
          <p:spPr bwMode="auto">
            <a:xfrm>
              <a:off x="1908176" y="5394326"/>
              <a:ext cx="30163" cy="30163"/>
            </a:xfrm>
            <a:custGeom>
              <a:avLst/>
              <a:gdLst>
                <a:gd name="T0" fmla="*/ 15 w 19"/>
                <a:gd name="T1" fmla="*/ 19 h 19"/>
                <a:gd name="T2" fmla="*/ 15 w 19"/>
                <a:gd name="T3" fmla="*/ 19 h 19"/>
                <a:gd name="T4" fmla="*/ 18 w 19"/>
                <a:gd name="T5" fmla="*/ 18 h 19"/>
                <a:gd name="T6" fmla="*/ 18 w 19"/>
                <a:gd name="T7" fmla="*/ 18 h 19"/>
                <a:gd name="T8" fmla="*/ 19 w 19"/>
                <a:gd name="T9" fmla="*/ 15 h 19"/>
                <a:gd name="T10" fmla="*/ 18 w 19"/>
                <a:gd name="T11" fmla="*/ 12 h 19"/>
                <a:gd name="T12" fmla="*/ 7 w 19"/>
                <a:gd name="T13" fmla="*/ 1 h 19"/>
                <a:gd name="T14" fmla="*/ 7 w 19"/>
                <a:gd name="T15" fmla="*/ 1 h 19"/>
                <a:gd name="T16" fmla="*/ 4 w 19"/>
                <a:gd name="T17" fmla="*/ 0 h 19"/>
                <a:gd name="T18" fmla="*/ 1 w 19"/>
                <a:gd name="T19" fmla="*/ 1 h 19"/>
                <a:gd name="T20" fmla="*/ 1 w 19"/>
                <a:gd name="T21" fmla="*/ 1 h 19"/>
                <a:gd name="T22" fmla="*/ 0 w 19"/>
                <a:gd name="T23" fmla="*/ 4 h 19"/>
                <a:gd name="T24" fmla="*/ 1 w 19"/>
                <a:gd name="T25" fmla="*/ 6 h 19"/>
                <a:gd name="T26" fmla="*/ 12 w 19"/>
                <a:gd name="T27" fmla="*/ 18 h 19"/>
                <a:gd name="T28" fmla="*/ 12 w 19"/>
                <a:gd name="T29" fmla="*/ 18 h 19"/>
                <a:gd name="T30" fmla="*/ 15 w 19"/>
                <a:gd name="T31" fmla="*/ 19 h 19"/>
                <a:gd name="T32" fmla="*/ 15 w 19"/>
                <a:gd name="T3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19">
                  <a:moveTo>
                    <a:pt x="15" y="19"/>
                  </a:moveTo>
                  <a:lnTo>
                    <a:pt x="15" y="19"/>
                  </a:lnTo>
                  <a:lnTo>
                    <a:pt x="18" y="18"/>
                  </a:lnTo>
                  <a:lnTo>
                    <a:pt x="18" y="18"/>
                  </a:lnTo>
                  <a:lnTo>
                    <a:pt x="19" y="15"/>
                  </a:lnTo>
                  <a:lnTo>
                    <a:pt x="18" y="12"/>
                  </a:lnTo>
                  <a:lnTo>
                    <a:pt x="7" y="1"/>
                  </a:lnTo>
                  <a:lnTo>
                    <a:pt x="7" y="1"/>
                  </a:lnTo>
                  <a:lnTo>
                    <a:pt x="4" y="0"/>
                  </a:lnTo>
                  <a:lnTo>
                    <a:pt x="1" y="1"/>
                  </a:lnTo>
                  <a:lnTo>
                    <a:pt x="1" y="1"/>
                  </a:lnTo>
                  <a:lnTo>
                    <a:pt x="0" y="4"/>
                  </a:lnTo>
                  <a:lnTo>
                    <a:pt x="1" y="6"/>
                  </a:lnTo>
                  <a:lnTo>
                    <a:pt x="12" y="18"/>
                  </a:lnTo>
                  <a:lnTo>
                    <a:pt x="12" y="18"/>
                  </a:lnTo>
                  <a:lnTo>
                    <a:pt x="15" y="19"/>
                  </a:lnTo>
                  <a:lnTo>
                    <a:pt x="1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8" name="Freeform 89"/>
            <p:cNvSpPr>
              <a:spLocks/>
            </p:cNvSpPr>
            <p:nvPr/>
          </p:nvSpPr>
          <p:spPr bwMode="auto">
            <a:xfrm>
              <a:off x="2095501" y="5546726"/>
              <a:ext cx="28575" cy="30163"/>
            </a:xfrm>
            <a:custGeom>
              <a:avLst/>
              <a:gdLst>
                <a:gd name="T0" fmla="*/ 7 w 18"/>
                <a:gd name="T1" fmla="*/ 1 h 19"/>
                <a:gd name="T2" fmla="*/ 7 w 18"/>
                <a:gd name="T3" fmla="*/ 1 h 19"/>
                <a:gd name="T4" fmla="*/ 3 w 18"/>
                <a:gd name="T5" fmla="*/ 0 h 19"/>
                <a:gd name="T6" fmla="*/ 1 w 18"/>
                <a:gd name="T7" fmla="*/ 1 h 19"/>
                <a:gd name="T8" fmla="*/ 1 w 18"/>
                <a:gd name="T9" fmla="*/ 1 h 19"/>
                <a:gd name="T10" fmla="*/ 0 w 18"/>
                <a:gd name="T11" fmla="*/ 5 h 19"/>
                <a:gd name="T12" fmla="*/ 1 w 18"/>
                <a:gd name="T13" fmla="*/ 7 h 19"/>
                <a:gd name="T14" fmla="*/ 11 w 18"/>
                <a:gd name="T15" fmla="*/ 17 h 19"/>
                <a:gd name="T16" fmla="*/ 11 w 18"/>
                <a:gd name="T17" fmla="*/ 17 h 19"/>
                <a:gd name="T18" fmla="*/ 14 w 18"/>
                <a:gd name="T19" fmla="*/ 19 h 19"/>
                <a:gd name="T20" fmla="*/ 14 w 18"/>
                <a:gd name="T21" fmla="*/ 19 h 19"/>
                <a:gd name="T22" fmla="*/ 17 w 18"/>
                <a:gd name="T23" fmla="*/ 17 h 19"/>
                <a:gd name="T24" fmla="*/ 17 w 18"/>
                <a:gd name="T25" fmla="*/ 17 h 19"/>
                <a:gd name="T26" fmla="*/ 18 w 18"/>
                <a:gd name="T27" fmla="*/ 15 h 19"/>
                <a:gd name="T28" fmla="*/ 17 w 18"/>
                <a:gd name="T29" fmla="*/ 12 h 19"/>
                <a:gd name="T30" fmla="*/ 7 w 18"/>
                <a:gd name="T31"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9">
                  <a:moveTo>
                    <a:pt x="7" y="1"/>
                  </a:moveTo>
                  <a:lnTo>
                    <a:pt x="7" y="1"/>
                  </a:lnTo>
                  <a:lnTo>
                    <a:pt x="3" y="0"/>
                  </a:lnTo>
                  <a:lnTo>
                    <a:pt x="1" y="1"/>
                  </a:lnTo>
                  <a:lnTo>
                    <a:pt x="1" y="1"/>
                  </a:lnTo>
                  <a:lnTo>
                    <a:pt x="0" y="5"/>
                  </a:lnTo>
                  <a:lnTo>
                    <a:pt x="1" y="7"/>
                  </a:lnTo>
                  <a:lnTo>
                    <a:pt x="11" y="17"/>
                  </a:lnTo>
                  <a:lnTo>
                    <a:pt x="11" y="17"/>
                  </a:lnTo>
                  <a:lnTo>
                    <a:pt x="14" y="19"/>
                  </a:lnTo>
                  <a:lnTo>
                    <a:pt x="14" y="19"/>
                  </a:lnTo>
                  <a:lnTo>
                    <a:pt x="17" y="17"/>
                  </a:lnTo>
                  <a:lnTo>
                    <a:pt x="17" y="17"/>
                  </a:lnTo>
                  <a:lnTo>
                    <a:pt x="18" y="15"/>
                  </a:lnTo>
                  <a:lnTo>
                    <a:pt x="17" y="12"/>
                  </a:lnTo>
                  <a:lnTo>
                    <a:pt x="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9" name="Freeform 90"/>
            <p:cNvSpPr>
              <a:spLocks/>
            </p:cNvSpPr>
            <p:nvPr/>
          </p:nvSpPr>
          <p:spPr bwMode="auto">
            <a:xfrm>
              <a:off x="2087563" y="5389563"/>
              <a:ext cx="31750" cy="28575"/>
            </a:xfrm>
            <a:custGeom>
              <a:avLst/>
              <a:gdLst>
                <a:gd name="T0" fmla="*/ 19 w 20"/>
                <a:gd name="T1" fmla="*/ 5 h 18"/>
                <a:gd name="T2" fmla="*/ 19 w 20"/>
                <a:gd name="T3" fmla="*/ 5 h 18"/>
                <a:gd name="T4" fmla="*/ 20 w 20"/>
                <a:gd name="T5" fmla="*/ 3 h 18"/>
                <a:gd name="T6" fmla="*/ 19 w 20"/>
                <a:gd name="T7" fmla="*/ 1 h 18"/>
                <a:gd name="T8" fmla="*/ 19 w 20"/>
                <a:gd name="T9" fmla="*/ 1 h 18"/>
                <a:gd name="T10" fmla="*/ 15 w 20"/>
                <a:gd name="T11" fmla="*/ 0 h 18"/>
                <a:gd name="T12" fmla="*/ 13 w 20"/>
                <a:gd name="T13" fmla="*/ 1 h 18"/>
                <a:gd name="T14" fmla="*/ 1 w 20"/>
                <a:gd name="T15" fmla="*/ 11 h 18"/>
                <a:gd name="T16" fmla="*/ 1 w 20"/>
                <a:gd name="T17" fmla="*/ 11 h 18"/>
                <a:gd name="T18" fmla="*/ 0 w 20"/>
                <a:gd name="T19" fmla="*/ 15 h 18"/>
                <a:gd name="T20" fmla="*/ 1 w 20"/>
                <a:gd name="T21" fmla="*/ 17 h 18"/>
                <a:gd name="T22" fmla="*/ 1 w 20"/>
                <a:gd name="T23" fmla="*/ 17 h 18"/>
                <a:gd name="T24" fmla="*/ 5 w 20"/>
                <a:gd name="T25" fmla="*/ 18 h 18"/>
                <a:gd name="T26" fmla="*/ 5 w 20"/>
                <a:gd name="T27" fmla="*/ 18 h 18"/>
                <a:gd name="T28" fmla="*/ 7 w 20"/>
                <a:gd name="T29" fmla="*/ 17 h 18"/>
                <a:gd name="T30" fmla="*/ 19 w 20"/>
                <a:gd name="T31"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18">
                  <a:moveTo>
                    <a:pt x="19" y="5"/>
                  </a:moveTo>
                  <a:lnTo>
                    <a:pt x="19" y="5"/>
                  </a:lnTo>
                  <a:lnTo>
                    <a:pt x="20" y="3"/>
                  </a:lnTo>
                  <a:lnTo>
                    <a:pt x="19" y="1"/>
                  </a:lnTo>
                  <a:lnTo>
                    <a:pt x="19" y="1"/>
                  </a:lnTo>
                  <a:lnTo>
                    <a:pt x="15" y="0"/>
                  </a:lnTo>
                  <a:lnTo>
                    <a:pt x="13" y="1"/>
                  </a:lnTo>
                  <a:lnTo>
                    <a:pt x="1" y="11"/>
                  </a:lnTo>
                  <a:lnTo>
                    <a:pt x="1" y="11"/>
                  </a:lnTo>
                  <a:lnTo>
                    <a:pt x="0" y="15"/>
                  </a:lnTo>
                  <a:lnTo>
                    <a:pt x="1" y="17"/>
                  </a:lnTo>
                  <a:lnTo>
                    <a:pt x="1" y="17"/>
                  </a:lnTo>
                  <a:lnTo>
                    <a:pt x="5" y="18"/>
                  </a:lnTo>
                  <a:lnTo>
                    <a:pt x="5" y="18"/>
                  </a:lnTo>
                  <a:lnTo>
                    <a:pt x="7" y="17"/>
                  </a:lnTo>
                  <a:lnTo>
                    <a:pt x="1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30" name="Freeform 91"/>
            <p:cNvSpPr>
              <a:spLocks/>
            </p:cNvSpPr>
            <p:nvPr/>
          </p:nvSpPr>
          <p:spPr bwMode="auto">
            <a:xfrm>
              <a:off x="1912938" y="5551488"/>
              <a:ext cx="30163" cy="30163"/>
            </a:xfrm>
            <a:custGeom>
              <a:avLst/>
              <a:gdLst>
                <a:gd name="T0" fmla="*/ 12 w 19"/>
                <a:gd name="T1" fmla="*/ 2 h 19"/>
                <a:gd name="T2" fmla="*/ 1 w 19"/>
                <a:gd name="T3" fmla="*/ 12 h 19"/>
                <a:gd name="T4" fmla="*/ 1 w 19"/>
                <a:gd name="T5" fmla="*/ 12 h 19"/>
                <a:gd name="T6" fmla="*/ 0 w 19"/>
                <a:gd name="T7" fmla="*/ 16 h 19"/>
                <a:gd name="T8" fmla="*/ 1 w 19"/>
                <a:gd name="T9" fmla="*/ 18 h 19"/>
                <a:gd name="T10" fmla="*/ 1 w 19"/>
                <a:gd name="T11" fmla="*/ 18 h 19"/>
                <a:gd name="T12" fmla="*/ 5 w 19"/>
                <a:gd name="T13" fmla="*/ 19 h 19"/>
                <a:gd name="T14" fmla="*/ 5 w 19"/>
                <a:gd name="T15" fmla="*/ 19 h 19"/>
                <a:gd name="T16" fmla="*/ 7 w 19"/>
                <a:gd name="T17" fmla="*/ 18 h 19"/>
                <a:gd name="T18" fmla="*/ 18 w 19"/>
                <a:gd name="T19" fmla="*/ 7 h 19"/>
                <a:gd name="T20" fmla="*/ 18 w 19"/>
                <a:gd name="T21" fmla="*/ 7 h 19"/>
                <a:gd name="T22" fmla="*/ 19 w 19"/>
                <a:gd name="T23" fmla="*/ 5 h 19"/>
                <a:gd name="T24" fmla="*/ 18 w 19"/>
                <a:gd name="T25" fmla="*/ 2 h 19"/>
                <a:gd name="T26" fmla="*/ 18 w 19"/>
                <a:gd name="T27" fmla="*/ 2 h 19"/>
                <a:gd name="T28" fmla="*/ 15 w 19"/>
                <a:gd name="T29" fmla="*/ 0 h 19"/>
                <a:gd name="T30" fmla="*/ 12 w 19"/>
                <a:gd name="T31" fmla="*/ 2 h 19"/>
                <a:gd name="T32" fmla="*/ 12 w 19"/>
                <a:gd name="T33"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19">
                  <a:moveTo>
                    <a:pt x="12" y="2"/>
                  </a:moveTo>
                  <a:lnTo>
                    <a:pt x="1" y="12"/>
                  </a:lnTo>
                  <a:lnTo>
                    <a:pt x="1" y="12"/>
                  </a:lnTo>
                  <a:lnTo>
                    <a:pt x="0" y="16"/>
                  </a:lnTo>
                  <a:lnTo>
                    <a:pt x="1" y="18"/>
                  </a:lnTo>
                  <a:lnTo>
                    <a:pt x="1" y="18"/>
                  </a:lnTo>
                  <a:lnTo>
                    <a:pt x="5" y="19"/>
                  </a:lnTo>
                  <a:lnTo>
                    <a:pt x="5" y="19"/>
                  </a:lnTo>
                  <a:lnTo>
                    <a:pt x="7" y="18"/>
                  </a:lnTo>
                  <a:lnTo>
                    <a:pt x="18" y="7"/>
                  </a:lnTo>
                  <a:lnTo>
                    <a:pt x="18" y="7"/>
                  </a:lnTo>
                  <a:lnTo>
                    <a:pt x="19" y="5"/>
                  </a:lnTo>
                  <a:lnTo>
                    <a:pt x="18" y="2"/>
                  </a:lnTo>
                  <a:lnTo>
                    <a:pt x="18" y="2"/>
                  </a:lnTo>
                  <a:lnTo>
                    <a:pt x="15" y="0"/>
                  </a:lnTo>
                  <a:lnTo>
                    <a:pt x="12" y="2"/>
                  </a:lnTo>
                  <a:lnTo>
                    <a:pt x="1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31" name="Freeform 92"/>
            <p:cNvSpPr>
              <a:spLocks noEditPoints="1"/>
            </p:cNvSpPr>
            <p:nvPr/>
          </p:nvSpPr>
          <p:spPr bwMode="auto">
            <a:xfrm>
              <a:off x="1958976" y="5581651"/>
              <a:ext cx="114300" cy="46038"/>
            </a:xfrm>
            <a:custGeom>
              <a:avLst/>
              <a:gdLst>
                <a:gd name="T0" fmla="*/ 61 w 72"/>
                <a:gd name="T1" fmla="*/ 0 h 29"/>
                <a:gd name="T2" fmla="*/ 11 w 72"/>
                <a:gd name="T3" fmla="*/ 0 h 29"/>
                <a:gd name="T4" fmla="*/ 11 w 72"/>
                <a:gd name="T5" fmla="*/ 0 h 29"/>
                <a:gd name="T6" fmla="*/ 6 w 72"/>
                <a:gd name="T7" fmla="*/ 0 h 29"/>
                <a:gd name="T8" fmla="*/ 3 w 72"/>
                <a:gd name="T9" fmla="*/ 2 h 29"/>
                <a:gd name="T10" fmla="*/ 0 w 72"/>
                <a:gd name="T11" fmla="*/ 6 h 29"/>
                <a:gd name="T12" fmla="*/ 0 w 72"/>
                <a:gd name="T13" fmla="*/ 11 h 29"/>
                <a:gd name="T14" fmla="*/ 0 w 72"/>
                <a:gd name="T15" fmla="*/ 18 h 29"/>
                <a:gd name="T16" fmla="*/ 0 w 72"/>
                <a:gd name="T17" fmla="*/ 18 h 29"/>
                <a:gd name="T18" fmla="*/ 0 w 72"/>
                <a:gd name="T19" fmla="*/ 22 h 29"/>
                <a:gd name="T20" fmla="*/ 3 w 72"/>
                <a:gd name="T21" fmla="*/ 26 h 29"/>
                <a:gd name="T22" fmla="*/ 6 w 72"/>
                <a:gd name="T23" fmla="*/ 28 h 29"/>
                <a:gd name="T24" fmla="*/ 11 w 72"/>
                <a:gd name="T25" fmla="*/ 29 h 29"/>
                <a:gd name="T26" fmla="*/ 61 w 72"/>
                <a:gd name="T27" fmla="*/ 29 h 29"/>
                <a:gd name="T28" fmla="*/ 61 w 72"/>
                <a:gd name="T29" fmla="*/ 29 h 29"/>
                <a:gd name="T30" fmla="*/ 66 w 72"/>
                <a:gd name="T31" fmla="*/ 28 h 29"/>
                <a:gd name="T32" fmla="*/ 69 w 72"/>
                <a:gd name="T33" fmla="*/ 26 h 29"/>
                <a:gd name="T34" fmla="*/ 72 w 72"/>
                <a:gd name="T35" fmla="*/ 22 h 29"/>
                <a:gd name="T36" fmla="*/ 72 w 72"/>
                <a:gd name="T37" fmla="*/ 18 h 29"/>
                <a:gd name="T38" fmla="*/ 72 w 72"/>
                <a:gd name="T39" fmla="*/ 11 h 29"/>
                <a:gd name="T40" fmla="*/ 72 w 72"/>
                <a:gd name="T41" fmla="*/ 11 h 29"/>
                <a:gd name="T42" fmla="*/ 72 w 72"/>
                <a:gd name="T43" fmla="*/ 6 h 29"/>
                <a:gd name="T44" fmla="*/ 69 w 72"/>
                <a:gd name="T45" fmla="*/ 2 h 29"/>
                <a:gd name="T46" fmla="*/ 66 w 72"/>
                <a:gd name="T47" fmla="*/ 0 h 29"/>
                <a:gd name="T48" fmla="*/ 61 w 72"/>
                <a:gd name="T49" fmla="*/ 0 h 29"/>
                <a:gd name="T50" fmla="*/ 61 w 72"/>
                <a:gd name="T51" fmla="*/ 0 h 29"/>
                <a:gd name="T52" fmla="*/ 65 w 72"/>
                <a:gd name="T53" fmla="*/ 18 h 29"/>
                <a:gd name="T54" fmla="*/ 65 w 72"/>
                <a:gd name="T55" fmla="*/ 18 h 29"/>
                <a:gd name="T56" fmla="*/ 63 w 72"/>
                <a:gd name="T57" fmla="*/ 20 h 29"/>
                <a:gd name="T58" fmla="*/ 62 w 72"/>
                <a:gd name="T59" fmla="*/ 21 h 29"/>
                <a:gd name="T60" fmla="*/ 61 w 72"/>
                <a:gd name="T61" fmla="*/ 21 h 29"/>
                <a:gd name="T62" fmla="*/ 11 w 72"/>
                <a:gd name="T63" fmla="*/ 21 h 29"/>
                <a:gd name="T64" fmla="*/ 11 w 72"/>
                <a:gd name="T65" fmla="*/ 21 h 29"/>
                <a:gd name="T66" fmla="*/ 10 w 72"/>
                <a:gd name="T67" fmla="*/ 21 h 29"/>
                <a:gd name="T68" fmla="*/ 8 w 72"/>
                <a:gd name="T69" fmla="*/ 20 h 29"/>
                <a:gd name="T70" fmla="*/ 7 w 72"/>
                <a:gd name="T71" fmla="*/ 18 h 29"/>
                <a:gd name="T72" fmla="*/ 7 w 72"/>
                <a:gd name="T73" fmla="*/ 11 h 29"/>
                <a:gd name="T74" fmla="*/ 7 w 72"/>
                <a:gd name="T75" fmla="*/ 11 h 29"/>
                <a:gd name="T76" fmla="*/ 8 w 72"/>
                <a:gd name="T77" fmla="*/ 8 h 29"/>
                <a:gd name="T78" fmla="*/ 11 w 72"/>
                <a:gd name="T79" fmla="*/ 7 h 29"/>
                <a:gd name="T80" fmla="*/ 61 w 72"/>
                <a:gd name="T81" fmla="*/ 7 h 29"/>
                <a:gd name="T82" fmla="*/ 61 w 72"/>
                <a:gd name="T83" fmla="*/ 7 h 29"/>
                <a:gd name="T84" fmla="*/ 63 w 72"/>
                <a:gd name="T85" fmla="*/ 8 h 29"/>
                <a:gd name="T86" fmla="*/ 65 w 72"/>
                <a:gd name="T87" fmla="*/ 11 h 29"/>
                <a:gd name="T88" fmla="*/ 65 w 72"/>
                <a:gd name="T89" fmla="*/ 1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 h="29">
                  <a:moveTo>
                    <a:pt x="61" y="0"/>
                  </a:moveTo>
                  <a:lnTo>
                    <a:pt x="11" y="0"/>
                  </a:lnTo>
                  <a:lnTo>
                    <a:pt x="11" y="0"/>
                  </a:lnTo>
                  <a:lnTo>
                    <a:pt x="6" y="0"/>
                  </a:lnTo>
                  <a:lnTo>
                    <a:pt x="3" y="2"/>
                  </a:lnTo>
                  <a:lnTo>
                    <a:pt x="0" y="6"/>
                  </a:lnTo>
                  <a:lnTo>
                    <a:pt x="0" y="11"/>
                  </a:lnTo>
                  <a:lnTo>
                    <a:pt x="0" y="18"/>
                  </a:lnTo>
                  <a:lnTo>
                    <a:pt x="0" y="18"/>
                  </a:lnTo>
                  <a:lnTo>
                    <a:pt x="0" y="22"/>
                  </a:lnTo>
                  <a:lnTo>
                    <a:pt x="3" y="26"/>
                  </a:lnTo>
                  <a:lnTo>
                    <a:pt x="6" y="28"/>
                  </a:lnTo>
                  <a:lnTo>
                    <a:pt x="11" y="29"/>
                  </a:lnTo>
                  <a:lnTo>
                    <a:pt x="61" y="29"/>
                  </a:lnTo>
                  <a:lnTo>
                    <a:pt x="61" y="29"/>
                  </a:lnTo>
                  <a:lnTo>
                    <a:pt x="66" y="28"/>
                  </a:lnTo>
                  <a:lnTo>
                    <a:pt x="69" y="26"/>
                  </a:lnTo>
                  <a:lnTo>
                    <a:pt x="72" y="22"/>
                  </a:lnTo>
                  <a:lnTo>
                    <a:pt x="72" y="18"/>
                  </a:lnTo>
                  <a:lnTo>
                    <a:pt x="72" y="11"/>
                  </a:lnTo>
                  <a:lnTo>
                    <a:pt x="72" y="11"/>
                  </a:lnTo>
                  <a:lnTo>
                    <a:pt x="72" y="6"/>
                  </a:lnTo>
                  <a:lnTo>
                    <a:pt x="69" y="2"/>
                  </a:lnTo>
                  <a:lnTo>
                    <a:pt x="66" y="0"/>
                  </a:lnTo>
                  <a:lnTo>
                    <a:pt x="61" y="0"/>
                  </a:lnTo>
                  <a:lnTo>
                    <a:pt x="61" y="0"/>
                  </a:lnTo>
                  <a:close/>
                  <a:moveTo>
                    <a:pt x="65" y="18"/>
                  </a:moveTo>
                  <a:lnTo>
                    <a:pt x="65" y="18"/>
                  </a:lnTo>
                  <a:lnTo>
                    <a:pt x="63" y="20"/>
                  </a:lnTo>
                  <a:lnTo>
                    <a:pt x="62" y="21"/>
                  </a:lnTo>
                  <a:lnTo>
                    <a:pt x="61" y="21"/>
                  </a:lnTo>
                  <a:lnTo>
                    <a:pt x="11" y="21"/>
                  </a:lnTo>
                  <a:lnTo>
                    <a:pt x="11" y="21"/>
                  </a:lnTo>
                  <a:lnTo>
                    <a:pt x="10" y="21"/>
                  </a:lnTo>
                  <a:lnTo>
                    <a:pt x="8" y="20"/>
                  </a:lnTo>
                  <a:lnTo>
                    <a:pt x="7" y="18"/>
                  </a:lnTo>
                  <a:lnTo>
                    <a:pt x="7" y="11"/>
                  </a:lnTo>
                  <a:lnTo>
                    <a:pt x="7" y="11"/>
                  </a:lnTo>
                  <a:lnTo>
                    <a:pt x="8" y="8"/>
                  </a:lnTo>
                  <a:lnTo>
                    <a:pt x="11" y="7"/>
                  </a:lnTo>
                  <a:lnTo>
                    <a:pt x="61" y="7"/>
                  </a:lnTo>
                  <a:lnTo>
                    <a:pt x="61" y="7"/>
                  </a:lnTo>
                  <a:lnTo>
                    <a:pt x="63" y="8"/>
                  </a:lnTo>
                  <a:lnTo>
                    <a:pt x="65" y="11"/>
                  </a:lnTo>
                  <a:lnTo>
                    <a:pt x="6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32" name="Freeform 93"/>
            <p:cNvSpPr>
              <a:spLocks noEditPoints="1"/>
            </p:cNvSpPr>
            <p:nvPr/>
          </p:nvSpPr>
          <p:spPr bwMode="auto">
            <a:xfrm>
              <a:off x="1985963" y="5434013"/>
              <a:ext cx="87313" cy="87313"/>
            </a:xfrm>
            <a:custGeom>
              <a:avLst/>
              <a:gdLst>
                <a:gd name="T0" fmla="*/ 18 w 55"/>
                <a:gd name="T1" fmla="*/ 55 h 55"/>
                <a:gd name="T2" fmla="*/ 18 w 55"/>
                <a:gd name="T3" fmla="*/ 55 h 55"/>
                <a:gd name="T4" fmla="*/ 23 w 55"/>
                <a:gd name="T5" fmla="*/ 55 h 55"/>
                <a:gd name="T6" fmla="*/ 27 w 55"/>
                <a:gd name="T7" fmla="*/ 53 h 55"/>
                <a:gd name="T8" fmla="*/ 30 w 55"/>
                <a:gd name="T9" fmla="*/ 52 h 55"/>
                <a:gd name="T10" fmla="*/ 32 w 55"/>
                <a:gd name="T11" fmla="*/ 49 h 55"/>
                <a:gd name="T12" fmla="*/ 32 w 55"/>
                <a:gd name="T13" fmla="*/ 49 h 55"/>
                <a:gd name="T14" fmla="*/ 36 w 55"/>
                <a:gd name="T15" fmla="*/ 44 h 55"/>
                <a:gd name="T16" fmla="*/ 38 w 55"/>
                <a:gd name="T17" fmla="*/ 38 h 55"/>
                <a:gd name="T18" fmla="*/ 37 w 55"/>
                <a:gd name="T19" fmla="*/ 31 h 55"/>
                <a:gd name="T20" fmla="*/ 35 w 55"/>
                <a:gd name="T21" fmla="*/ 25 h 55"/>
                <a:gd name="T22" fmla="*/ 53 w 55"/>
                <a:gd name="T23" fmla="*/ 7 h 55"/>
                <a:gd name="T24" fmla="*/ 53 w 55"/>
                <a:gd name="T25" fmla="*/ 7 h 55"/>
                <a:gd name="T26" fmla="*/ 55 w 55"/>
                <a:gd name="T27" fmla="*/ 3 h 55"/>
                <a:gd name="T28" fmla="*/ 53 w 55"/>
                <a:gd name="T29" fmla="*/ 1 h 55"/>
                <a:gd name="T30" fmla="*/ 53 w 55"/>
                <a:gd name="T31" fmla="*/ 1 h 55"/>
                <a:gd name="T32" fmla="*/ 51 w 55"/>
                <a:gd name="T33" fmla="*/ 0 h 55"/>
                <a:gd name="T34" fmla="*/ 49 w 55"/>
                <a:gd name="T35" fmla="*/ 1 h 55"/>
                <a:gd name="T36" fmla="*/ 29 w 55"/>
                <a:gd name="T37" fmla="*/ 20 h 55"/>
                <a:gd name="T38" fmla="*/ 29 w 55"/>
                <a:gd name="T39" fmla="*/ 20 h 55"/>
                <a:gd name="T40" fmla="*/ 23 w 55"/>
                <a:gd name="T41" fmla="*/ 17 h 55"/>
                <a:gd name="T42" fmla="*/ 17 w 55"/>
                <a:gd name="T43" fmla="*/ 17 h 55"/>
                <a:gd name="T44" fmla="*/ 11 w 55"/>
                <a:gd name="T45" fmla="*/ 18 h 55"/>
                <a:gd name="T46" fmla="*/ 6 w 55"/>
                <a:gd name="T47" fmla="*/ 22 h 55"/>
                <a:gd name="T48" fmla="*/ 6 w 55"/>
                <a:gd name="T49" fmla="*/ 22 h 55"/>
                <a:gd name="T50" fmla="*/ 3 w 55"/>
                <a:gd name="T51" fmla="*/ 25 h 55"/>
                <a:gd name="T52" fmla="*/ 1 w 55"/>
                <a:gd name="T53" fmla="*/ 29 h 55"/>
                <a:gd name="T54" fmla="*/ 0 w 55"/>
                <a:gd name="T55" fmla="*/ 32 h 55"/>
                <a:gd name="T56" fmla="*/ 0 w 55"/>
                <a:gd name="T57" fmla="*/ 36 h 55"/>
                <a:gd name="T58" fmla="*/ 0 w 55"/>
                <a:gd name="T59" fmla="*/ 39 h 55"/>
                <a:gd name="T60" fmla="*/ 1 w 55"/>
                <a:gd name="T61" fmla="*/ 43 h 55"/>
                <a:gd name="T62" fmla="*/ 3 w 55"/>
                <a:gd name="T63" fmla="*/ 46 h 55"/>
                <a:gd name="T64" fmla="*/ 6 w 55"/>
                <a:gd name="T65" fmla="*/ 49 h 55"/>
                <a:gd name="T66" fmla="*/ 6 w 55"/>
                <a:gd name="T67" fmla="*/ 49 h 55"/>
                <a:gd name="T68" fmla="*/ 8 w 55"/>
                <a:gd name="T69" fmla="*/ 52 h 55"/>
                <a:gd name="T70" fmla="*/ 11 w 55"/>
                <a:gd name="T71" fmla="*/ 53 h 55"/>
                <a:gd name="T72" fmla="*/ 15 w 55"/>
                <a:gd name="T73" fmla="*/ 55 h 55"/>
                <a:gd name="T74" fmla="*/ 18 w 55"/>
                <a:gd name="T75" fmla="*/ 55 h 55"/>
                <a:gd name="T76" fmla="*/ 18 w 55"/>
                <a:gd name="T77" fmla="*/ 55 h 55"/>
                <a:gd name="T78" fmla="*/ 13 w 55"/>
                <a:gd name="T79" fmla="*/ 29 h 55"/>
                <a:gd name="T80" fmla="*/ 13 w 55"/>
                <a:gd name="T81" fmla="*/ 29 h 55"/>
                <a:gd name="T82" fmla="*/ 15 w 55"/>
                <a:gd name="T83" fmla="*/ 27 h 55"/>
                <a:gd name="T84" fmla="*/ 18 w 55"/>
                <a:gd name="T85" fmla="*/ 27 h 55"/>
                <a:gd name="T86" fmla="*/ 18 w 55"/>
                <a:gd name="T87" fmla="*/ 27 h 55"/>
                <a:gd name="T88" fmla="*/ 23 w 55"/>
                <a:gd name="T89" fmla="*/ 27 h 55"/>
                <a:gd name="T90" fmla="*/ 25 w 55"/>
                <a:gd name="T91" fmla="*/ 29 h 55"/>
                <a:gd name="T92" fmla="*/ 25 w 55"/>
                <a:gd name="T93" fmla="*/ 29 h 55"/>
                <a:gd name="T94" fmla="*/ 28 w 55"/>
                <a:gd name="T95" fmla="*/ 32 h 55"/>
                <a:gd name="T96" fmla="*/ 29 w 55"/>
                <a:gd name="T97" fmla="*/ 36 h 55"/>
                <a:gd name="T98" fmla="*/ 28 w 55"/>
                <a:gd name="T99" fmla="*/ 39 h 55"/>
                <a:gd name="T100" fmla="*/ 25 w 55"/>
                <a:gd name="T101" fmla="*/ 43 h 55"/>
                <a:gd name="T102" fmla="*/ 25 w 55"/>
                <a:gd name="T103" fmla="*/ 43 h 55"/>
                <a:gd name="T104" fmla="*/ 23 w 55"/>
                <a:gd name="T105" fmla="*/ 44 h 55"/>
                <a:gd name="T106" fmla="*/ 18 w 55"/>
                <a:gd name="T107" fmla="*/ 45 h 55"/>
                <a:gd name="T108" fmla="*/ 15 w 55"/>
                <a:gd name="T109" fmla="*/ 44 h 55"/>
                <a:gd name="T110" fmla="*/ 13 w 55"/>
                <a:gd name="T111" fmla="*/ 43 h 55"/>
                <a:gd name="T112" fmla="*/ 13 w 55"/>
                <a:gd name="T113" fmla="*/ 43 h 55"/>
                <a:gd name="T114" fmla="*/ 10 w 55"/>
                <a:gd name="T115" fmla="*/ 39 h 55"/>
                <a:gd name="T116" fmla="*/ 9 w 55"/>
                <a:gd name="T117" fmla="*/ 36 h 55"/>
                <a:gd name="T118" fmla="*/ 10 w 55"/>
                <a:gd name="T119" fmla="*/ 32 h 55"/>
                <a:gd name="T120" fmla="*/ 13 w 55"/>
                <a:gd name="T121" fmla="*/ 29 h 55"/>
                <a:gd name="T122" fmla="*/ 13 w 55"/>
                <a:gd name="T123"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 h="55">
                  <a:moveTo>
                    <a:pt x="18" y="55"/>
                  </a:moveTo>
                  <a:lnTo>
                    <a:pt x="18" y="55"/>
                  </a:lnTo>
                  <a:lnTo>
                    <a:pt x="23" y="55"/>
                  </a:lnTo>
                  <a:lnTo>
                    <a:pt x="27" y="53"/>
                  </a:lnTo>
                  <a:lnTo>
                    <a:pt x="30" y="52"/>
                  </a:lnTo>
                  <a:lnTo>
                    <a:pt x="32" y="49"/>
                  </a:lnTo>
                  <a:lnTo>
                    <a:pt x="32" y="49"/>
                  </a:lnTo>
                  <a:lnTo>
                    <a:pt x="36" y="44"/>
                  </a:lnTo>
                  <a:lnTo>
                    <a:pt x="38" y="38"/>
                  </a:lnTo>
                  <a:lnTo>
                    <a:pt x="37" y="31"/>
                  </a:lnTo>
                  <a:lnTo>
                    <a:pt x="35" y="25"/>
                  </a:lnTo>
                  <a:lnTo>
                    <a:pt x="53" y="7"/>
                  </a:lnTo>
                  <a:lnTo>
                    <a:pt x="53" y="7"/>
                  </a:lnTo>
                  <a:lnTo>
                    <a:pt x="55" y="3"/>
                  </a:lnTo>
                  <a:lnTo>
                    <a:pt x="53" y="1"/>
                  </a:lnTo>
                  <a:lnTo>
                    <a:pt x="53" y="1"/>
                  </a:lnTo>
                  <a:lnTo>
                    <a:pt x="51" y="0"/>
                  </a:lnTo>
                  <a:lnTo>
                    <a:pt x="49" y="1"/>
                  </a:lnTo>
                  <a:lnTo>
                    <a:pt x="29" y="20"/>
                  </a:lnTo>
                  <a:lnTo>
                    <a:pt x="29" y="20"/>
                  </a:lnTo>
                  <a:lnTo>
                    <a:pt x="23" y="17"/>
                  </a:lnTo>
                  <a:lnTo>
                    <a:pt x="17" y="17"/>
                  </a:lnTo>
                  <a:lnTo>
                    <a:pt x="11" y="18"/>
                  </a:lnTo>
                  <a:lnTo>
                    <a:pt x="6" y="22"/>
                  </a:lnTo>
                  <a:lnTo>
                    <a:pt x="6" y="22"/>
                  </a:lnTo>
                  <a:lnTo>
                    <a:pt x="3" y="25"/>
                  </a:lnTo>
                  <a:lnTo>
                    <a:pt x="1" y="29"/>
                  </a:lnTo>
                  <a:lnTo>
                    <a:pt x="0" y="32"/>
                  </a:lnTo>
                  <a:lnTo>
                    <a:pt x="0" y="36"/>
                  </a:lnTo>
                  <a:lnTo>
                    <a:pt x="0" y="39"/>
                  </a:lnTo>
                  <a:lnTo>
                    <a:pt x="1" y="43"/>
                  </a:lnTo>
                  <a:lnTo>
                    <a:pt x="3" y="46"/>
                  </a:lnTo>
                  <a:lnTo>
                    <a:pt x="6" y="49"/>
                  </a:lnTo>
                  <a:lnTo>
                    <a:pt x="6" y="49"/>
                  </a:lnTo>
                  <a:lnTo>
                    <a:pt x="8" y="52"/>
                  </a:lnTo>
                  <a:lnTo>
                    <a:pt x="11" y="53"/>
                  </a:lnTo>
                  <a:lnTo>
                    <a:pt x="15" y="55"/>
                  </a:lnTo>
                  <a:lnTo>
                    <a:pt x="18" y="55"/>
                  </a:lnTo>
                  <a:lnTo>
                    <a:pt x="18" y="55"/>
                  </a:lnTo>
                  <a:close/>
                  <a:moveTo>
                    <a:pt x="13" y="29"/>
                  </a:moveTo>
                  <a:lnTo>
                    <a:pt x="13" y="29"/>
                  </a:lnTo>
                  <a:lnTo>
                    <a:pt x="15" y="27"/>
                  </a:lnTo>
                  <a:lnTo>
                    <a:pt x="18" y="27"/>
                  </a:lnTo>
                  <a:lnTo>
                    <a:pt x="18" y="27"/>
                  </a:lnTo>
                  <a:lnTo>
                    <a:pt x="23" y="27"/>
                  </a:lnTo>
                  <a:lnTo>
                    <a:pt x="25" y="29"/>
                  </a:lnTo>
                  <a:lnTo>
                    <a:pt x="25" y="29"/>
                  </a:lnTo>
                  <a:lnTo>
                    <a:pt x="28" y="32"/>
                  </a:lnTo>
                  <a:lnTo>
                    <a:pt x="29" y="36"/>
                  </a:lnTo>
                  <a:lnTo>
                    <a:pt x="28" y="39"/>
                  </a:lnTo>
                  <a:lnTo>
                    <a:pt x="25" y="43"/>
                  </a:lnTo>
                  <a:lnTo>
                    <a:pt x="25" y="43"/>
                  </a:lnTo>
                  <a:lnTo>
                    <a:pt x="23" y="44"/>
                  </a:lnTo>
                  <a:lnTo>
                    <a:pt x="18" y="45"/>
                  </a:lnTo>
                  <a:lnTo>
                    <a:pt x="15" y="44"/>
                  </a:lnTo>
                  <a:lnTo>
                    <a:pt x="13" y="43"/>
                  </a:lnTo>
                  <a:lnTo>
                    <a:pt x="13" y="43"/>
                  </a:lnTo>
                  <a:lnTo>
                    <a:pt x="10" y="39"/>
                  </a:lnTo>
                  <a:lnTo>
                    <a:pt x="9" y="36"/>
                  </a:lnTo>
                  <a:lnTo>
                    <a:pt x="10" y="32"/>
                  </a:lnTo>
                  <a:lnTo>
                    <a:pt x="13" y="29"/>
                  </a:lnTo>
                  <a:lnTo>
                    <a:pt x="13"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grpSp>
      <p:sp>
        <p:nvSpPr>
          <p:cNvPr id="33" name="Freeform 98"/>
          <p:cNvSpPr>
            <a:spLocks noEditPoints="1"/>
          </p:cNvSpPr>
          <p:nvPr/>
        </p:nvSpPr>
        <p:spPr bwMode="auto">
          <a:xfrm>
            <a:off x="2578559" y="5059535"/>
            <a:ext cx="356622" cy="271938"/>
          </a:xfrm>
          <a:custGeom>
            <a:avLst/>
            <a:gdLst>
              <a:gd name="T0" fmla="*/ 265 w 299"/>
              <a:gd name="T1" fmla="*/ 113 h 228"/>
              <a:gd name="T2" fmla="*/ 254 w 299"/>
              <a:gd name="T3" fmla="*/ 113 h 228"/>
              <a:gd name="T4" fmla="*/ 250 w 299"/>
              <a:gd name="T5" fmla="*/ 93 h 228"/>
              <a:gd name="T6" fmla="*/ 215 w 299"/>
              <a:gd name="T7" fmla="*/ 60 h 228"/>
              <a:gd name="T8" fmla="*/ 148 w 299"/>
              <a:gd name="T9" fmla="*/ 5 h 228"/>
              <a:gd name="T10" fmla="*/ 70 w 299"/>
              <a:gd name="T11" fmla="*/ 8 h 228"/>
              <a:gd name="T12" fmla="*/ 9 w 299"/>
              <a:gd name="T13" fmla="*/ 69 h 228"/>
              <a:gd name="T14" fmla="*/ 4 w 299"/>
              <a:gd name="T15" fmla="*/ 147 h 228"/>
              <a:gd name="T16" fmla="*/ 59 w 299"/>
              <a:gd name="T17" fmla="*/ 214 h 228"/>
              <a:gd name="T18" fmla="*/ 136 w 299"/>
              <a:gd name="T19" fmla="*/ 225 h 228"/>
              <a:gd name="T20" fmla="*/ 205 w 299"/>
              <a:gd name="T21" fmla="*/ 181 h 228"/>
              <a:gd name="T22" fmla="*/ 250 w 299"/>
              <a:gd name="T23" fmla="*/ 141 h 228"/>
              <a:gd name="T24" fmla="*/ 256 w 299"/>
              <a:gd name="T25" fmla="*/ 137 h 228"/>
              <a:gd name="T26" fmla="*/ 277 w 299"/>
              <a:gd name="T27" fmla="*/ 141 h 228"/>
              <a:gd name="T28" fmla="*/ 293 w 299"/>
              <a:gd name="T29" fmla="*/ 141 h 228"/>
              <a:gd name="T30" fmla="*/ 299 w 299"/>
              <a:gd name="T31" fmla="*/ 137 h 228"/>
              <a:gd name="T32" fmla="*/ 114 w 299"/>
              <a:gd name="T33" fmla="*/ 221 h 228"/>
              <a:gd name="T34" fmla="*/ 38 w 299"/>
              <a:gd name="T35" fmla="*/ 189 h 228"/>
              <a:gd name="T36" fmla="*/ 7 w 299"/>
              <a:gd name="T37" fmla="*/ 113 h 228"/>
              <a:gd name="T38" fmla="*/ 31 w 299"/>
              <a:gd name="T39" fmla="*/ 45 h 228"/>
              <a:gd name="T40" fmla="*/ 102 w 299"/>
              <a:gd name="T41" fmla="*/ 7 h 228"/>
              <a:gd name="T42" fmla="*/ 174 w 299"/>
              <a:gd name="T43" fmla="*/ 24 h 228"/>
              <a:gd name="T44" fmla="*/ 218 w 299"/>
              <a:gd name="T45" fmla="*/ 92 h 228"/>
              <a:gd name="T46" fmla="*/ 192 w 299"/>
              <a:gd name="T47" fmla="*/ 81 h 228"/>
              <a:gd name="T48" fmla="*/ 147 w 299"/>
              <a:gd name="T49" fmla="*/ 35 h 228"/>
              <a:gd name="T50" fmla="*/ 88 w 299"/>
              <a:gd name="T51" fmla="*/ 31 h 228"/>
              <a:gd name="T52" fmla="*/ 38 w 299"/>
              <a:gd name="T53" fmla="*/ 72 h 228"/>
              <a:gd name="T54" fmla="*/ 30 w 299"/>
              <a:gd name="T55" fmla="*/ 131 h 228"/>
              <a:gd name="T56" fmla="*/ 66 w 299"/>
              <a:gd name="T57" fmla="*/ 185 h 228"/>
              <a:gd name="T58" fmla="*/ 122 w 299"/>
              <a:gd name="T59" fmla="*/ 199 h 228"/>
              <a:gd name="T60" fmla="*/ 177 w 299"/>
              <a:gd name="T61" fmla="*/ 171 h 228"/>
              <a:gd name="T62" fmla="*/ 220 w 299"/>
              <a:gd name="T63" fmla="*/ 121 h 228"/>
              <a:gd name="T64" fmla="*/ 194 w 299"/>
              <a:gd name="T65" fmla="*/ 185 h 228"/>
              <a:gd name="T66" fmla="*/ 125 w 299"/>
              <a:gd name="T67" fmla="*/ 221 h 228"/>
              <a:gd name="T68" fmla="*/ 154 w 299"/>
              <a:gd name="T69" fmla="*/ 74 h 228"/>
              <a:gd name="T70" fmla="*/ 81 w 299"/>
              <a:gd name="T71" fmla="*/ 67 h 228"/>
              <a:gd name="T72" fmla="*/ 61 w 299"/>
              <a:gd name="T73" fmla="*/ 135 h 228"/>
              <a:gd name="T74" fmla="*/ 125 w 299"/>
              <a:gd name="T75" fmla="*/ 169 h 228"/>
              <a:gd name="T76" fmla="*/ 192 w 299"/>
              <a:gd name="T77" fmla="*/ 121 h 228"/>
              <a:gd name="T78" fmla="*/ 142 w 299"/>
              <a:gd name="T79" fmla="*/ 187 h 228"/>
              <a:gd name="T80" fmla="*/ 84 w 299"/>
              <a:gd name="T81" fmla="*/ 186 h 228"/>
              <a:gd name="T82" fmla="*/ 42 w 299"/>
              <a:gd name="T83" fmla="*/ 144 h 228"/>
              <a:gd name="T84" fmla="*/ 38 w 299"/>
              <a:gd name="T85" fmla="*/ 90 h 228"/>
              <a:gd name="T86" fmla="*/ 77 w 299"/>
              <a:gd name="T87" fmla="*/ 44 h 228"/>
              <a:gd name="T88" fmla="*/ 129 w 299"/>
              <a:gd name="T89" fmla="*/ 36 h 228"/>
              <a:gd name="T90" fmla="*/ 178 w 299"/>
              <a:gd name="T91" fmla="*/ 70 h 228"/>
              <a:gd name="T92" fmla="*/ 142 w 299"/>
              <a:gd name="T93" fmla="*/ 113 h 228"/>
              <a:gd name="T94" fmla="*/ 120 w 299"/>
              <a:gd name="T95" fmla="*/ 85 h 228"/>
              <a:gd name="T96" fmla="*/ 87 w 299"/>
              <a:gd name="T97" fmla="*/ 103 h 228"/>
              <a:gd name="T98" fmla="*/ 98 w 299"/>
              <a:gd name="T99" fmla="*/ 138 h 228"/>
              <a:gd name="T100" fmla="*/ 132 w 299"/>
              <a:gd name="T101" fmla="*/ 137 h 228"/>
              <a:gd name="T102" fmla="*/ 157 w 299"/>
              <a:gd name="T103" fmla="*/ 138 h 228"/>
              <a:gd name="T104" fmla="*/ 104 w 299"/>
              <a:gd name="T105" fmla="*/ 162 h 228"/>
              <a:gd name="T106" fmla="*/ 64 w 299"/>
              <a:gd name="T107" fmla="*/ 113 h 228"/>
              <a:gd name="T108" fmla="*/ 114 w 299"/>
              <a:gd name="T109" fmla="*/ 64 h 228"/>
              <a:gd name="T110" fmla="*/ 163 w 299"/>
              <a:gd name="T111" fmla="*/ 104 h 228"/>
              <a:gd name="T112" fmla="*/ 120 w 299"/>
              <a:gd name="T113" fmla="*/ 134 h 228"/>
              <a:gd name="T114" fmla="*/ 94 w 299"/>
              <a:gd name="T115" fmla="*/ 121 h 228"/>
              <a:gd name="T116" fmla="*/ 101 w 299"/>
              <a:gd name="T117" fmla="*/ 96 h 228"/>
              <a:gd name="T118" fmla="*/ 129 w 299"/>
              <a:gd name="T119" fmla="*/ 98 h 228"/>
              <a:gd name="T120" fmla="*/ 113 w 299"/>
              <a:gd name="T121" fmla="*/ 11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9" h="228">
                <a:moveTo>
                  <a:pt x="298" y="93"/>
                </a:moveTo>
                <a:lnTo>
                  <a:pt x="298" y="93"/>
                </a:lnTo>
                <a:lnTo>
                  <a:pt x="295" y="92"/>
                </a:lnTo>
                <a:lnTo>
                  <a:pt x="293" y="93"/>
                </a:lnTo>
                <a:lnTo>
                  <a:pt x="275" y="113"/>
                </a:lnTo>
                <a:lnTo>
                  <a:pt x="275" y="113"/>
                </a:lnTo>
                <a:lnTo>
                  <a:pt x="274" y="113"/>
                </a:lnTo>
                <a:lnTo>
                  <a:pt x="265" y="113"/>
                </a:lnTo>
                <a:lnTo>
                  <a:pt x="277" y="98"/>
                </a:lnTo>
                <a:lnTo>
                  <a:pt x="277" y="98"/>
                </a:lnTo>
                <a:lnTo>
                  <a:pt x="278" y="96"/>
                </a:lnTo>
                <a:lnTo>
                  <a:pt x="277" y="93"/>
                </a:lnTo>
                <a:lnTo>
                  <a:pt x="277" y="93"/>
                </a:lnTo>
                <a:lnTo>
                  <a:pt x="274" y="92"/>
                </a:lnTo>
                <a:lnTo>
                  <a:pt x="271" y="93"/>
                </a:lnTo>
                <a:lnTo>
                  <a:pt x="254" y="113"/>
                </a:lnTo>
                <a:lnTo>
                  <a:pt x="243" y="113"/>
                </a:lnTo>
                <a:lnTo>
                  <a:pt x="256" y="98"/>
                </a:lnTo>
                <a:lnTo>
                  <a:pt x="256" y="98"/>
                </a:lnTo>
                <a:lnTo>
                  <a:pt x="257" y="96"/>
                </a:lnTo>
                <a:lnTo>
                  <a:pt x="256" y="93"/>
                </a:lnTo>
                <a:lnTo>
                  <a:pt x="256" y="93"/>
                </a:lnTo>
                <a:lnTo>
                  <a:pt x="253" y="92"/>
                </a:lnTo>
                <a:lnTo>
                  <a:pt x="250" y="93"/>
                </a:lnTo>
                <a:lnTo>
                  <a:pt x="233" y="113"/>
                </a:lnTo>
                <a:lnTo>
                  <a:pt x="227" y="113"/>
                </a:lnTo>
                <a:lnTo>
                  <a:pt x="227" y="113"/>
                </a:lnTo>
                <a:lnTo>
                  <a:pt x="227" y="102"/>
                </a:lnTo>
                <a:lnTo>
                  <a:pt x="225" y="90"/>
                </a:lnTo>
                <a:lnTo>
                  <a:pt x="223" y="79"/>
                </a:lnTo>
                <a:lnTo>
                  <a:pt x="219" y="69"/>
                </a:lnTo>
                <a:lnTo>
                  <a:pt x="215" y="60"/>
                </a:lnTo>
                <a:lnTo>
                  <a:pt x="209" y="50"/>
                </a:lnTo>
                <a:lnTo>
                  <a:pt x="202" y="41"/>
                </a:lnTo>
                <a:lnTo>
                  <a:pt x="195" y="33"/>
                </a:lnTo>
                <a:lnTo>
                  <a:pt x="187" y="26"/>
                </a:lnTo>
                <a:lnTo>
                  <a:pt x="177" y="19"/>
                </a:lnTo>
                <a:lnTo>
                  <a:pt x="168" y="13"/>
                </a:lnTo>
                <a:lnTo>
                  <a:pt x="158" y="8"/>
                </a:lnTo>
                <a:lnTo>
                  <a:pt x="148" y="5"/>
                </a:lnTo>
                <a:lnTo>
                  <a:pt x="136" y="2"/>
                </a:lnTo>
                <a:lnTo>
                  <a:pt x="126" y="0"/>
                </a:lnTo>
                <a:lnTo>
                  <a:pt x="114" y="0"/>
                </a:lnTo>
                <a:lnTo>
                  <a:pt x="114" y="0"/>
                </a:lnTo>
                <a:lnTo>
                  <a:pt x="102" y="0"/>
                </a:lnTo>
                <a:lnTo>
                  <a:pt x="91" y="2"/>
                </a:lnTo>
                <a:lnTo>
                  <a:pt x="80" y="5"/>
                </a:lnTo>
                <a:lnTo>
                  <a:pt x="70" y="8"/>
                </a:lnTo>
                <a:lnTo>
                  <a:pt x="59" y="13"/>
                </a:lnTo>
                <a:lnTo>
                  <a:pt x="50" y="19"/>
                </a:lnTo>
                <a:lnTo>
                  <a:pt x="42" y="26"/>
                </a:lnTo>
                <a:lnTo>
                  <a:pt x="33" y="33"/>
                </a:lnTo>
                <a:lnTo>
                  <a:pt x="25" y="41"/>
                </a:lnTo>
                <a:lnTo>
                  <a:pt x="19" y="50"/>
                </a:lnTo>
                <a:lnTo>
                  <a:pt x="14" y="60"/>
                </a:lnTo>
                <a:lnTo>
                  <a:pt x="9" y="69"/>
                </a:lnTo>
                <a:lnTo>
                  <a:pt x="4" y="79"/>
                </a:lnTo>
                <a:lnTo>
                  <a:pt x="2" y="91"/>
                </a:lnTo>
                <a:lnTo>
                  <a:pt x="0" y="102"/>
                </a:lnTo>
                <a:lnTo>
                  <a:pt x="0" y="113"/>
                </a:lnTo>
                <a:lnTo>
                  <a:pt x="0" y="113"/>
                </a:lnTo>
                <a:lnTo>
                  <a:pt x="0" y="125"/>
                </a:lnTo>
                <a:lnTo>
                  <a:pt x="2" y="137"/>
                </a:lnTo>
                <a:lnTo>
                  <a:pt x="4" y="147"/>
                </a:lnTo>
                <a:lnTo>
                  <a:pt x="9" y="158"/>
                </a:lnTo>
                <a:lnTo>
                  <a:pt x="14" y="168"/>
                </a:lnTo>
                <a:lnTo>
                  <a:pt x="19" y="178"/>
                </a:lnTo>
                <a:lnTo>
                  <a:pt x="25" y="186"/>
                </a:lnTo>
                <a:lnTo>
                  <a:pt x="33" y="194"/>
                </a:lnTo>
                <a:lnTo>
                  <a:pt x="42" y="202"/>
                </a:lnTo>
                <a:lnTo>
                  <a:pt x="50" y="208"/>
                </a:lnTo>
                <a:lnTo>
                  <a:pt x="59" y="214"/>
                </a:lnTo>
                <a:lnTo>
                  <a:pt x="70" y="218"/>
                </a:lnTo>
                <a:lnTo>
                  <a:pt x="80" y="223"/>
                </a:lnTo>
                <a:lnTo>
                  <a:pt x="91" y="225"/>
                </a:lnTo>
                <a:lnTo>
                  <a:pt x="102" y="228"/>
                </a:lnTo>
                <a:lnTo>
                  <a:pt x="114" y="228"/>
                </a:lnTo>
                <a:lnTo>
                  <a:pt x="114" y="228"/>
                </a:lnTo>
                <a:lnTo>
                  <a:pt x="125" y="228"/>
                </a:lnTo>
                <a:lnTo>
                  <a:pt x="136" y="225"/>
                </a:lnTo>
                <a:lnTo>
                  <a:pt x="147" y="223"/>
                </a:lnTo>
                <a:lnTo>
                  <a:pt x="156" y="220"/>
                </a:lnTo>
                <a:lnTo>
                  <a:pt x="167" y="215"/>
                </a:lnTo>
                <a:lnTo>
                  <a:pt x="175" y="210"/>
                </a:lnTo>
                <a:lnTo>
                  <a:pt x="184" y="203"/>
                </a:lnTo>
                <a:lnTo>
                  <a:pt x="192" y="196"/>
                </a:lnTo>
                <a:lnTo>
                  <a:pt x="199" y="189"/>
                </a:lnTo>
                <a:lnTo>
                  <a:pt x="205" y="181"/>
                </a:lnTo>
                <a:lnTo>
                  <a:pt x="211" y="172"/>
                </a:lnTo>
                <a:lnTo>
                  <a:pt x="217" y="162"/>
                </a:lnTo>
                <a:lnTo>
                  <a:pt x="220" y="153"/>
                </a:lnTo>
                <a:lnTo>
                  <a:pt x="224" y="142"/>
                </a:lnTo>
                <a:lnTo>
                  <a:pt x="226" y="132"/>
                </a:lnTo>
                <a:lnTo>
                  <a:pt x="227" y="121"/>
                </a:lnTo>
                <a:lnTo>
                  <a:pt x="233" y="121"/>
                </a:lnTo>
                <a:lnTo>
                  <a:pt x="250" y="141"/>
                </a:lnTo>
                <a:lnTo>
                  <a:pt x="250" y="141"/>
                </a:lnTo>
                <a:lnTo>
                  <a:pt x="251" y="142"/>
                </a:lnTo>
                <a:lnTo>
                  <a:pt x="253" y="142"/>
                </a:lnTo>
                <a:lnTo>
                  <a:pt x="253" y="142"/>
                </a:lnTo>
                <a:lnTo>
                  <a:pt x="256" y="141"/>
                </a:lnTo>
                <a:lnTo>
                  <a:pt x="256" y="141"/>
                </a:lnTo>
                <a:lnTo>
                  <a:pt x="257" y="139"/>
                </a:lnTo>
                <a:lnTo>
                  <a:pt x="256" y="137"/>
                </a:lnTo>
                <a:lnTo>
                  <a:pt x="243" y="121"/>
                </a:lnTo>
                <a:lnTo>
                  <a:pt x="254" y="121"/>
                </a:lnTo>
                <a:lnTo>
                  <a:pt x="271" y="141"/>
                </a:lnTo>
                <a:lnTo>
                  <a:pt x="271" y="141"/>
                </a:lnTo>
                <a:lnTo>
                  <a:pt x="273" y="142"/>
                </a:lnTo>
                <a:lnTo>
                  <a:pt x="274" y="142"/>
                </a:lnTo>
                <a:lnTo>
                  <a:pt x="274" y="142"/>
                </a:lnTo>
                <a:lnTo>
                  <a:pt x="277" y="141"/>
                </a:lnTo>
                <a:lnTo>
                  <a:pt x="277" y="141"/>
                </a:lnTo>
                <a:lnTo>
                  <a:pt x="278" y="139"/>
                </a:lnTo>
                <a:lnTo>
                  <a:pt x="277" y="137"/>
                </a:lnTo>
                <a:lnTo>
                  <a:pt x="265" y="121"/>
                </a:lnTo>
                <a:lnTo>
                  <a:pt x="274" y="121"/>
                </a:lnTo>
                <a:lnTo>
                  <a:pt x="274" y="121"/>
                </a:lnTo>
                <a:lnTo>
                  <a:pt x="275" y="120"/>
                </a:lnTo>
                <a:lnTo>
                  <a:pt x="293" y="141"/>
                </a:lnTo>
                <a:lnTo>
                  <a:pt x="293" y="141"/>
                </a:lnTo>
                <a:lnTo>
                  <a:pt x="294" y="142"/>
                </a:lnTo>
                <a:lnTo>
                  <a:pt x="295" y="142"/>
                </a:lnTo>
                <a:lnTo>
                  <a:pt x="295" y="142"/>
                </a:lnTo>
                <a:lnTo>
                  <a:pt x="298" y="141"/>
                </a:lnTo>
                <a:lnTo>
                  <a:pt x="298" y="141"/>
                </a:lnTo>
                <a:lnTo>
                  <a:pt x="299" y="139"/>
                </a:lnTo>
                <a:lnTo>
                  <a:pt x="299" y="137"/>
                </a:lnTo>
                <a:lnTo>
                  <a:pt x="282" y="117"/>
                </a:lnTo>
                <a:lnTo>
                  <a:pt x="299" y="98"/>
                </a:lnTo>
                <a:lnTo>
                  <a:pt x="299" y="98"/>
                </a:lnTo>
                <a:lnTo>
                  <a:pt x="299" y="96"/>
                </a:lnTo>
                <a:lnTo>
                  <a:pt x="298" y="93"/>
                </a:lnTo>
                <a:lnTo>
                  <a:pt x="298" y="93"/>
                </a:lnTo>
                <a:close/>
                <a:moveTo>
                  <a:pt x="114" y="221"/>
                </a:moveTo>
                <a:lnTo>
                  <a:pt x="114" y="221"/>
                </a:lnTo>
                <a:lnTo>
                  <a:pt x="102" y="220"/>
                </a:lnTo>
                <a:lnTo>
                  <a:pt x="92" y="218"/>
                </a:lnTo>
                <a:lnTo>
                  <a:pt x="81" y="216"/>
                </a:lnTo>
                <a:lnTo>
                  <a:pt x="72" y="213"/>
                </a:lnTo>
                <a:lnTo>
                  <a:pt x="63" y="208"/>
                </a:lnTo>
                <a:lnTo>
                  <a:pt x="53" y="202"/>
                </a:lnTo>
                <a:lnTo>
                  <a:pt x="45" y="196"/>
                </a:lnTo>
                <a:lnTo>
                  <a:pt x="38" y="189"/>
                </a:lnTo>
                <a:lnTo>
                  <a:pt x="31" y="182"/>
                </a:lnTo>
                <a:lnTo>
                  <a:pt x="25" y="174"/>
                </a:lnTo>
                <a:lnTo>
                  <a:pt x="19" y="165"/>
                </a:lnTo>
                <a:lnTo>
                  <a:pt x="15" y="155"/>
                </a:lnTo>
                <a:lnTo>
                  <a:pt x="11" y="146"/>
                </a:lnTo>
                <a:lnTo>
                  <a:pt x="9" y="135"/>
                </a:lnTo>
                <a:lnTo>
                  <a:pt x="8" y="125"/>
                </a:lnTo>
                <a:lnTo>
                  <a:pt x="7" y="113"/>
                </a:lnTo>
                <a:lnTo>
                  <a:pt x="7" y="113"/>
                </a:lnTo>
                <a:lnTo>
                  <a:pt x="8" y="103"/>
                </a:lnTo>
                <a:lnTo>
                  <a:pt x="9" y="92"/>
                </a:lnTo>
                <a:lnTo>
                  <a:pt x="11" y="82"/>
                </a:lnTo>
                <a:lnTo>
                  <a:pt x="15" y="72"/>
                </a:lnTo>
                <a:lnTo>
                  <a:pt x="19" y="63"/>
                </a:lnTo>
                <a:lnTo>
                  <a:pt x="25" y="54"/>
                </a:lnTo>
                <a:lnTo>
                  <a:pt x="31" y="45"/>
                </a:lnTo>
                <a:lnTo>
                  <a:pt x="38" y="38"/>
                </a:lnTo>
                <a:lnTo>
                  <a:pt x="45" y="31"/>
                </a:lnTo>
                <a:lnTo>
                  <a:pt x="53" y="24"/>
                </a:lnTo>
                <a:lnTo>
                  <a:pt x="63" y="20"/>
                </a:lnTo>
                <a:lnTo>
                  <a:pt x="72" y="15"/>
                </a:lnTo>
                <a:lnTo>
                  <a:pt x="81" y="12"/>
                </a:lnTo>
                <a:lnTo>
                  <a:pt x="92" y="9"/>
                </a:lnTo>
                <a:lnTo>
                  <a:pt x="102" y="7"/>
                </a:lnTo>
                <a:lnTo>
                  <a:pt x="114" y="7"/>
                </a:lnTo>
                <a:lnTo>
                  <a:pt x="114" y="7"/>
                </a:lnTo>
                <a:lnTo>
                  <a:pt x="125" y="7"/>
                </a:lnTo>
                <a:lnTo>
                  <a:pt x="135" y="9"/>
                </a:lnTo>
                <a:lnTo>
                  <a:pt x="146" y="12"/>
                </a:lnTo>
                <a:lnTo>
                  <a:pt x="155" y="15"/>
                </a:lnTo>
                <a:lnTo>
                  <a:pt x="164" y="20"/>
                </a:lnTo>
                <a:lnTo>
                  <a:pt x="174" y="24"/>
                </a:lnTo>
                <a:lnTo>
                  <a:pt x="182" y="31"/>
                </a:lnTo>
                <a:lnTo>
                  <a:pt x="189" y="37"/>
                </a:lnTo>
                <a:lnTo>
                  <a:pt x="196" y="45"/>
                </a:lnTo>
                <a:lnTo>
                  <a:pt x="203" y="54"/>
                </a:lnTo>
                <a:lnTo>
                  <a:pt x="208" y="63"/>
                </a:lnTo>
                <a:lnTo>
                  <a:pt x="212" y="72"/>
                </a:lnTo>
                <a:lnTo>
                  <a:pt x="216" y="82"/>
                </a:lnTo>
                <a:lnTo>
                  <a:pt x="218" y="92"/>
                </a:lnTo>
                <a:lnTo>
                  <a:pt x="220" y="103"/>
                </a:lnTo>
                <a:lnTo>
                  <a:pt x="220" y="113"/>
                </a:lnTo>
                <a:lnTo>
                  <a:pt x="199" y="113"/>
                </a:lnTo>
                <a:lnTo>
                  <a:pt x="199" y="113"/>
                </a:lnTo>
                <a:lnTo>
                  <a:pt x="199" y="105"/>
                </a:lnTo>
                <a:lnTo>
                  <a:pt x="197" y="96"/>
                </a:lnTo>
                <a:lnTo>
                  <a:pt x="196" y="88"/>
                </a:lnTo>
                <a:lnTo>
                  <a:pt x="192" y="81"/>
                </a:lnTo>
                <a:lnTo>
                  <a:pt x="189" y="72"/>
                </a:lnTo>
                <a:lnTo>
                  <a:pt x="184" y="65"/>
                </a:lnTo>
                <a:lnTo>
                  <a:pt x="180" y="60"/>
                </a:lnTo>
                <a:lnTo>
                  <a:pt x="174" y="52"/>
                </a:lnTo>
                <a:lnTo>
                  <a:pt x="168" y="48"/>
                </a:lnTo>
                <a:lnTo>
                  <a:pt x="162" y="43"/>
                </a:lnTo>
                <a:lnTo>
                  <a:pt x="155" y="38"/>
                </a:lnTo>
                <a:lnTo>
                  <a:pt x="147" y="35"/>
                </a:lnTo>
                <a:lnTo>
                  <a:pt x="139" y="31"/>
                </a:lnTo>
                <a:lnTo>
                  <a:pt x="130" y="29"/>
                </a:lnTo>
                <a:lnTo>
                  <a:pt x="122" y="28"/>
                </a:lnTo>
                <a:lnTo>
                  <a:pt x="114" y="28"/>
                </a:lnTo>
                <a:lnTo>
                  <a:pt x="114" y="28"/>
                </a:lnTo>
                <a:lnTo>
                  <a:pt x="105" y="28"/>
                </a:lnTo>
                <a:lnTo>
                  <a:pt x="97" y="30"/>
                </a:lnTo>
                <a:lnTo>
                  <a:pt x="88" y="31"/>
                </a:lnTo>
                <a:lnTo>
                  <a:pt x="80" y="35"/>
                </a:lnTo>
                <a:lnTo>
                  <a:pt x="73" y="38"/>
                </a:lnTo>
                <a:lnTo>
                  <a:pt x="66" y="43"/>
                </a:lnTo>
                <a:lnTo>
                  <a:pt x="59" y="48"/>
                </a:lnTo>
                <a:lnTo>
                  <a:pt x="53" y="54"/>
                </a:lnTo>
                <a:lnTo>
                  <a:pt x="47" y="60"/>
                </a:lnTo>
                <a:lnTo>
                  <a:pt x="43" y="65"/>
                </a:lnTo>
                <a:lnTo>
                  <a:pt x="38" y="72"/>
                </a:lnTo>
                <a:lnTo>
                  <a:pt x="35" y="81"/>
                </a:lnTo>
                <a:lnTo>
                  <a:pt x="32" y="89"/>
                </a:lnTo>
                <a:lnTo>
                  <a:pt x="30" y="97"/>
                </a:lnTo>
                <a:lnTo>
                  <a:pt x="29" y="105"/>
                </a:lnTo>
                <a:lnTo>
                  <a:pt x="28" y="113"/>
                </a:lnTo>
                <a:lnTo>
                  <a:pt x="28" y="113"/>
                </a:lnTo>
                <a:lnTo>
                  <a:pt x="29" y="123"/>
                </a:lnTo>
                <a:lnTo>
                  <a:pt x="30" y="131"/>
                </a:lnTo>
                <a:lnTo>
                  <a:pt x="32" y="139"/>
                </a:lnTo>
                <a:lnTo>
                  <a:pt x="35" y="147"/>
                </a:lnTo>
                <a:lnTo>
                  <a:pt x="38" y="154"/>
                </a:lnTo>
                <a:lnTo>
                  <a:pt x="43" y="161"/>
                </a:lnTo>
                <a:lnTo>
                  <a:pt x="47" y="168"/>
                </a:lnTo>
                <a:lnTo>
                  <a:pt x="53" y="174"/>
                </a:lnTo>
                <a:lnTo>
                  <a:pt x="59" y="180"/>
                </a:lnTo>
                <a:lnTo>
                  <a:pt x="66" y="185"/>
                </a:lnTo>
                <a:lnTo>
                  <a:pt x="73" y="189"/>
                </a:lnTo>
                <a:lnTo>
                  <a:pt x="80" y="193"/>
                </a:lnTo>
                <a:lnTo>
                  <a:pt x="88" y="195"/>
                </a:lnTo>
                <a:lnTo>
                  <a:pt x="97" y="197"/>
                </a:lnTo>
                <a:lnTo>
                  <a:pt x="105" y="199"/>
                </a:lnTo>
                <a:lnTo>
                  <a:pt x="114" y="200"/>
                </a:lnTo>
                <a:lnTo>
                  <a:pt x="114" y="200"/>
                </a:lnTo>
                <a:lnTo>
                  <a:pt x="122" y="199"/>
                </a:lnTo>
                <a:lnTo>
                  <a:pt x="130" y="197"/>
                </a:lnTo>
                <a:lnTo>
                  <a:pt x="137" y="196"/>
                </a:lnTo>
                <a:lnTo>
                  <a:pt x="146" y="193"/>
                </a:lnTo>
                <a:lnTo>
                  <a:pt x="153" y="190"/>
                </a:lnTo>
                <a:lnTo>
                  <a:pt x="160" y="186"/>
                </a:lnTo>
                <a:lnTo>
                  <a:pt x="166" y="181"/>
                </a:lnTo>
                <a:lnTo>
                  <a:pt x="171" y="176"/>
                </a:lnTo>
                <a:lnTo>
                  <a:pt x="177" y="171"/>
                </a:lnTo>
                <a:lnTo>
                  <a:pt x="182" y="165"/>
                </a:lnTo>
                <a:lnTo>
                  <a:pt x="187" y="159"/>
                </a:lnTo>
                <a:lnTo>
                  <a:pt x="190" y="152"/>
                </a:lnTo>
                <a:lnTo>
                  <a:pt x="194" y="145"/>
                </a:lnTo>
                <a:lnTo>
                  <a:pt x="196" y="137"/>
                </a:lnTo>
                <a:lnTo>
                  <a:pt x="198" y="130"/>
                </a:lnTo>
                <a:lnTo>
                  <a:pt x="199" y="121"/>
                </a:lnTo>
                <a:lnTo>
                  <a:pt x="220" y="121"/>
                </a:lnTo>
                <a:lnTo>
                  <a:pt x="220" y="121"/>
                </a:lnTo>
                <a:lnTo>
                  <a:pt x="219" y="131"/>
                </a:lnTo>
                <a:lnTo>
                  <a:pt x="217" y="141"/>
                </a:lnTo>
                <a:lnTo>
                  <a:pt x="213" y="151"/>
                </a:lnTo>
                <a:lnTo>
                  <a:pt x="210" y="160"/>
                </a:lnTo>
                <a:lnTo>
                  <a:pt x="205" y="169"/>
                </a:lnTo>
                <a:lnTo>
                  <a:pt x="199" y="178"/>
                </a:lnTo>
                <a:lnTo>
                  <a:pt x="194" y="185"/>
                </a:lnTo>
                <a:lnTo>
                  <a:pt x="187" y="192"/>
                </a:lnTo>
                <a:lnTo>
                  <a:pt x="180" y="199"/>
                </a:lnTo>
                <a:lnTo>
                  <a:pt x="171" y="204"/>
                </a:lnTo>
                <a:lnTo>
                  <a:pt x="163" y="209"/>
                </a:lnTo>
                <a:lnTo>
                  <a:pt x="154" y="213"/>
                </a:lnTo>
                <a:lnTo>
                  <a:pt x="144" y="216"/>
                </a:lnTo>
                <a:lnTo>
                  <a:pt x="134" y="218"/>
                </a:lnTo>
                <a:lnTo>
                  <a:pt x="125" y="221"/>
                </a:lnTo>
                <a:lnTo>
                  <a:pt x="114" y="221"/>
                </a:lnTo>
                <a:lnTo>
                  <a:pt x="114" y="221"/>
                </a:lnTo>
                <a:close/>
                <a:moveTo>
                  <a:pt x="171" y="113"/>
                </a:moveTo>
                <a:lnTo>
                  <a:pt x="171" y="113"/>
                </a:lnTo>
                <a:lnTo>
                  <a:pt x="169" y="102"/>
                </a:lnTo>
                <a:lnTo>
                  <a:pt x="167" y="91"/>
                </a:lnTo>
                <a:lnTo>
                  <a:pt x="161" y="82"/>
                </a:lnTo>
                <a:lnTo>
                  <a:pt x="154" y="74"/>
                </a:lnTo>
                <a:lnTo>
                  <a:pt x="146" y="67"/>
                </a:lnTo>
                <a:lnTo>
                  <a:pt x="136" y="61"/>
                </a:lnTo>
                <a:lnTo>
                  <a:pt x="125" y="57"/>
                </a:lnTo>
                <a:lnTo>
                  <a:pt x="114" y="56"/>
                </a:lnTo>
                <a:lnTo>
                  <a:pt x="114" y="56"/>
                </a:lnTo>
                <a:lnTo>
                  <a:pt x="102" y="57"/>
                </a:lnTo>
                <a:lnTo>
                  <a:pt x="92" y="61"/>
                </a:lnTo>
                <a:lnTo>
                  <a:pt x="81" y="67"/>
                </a:lnTo>
                <a:lnTo>
                  <a:pt x="73" y="74"/>
                </a:lnTo>
                <a:lnTo>
                  <a:pt x="66" y="82"/>
                </a:lnTo>
                <a:lnTo>
                  <a:pt x="61" y="91"/>
                </a:lnTo>
                <a:lnTo>
                  <a:pt x="58" y="102"/>
                </a:lnTo>
                <a:lnTo>
                  <a:pt x="57" y="113"/>
                </a:lnTo>
                <a:lnTo>
                  <a:pt x="57" y="113"/>
                </a:lnTo>
                <a:lnTo>
                  <a:pt x="58" y="125"/>
                </a:lnTo>
                <a:lnTo>
                  <a:pt x="61" y="135"/>
                </a:lnTo>
                <a:lnTo>
                  <a:pt x="66" y="146"/>
                </a:lnTo>
                <a:lnTo>
                  <a:pt x="73" y="154"/>
                </a:lnTo>
                <a:lnTo>
                  <a:pt x="81" y="161"/>
                </a:lnTo>
                <a:lnTo>
                  <a:pt x="92" y="166"/>
                </a:lnTo>
                <a:lnTo>
                  <a:pt x="102" y="169"/>
                </a:lnTo>
                <a:lnTo>
                  <a:pt x="114" y="171"/>
                </a:lnTo>
                <a:lnTo>
                  <a:pt x="114" y="171"/>
                </a:lnTo>
                <a:lnTo>
                  <a:pt x="125" y="169"/>
                </a:lnTo>
                <a:lnTo>
                  <a:pt x="134" y="167"/>
                </a:lnTo>
                <a:lnTo>
                  <a:pt x="143" y="162"/>
                </a:lnTo>
                <a:lnTo>
                  <a:pt x="151" y="157"/>
                </a:lnTo>
                <a:lnTo>
                  <a:pt x="158" y="149"/>
                </a:lnTo>
                <a:lnTo>
                  <a:pt x="164" y="140"/>
                </a:lnTo>
                <a:lnTo>
                  <a:pt x="168" y="131"/>
                </a:lnTo>
                <a:lnTo>
                  <a:pt x="170" y="121"/>
                </a:lnTo>
                <a:lnTo>
                  <a:pt x="192" y="121"/>
                </a:lnTo>
                <a:lnTo>
                  <a:pt x="192" y="121"/>
                </a:lnTo>
                <a:lnTo>
                  <a:pt x="191" y="128"/>
                </a:lnTo>
                <a:lnTo>
                  <a:pt x="189" y="135"/>
                </a:lnTo>
                <a:lnTo>
                  <a:pt x="184" y="149"/>
                </a:lnTo>
                <a:lnTo>
                  <a:pt x="176" y="161"/>
                </a:lnTo>
                <a:lnTo>
                  <a:pt x="167" y="172"/>
                </a:lnTo>
                <a:lnTo>
                  <a:pt x="155" y="180"/>
                </a:lnTo>
                <a:lnTo>
                  <a:pt x="142" y="187"/>
                </a:lnTo>
                <a:lnTo>
                  <a:pt x="128" y="190"/>
                </a:lnTo>
                <a:lnTo>
                  <a:pt x="121" y="192"/>
                </a:lnTo>
                <a:lnTo>
                  <a:pt x="114" y="193"/>
                </a:lnTo>
                <a:lnTo>
                  <a:pt x="114" y="193"/>
                </a:lnTo>
                <a:lnTo>
                  <a:pt x="106" y="192"/>
                </a:lnTo>
                <a:lnTo>
                  <a:pt x="98" y="190"/>
                </a:lnTo>
                <a:lnTo>
                  <a:pt x="91" y="188"/>
                </a:lnTo>
                <a:lnTo>
                  <a:pt x="84" y="186"/>
                </a:lnTo>
                <a:lnTo>
                  <a:pt x="77" y="182"/>
                </a:lnTo>
                <a:lnTo>
                  <a:pt x="70" y="179"/>
                </a:lnTo>
                <a:lnTo>
                  <a:pt x="64" y="174"/>
                </a:lnTo>
                <a:lnTo>
                  <a:pt x="58" y="169"/>
                </a:lnTo>
                <a:lnTo>
                  <a:pt x="53" y="164"/>
                </a:lnTo>
                <a:lnTo>
                  <a:pt x="49" y="158"/>
                </a:lnTo>
                <a:lnTo>
                  <a:pt x="45" y="151"/>
                </a:lnTo>
                <a:lnTo>
                  <a:pt x="42" y="144"/>
                </a:lnTo>
                <a:lnTo>
                  <a:pt x="38" y="137"/>
                </a:lnTo>
                <a:lnTo>
                  <a:pt x="37" y="130"/>
                </a:lnTo>
                <a:lnTo>
                  <a:pt x="36" y="121"/>
                </a:lnTo>
                <a:lnTo>
                  <a:pt x="35" y="113"/>
                </a:lnTo>
                <a:lnTo>
                  <a:pt x="35" y="113"/>
                </a:lnTo>
                <a:lnTo>
                  <a:pt x="36" y="105"/>
                </a:lnTo>
                <a:lnTo>
                  <a:pt x="37" y="98"/>
                </a:lnTo>
                <a:lnTo>
                  <a:pt x="38" y="90"/>
                </a:lnTo>
                <a:lnTo>
                  <a:pt x="42" y="83"/>
                </a:lnTo>
                <a:lnTo>
                  <a:pt x="45" y="76"/>
                </a:lnTo>
                <a:lnTo>
                  <a:pt x="49" y="70"/>
                </a:lnTo>
                <a:lnTo>
                  <a:pt x="53" y="64"/>
                </a:lnTo>
                <a:lnTo>
                  <a:pt x="58" y="58"/>
                </a:lnTo>
                <a:lnTo>
                  <a:pt x="64" y="52"/>
                </a:lnTo>
                <a:lnTo>
                  <a:pt x="70" y="49"/>
                </a:lnTo>
                <a:lnTo>
                  <a:pt x="77" y="44"/>
                </a:lnTo>
                <a:lnTo>
                  <a:pt x="84" y="41"/>
                </a:lnTo>
                <a:lnTo>
                  <a:pt x="91" y="38"/>
                </a:lnTo>
                <a:lnTo>
                  <a:pt x="98" y="36"/>
                </a:lnTo>
                <a:lnTo>
                  <a:pt x="106" y="35"/>
                </a:lnTo>
                <a:lnTo>
                  <a:pt x="114" y="35"/>
                </a:lnTo>
                <a:lnTo>
                  <a:pt x="114" y="35"/>
                </a:lnTo>
                <a:lnTo>
                  <a:pt x="122" y="35"/>
                </a:lnTo>
                <a:lnTo>
                  <a:pt x="129" y="36"/>
                </a:lnTo>
                <a:lnTo>
                  <a:pt x="137" y="38"/>
                </a:lnTo>
                <a:lnTo>
                  <a:pt x="144" y="41"/>
                </a:lnTo>
                <a:lnTo>
                  <a:pt x="151" y="44"/>
                </a:lnTo>
                <a:lnTo>
                  <a:pt x="157" y="49"/>
                </a:lnTo>
                <a:lnTo>
                  <a:pt x="163" y="52"/>
                </a:lnTo>
                <a:lnTo>
                  <a:pt x="169" y="58"/>
                </a:lnTo>
                <a:lnTo>
                  <a:pt x="174" y="64"/>
                </a:lnTo>
                <a:lnTo>
                  <a:pt x="178" y="70"/>
                </a:lnTo>
                <a:lnTo>
                  <a:pt x="183" y="76"/>
                </a:lnTo>
                <a:lnTo>
                  <a:pt x="187" y="83"/>
                </a:lnTo>
                <a:lnTo>
                  <a:pt x="189" y="90"/>
                </a:lnTo>
                <a:lnTo>
                  <a:pt x="190" y="98"/>
                </a:lnTo>
                <a:lnTo>
                  <a:pt x="191" y="105"/>
                </a:lnTo>
                <a:lnTo>
                  <a:pt x="192" y="113"/>
                </a:lnTo>
                <a:lnTo>
                  <a:pt x="171" y="113"/>
                </a:lnTo>
                <a:close/>
                <a:moveTo>
                  <a:pt x="142" y="113"/>
                </a:moveTo>
                <a:lnTo>
                  <a:pt x="142" y="113"/>
                </a:lnTo>
                <a:lnTo>
                  <a:pt x="142" y="107"/>
                </a:lnTo>
                <a:lnTo>
                  <a:pt x="140" y="103"/>
                </a:lnTo>
                <a:lnTo>
                  <a:pt x="137" y="98"/>
                </a:lnTo>
                <a:lnTo>
                  <a:pt x="134" y="93"/>
                </a:lnTo>
                <a:lnTo>
                  <a:pt x="129" y="90"/>
                </a:lnTo>
                <a:lnTo>
                  <a:pt x="125" y="88"/>
                </a:lnTo>
                <a:lnTo>
                  <a:pt x="120" y="85"/>
                </a:lnTo>
                <a:lnTo>
                  <a:pt x="114" y="85"/>
                </a:lnTo>
                <a:lnTo>
                  <a:pt x="114" y="85"/>
                </a:lnTo>
                <a:lnTo>
                  <a:pt x="108" y="85"/>
                </a:lnTo>
                <a:lnTo>
                  <a:pt x="102" y="88"/>
                </a:lnTo>
                <a:lnTo>
                  <a:pt x="98" y="90"/>
                </a:lnTo>
                <a:lnTo>
                  <a:pt x="93" y="93"/>
                </a:lnTo>
                <a:lnTo>
                  <a:pt x="90" y="98"/>
                </a:lnTo>
                <a:lnTo>
                  <a:pt x="87" y="103"/>
                </a:lnTo>
                <a:lnTo>
                  <a:pt x="86" y="107"/>
                </a:lnTo>
                <a:lnTo>
                  <a:pt x="85" y="113"/>
                </a:lnTo>
                <a:lnTo>
                  <a:pt x="85" y="113"/>
                </a:lnTo>
                <a:lnTo>
                  <a:pt x="86" y="119"/>
                </a:lnTo>
                <a:lnTo>
                  <a:pt x="87" y="125"/>
                </a:lnTo>
                <a:lnTo>
                  <a:pt x="90" y="130"/>
                </a:lnTo>
                <a:lnTo>
                  <a:pt x="93" y="134"/>
                </a:lnTo>
                <a:lnTo>
                  <a:pt x="98" y="138"/>
                </a:lnTo>
                <a:lnTo>
                  <a:pt x="102" y="140"/>
                </a:lnTo>
                <a:lnTo>
                  <a:pt x="108" y="141"/>
                </a:lnTo>
                <a:lnTo>
                  <a:pt x="114" y="142"/>
                </a:lnTo>
                <a:lnTo>
                  <a:pt x="114" y="142"/>
                </a:lnTo>
                <a:lnTo>
                  <a:pt x="119" y="141"/>
                </a:lnTo>
                <a:lnTo>
                  <a:pt x="123" y="140"/>
                </a:lnTo>
                <a:lnTo>
                  <a:pt x="127" y="139"/>
                </a:lnTo>
                <a:lnTo>
                  <a:pt x="132" y="137"/>
                </a:lnTo>
                <a:lnTo>
                  <a:pt x="134" y="133"/>
                </a:lnTo>
                <a:lnTo>
                  <a:pt x="137" y="130"/>
                </a:lnTo>
                <a:lnTo>
                  <a:pt x="140" y="125"/>
                </a:lnTo>
                <a:lnTo>
                  <a:pt x="141" y="121"/>
                </a:lnTo>
                <a:lnTo>
                  <a:pt x="163" y="121"/>
                </a:lnTo>
                <a:lnTo>
                  <a:pt x="163" y="121"/>
                </a:lnTo>
                <a:lnTo>
                  <a:pt x="161" y="130"/>
                </a:lnTo>
                <a:lnTo>
                  <a:pt x="157" y="138"/>
                </a:lnTo>
                <a:lnTo>
                  <a:pt x="153" y="145"/>
                </a:lnTo>
                <a:lnTo>
                  <a:pt x="147" y="152"/>
                </a:lnTo>
                <a:lnTo>
                  <a:pt x="140" y="157"/>
                </a:lnTo>
                <a:lnTo>
                  <a:pt x="132" y="160"/>
                </a:lnTo>
                <a:lnTo>
                  <a:pt x="123" y="162"/>
                </a:lnTo>
                <a:lnTo>
                  <a:pt x="114" y="164"/>
                </a:lnTo>
                <a:lnTo>
                  <a:pt x="114" y="164"/>
                </a:lnTo>
                <a:lnTo>
                  <a:pt x="104" y="162"/>
                </a:lnTo>
                <a:lnTo>
                  <a:pt x="94" y="160"/>
                </a:lnTo>
                <a:lnTo>
                  <a:pt x="86" y="155"/>
                </a:lnTo>
                <a:lnTo>
                  <a:pt x="78" y="149"/>
                </a:lnTo>
                <a:lnTo>
                  <a:pt x="72" y="141"/>
                </a:lnTo>
                <a:lnTo>
                  <a:pt x="67" y="133"/>
                </a:lnTo>
                <a:lnTo>
                  <a:pt x="65" y="124"/>
                </a:lnTo>
                <a:lnTo>
                  <a:pt x="64" y="113"/>
                </a:lnTo>
                <a:lnTo>
                  <a:pt x="64" y="113"/>
                </a:lnTo>
                <a:lnTo>
                  <a:pt x="65" y="104"/>
                </a:lnTo>
                <a:lnTo>
                  <a:pt x="67" y="95"/>
                </a:lnTo>
                <a:lnTo>
                  <a:pt x="72" y="85"/>
                </a:lnTo>
                <a:lnTo>
                  <a:pt x="78" y="78"/>
                </a:lnTo>
                <a:lnTo>
                  <a:pt x="86" y="72"/>
                </a:lnTo>
                <a:lnTo>
                  <a:pt x="94" y="68"/>
                </a:lnTo>
                <a:lnTo>
                  <a:pt x="104" y="64"/>
                </a:lnTo>
                <a:lnTo>
                  <a:pt x="114" y="64"/>
                </a:lnTo>
                <a:lnTo>
                  <a:pt x="114" y="64"/>
                </a:lnTo>
                <a:lnTo>
                  <a:pt x="123" y="64"/>
                </a:lnTo>
                <a:lnTo>
                  <a:pt x="133" y="68"/>
                </a:lnTo>
                <a:lnTo>
                  <a:pt x="141" y="72"/>
                </a:lnTo>
                <a:lnTo>
                  <a:pt x="149" y="78"/>
                </a:lnTo>
                <a:lnTo>
                  <a:pt x="155" y="85"/>
                </a:lnTo>
                <a:lnTo>
                  <a:pt x="160" y="95"/>
                </a:lnTo>
                <a:lnTo>
                  <a:pt x="163" y="104"/>
                </a:lnTo>
                <a:lnTo>
                  <a:pt x="163" y="113"/>
                </a:lnTo>
                <a:lnTo>
                  <a:pt x="142" y="113"/>
                </a:lnTo>
                <a:close/>
                <a:moveTo>
                  <a:pt x="118" y="121"/>
                </a:moveTo>
                <a:lnTo>
                  <a:pt x="134" y="121"/>
                </a:lnTo>
                <a:lnTo>
                  <a:pt x="134" y="121"/>
                </a:lnTo>
                <a:lnTo>
                  <a:pt x="130" y="126"/>
                </a:lnTo>
                <a:lnTo>
                  <a:pt x="126" y="131"/>
                </a:lnTo>
                <a:lnTo>
                  <a:pt x="120" y="134"/>
                </a:lnTo>
                <a:lnTo>
                  <a:pt x="114" y="135"/>
                </a:lnTo>
                <a:lnTo>
                  <a:pt x="114" y="135"/>
                </a:lnTo>
                <a:lnTo>
                  <a:pt x="109" y="134"/>
                </a:lnTo>
                <a:lnTo>
                  <a:pt x="106" y="133"/>
                </a:lnTo>
                <a:lnTo>
                  <a:pt x="101" y="132"/>
                </a:lnTo>
                <a:lnTo>
                  <a:pt x="99" y="128"/>
                </a:lnTo>
                <a:lnTo>
                  <a:pt x="95" y="126"/>
                </a:lnTo>
                <a:lnTo>
                  <a:pt x="94" y="121"/>
                </a:lnTo>
                <a:lnTo>
                  <a:pt x="93" y="118"/>
                </a:lnTo>
                <a:lnTo>
                  <a:pt x="92" y="113"/>
                </a:lnTo>
                <a:lnTo>
                  <a:pt x="92" y="113"/>
                </a:lnTo>
                <a:lnTo>
                  <a:pt x="93" y="110"/>
                </a:lnTo>
                <a:lnTo>
                  <a:pt x="94" y="105"/>
                </a:lnTo>
                <a:lnTo>
                  <a:pt x="95" y="102"/>
                </a:lnTo>
                <a:lnTo>
                  <a:pt x="99" y="98"/>
                </a:lnTo>
                <a:lnTo>
                  <a:pt x="101" y="96"/>
                </a:lnTo>
                <a:lnTo>
                  <a:pt x="106" y="93"/>
                </a:lnTo>
                <a:lnTo>
                  <a:pt x="109" y="92"/>
                </a:lnTo>
                <a:lnTo>
                  <a:pt x="114" y="92"/>
                </a:lnTo>
                <a:lnTo>
                  <a:pt x="114" y="92"/>
                </a:lnTo>
                <a:lnTo>
                  <a:pt x="118" y="92"/>
                </a:lnTo>
                <a:lnTo>
                  <a:pt x="122" y="93"/>
                </a:lnTo>
                <a:lnTo>
                  <a:pt x="126" y="96"/>
                </a:lnTo>
                <a:lnTo>
                  <a:pt x="129" y="98"/>
                </a:lnTo>
                <a:lnTo>
                  <a:pt x="132" y="102"/>
                </a:lnTo>
                <a:lnTo>
                  <a:pt x="133" y="105"/>
                </a:lnTo>
                <a:lnTo>
                  <a:pt x="135" y="109"/>
                </a:lnTo>
                <a:lnTo>
                  <a:pt x="135" y="113"/>
                </a:lnTo>
                <a:lnTo>
                  <a:pt x="118" y="113"/>
                </a:lnTo>
                <a:lnTo>
                  <a:pt x="118" y="113"/>
                </a:lnTo>
                <a:lnTo>
                  <a:pt x="114" y="114"/>
                </a:lnTo>
                <a:lnTo>
                  <a:pt x="113" y="117"/>
                </a:lnTo>
                <a:lnTo>
                  <a:pt x="113" y="117"/>
                </a:lnTo>
                <a:lnTo>
                  <a:pt x="114" y="120"/>
                </a:lnTo>
                <a:lnTo>
                  <a:pt x="118" y="121"/>
                </a:lnTo>
                <a:lnTo>
                  <a:pt x="118" y="121"/>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34" name="Rectangle 33"/>
          <p:cNvSpPr/>
          <p:nvPr/>
        </p:nvSpPr>
        <p:spPr>
          <a:xfrm>
            <a:off x="6539432" y="4911175"/>
            <a:ext cx="5004868" cy="830997"/>
          </a:xfrm>
          <a:prstGeom prst="rect">
            <a:avLst/>
          </a:prstGeom>
        </p:spPr>
        <p:txBody>
          <a:bodyPr wrap="square">
            <a:spAutoFit/>
          </a:bodyPr>
          <a:lstStyle/>
          <a:p>
            <a:pPr>
              <a:buClr>
                <a:srgbClr val="E24848"/>
              </a:buClr>
              <a:defRPr/>
            </a:pPr>
            <a:r>
              <a:rPr lang="en-US" sz="1200" noProof="1">
                <a:solidFill>
                  <a:schemeClr val="tx1">
                    <a:lumMod val="50000"/>
                    <a:lumOff val="50000"/>
                  </a:schemeClr>
                </a:solidFill>
                <a:latin typeface="Montserrat" panose="00000500000000000000" pitchFamily="50" charset="0"/>
                <a:ea typeface="Open Sans Light" panose="020B0306030504020204" pitchFamily="34" charset="0"/>
                <a:cs typeface="Open Sans Light" panose="020B0306030504020204" pitchFamily="34" charset="0"/>
              </a:rPr>
              <a:t>Lorem ipsum dolor sit amet, consectetur adipiscing elit. Nulla imperdiet volutpat dui at fermentum. Aliquaam erat volutpat. Lorem ipsum dolor sit amet, consectetur adipiscing elit. Nulla imperdiet volutpat dui at fermentum. Aliquam erat volutpa</a:t>
            </a:r>
          </a:p>
        </p:txBody>
      </p:sp>
      <p:sp>
        <p:nvSpPr>
          <p:cNvPr id="35" name="Title 11"/>
          <p:cNvSpPr txBox="1">
            <a:spLocks/>
          </p:cNvSpPr>
          <p:nvPr/>
        </p:nvSpPr>
        <p:spPr>
          <a:xfrm>
            <a:off x="6539431" y="4147810"/>
            <a:ext cx="2915824" cy="556076"/>
          </a:xfrm>
          <a:prstGeom prst="rect">
            <a:avLst/>
          </a:prstGeom>
        </p:spPr>
        <p:txBody>
          <a:bodyPr vert="horz" wrap="square"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600" b="1" dirty="0">
                <a:solidFill>
                  <a:srgbClr val="01678C"/>
                </a:solidFill>
                <a:latin typeface="Montserrat" panose="00000500000000000000" pitchFamily="50" charset="0"/>
                <a:ea typeface="Roboto" panose="02000000000000000000" pitchFamily="2" charset="0"/>
                <a:cs typeface="Lato" panose="020F0502020204030203" pitchFamily="34" charset="0"/>
              </a:rPr>
              <a:t>Heads are </a:t>
            </a:r>
            <a:r>
              <a:rPr lang="en-US" sz="1600" b="1" dirty="0">
                <a:solidFill>
                  <a:schemeClr val="tx1">
                    <a:lumMod val="85000"/>
                    <a:lumOff val="15000"/>
                  </a:schemeClr>
                </a:solidFill>
                <a:latin typeface="Montserrat" panose="00000500000000000000" pitchFamily="50" charset="0"/>
                <a:ea typeface="Roboto" panose="02000000000000000000" pitchFamily="2" charset="0"/>
                <a:cs typeface="Lato" panose="020F0502020204030203" pitchFamily="34" charset="0"/>
              </a:rPr>
              <a:t>Gonne Roll</a:t>
            </a:r>
          </a:p>
        </p:txBody>
      </p:sp>
      <p:cxnSp>
        <p:nvCxnSpPr>
          <p:cNvPr id="36" name="Straight Connector 35"/>
          <p:cNvCxnSpPr/>
          <p:nvPr/>
        </p:nvCxnSpPr>
        <p:spPr>
          <a:xfrm>
            <a:off x="6586931" y="4749293"/>
            <a:ext cx="270580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Title 11"/>
          <p:cNvSpPr txBox="1">
            <a:spLocks/>
          </p:cNvSpPr>
          <p:nvPr/>
        </p:nvSpPr>
        <p:spPr>
          <a:xfrm>
            <a:off x="3839318" y="361448"/>
            <a:ext cx="3161424"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b="1" spc="-150" dirty="0">
                <a:solidFill>
                  <a:srgbClr val="01678C"/>
                </a:solidFill>
                <a:latin typeface="Montserrat" panose="00000500000000000000" pitchFamily="50" charset="0"/>
                <a:ea typeface="Roboto" panose="02000000000000000000" pitchFamily="2" charset="0"/>
                <a:cs typeface="Times New Roman" panose="02020603050405020304" pitchFamily="18" charset="0"/>
              </a:rPr>
              <a:t>Featured</a:t>
            </a:r>
            <a:r>
              <a:rPr lang="en-US" sz="3600" b="1" spc="-150" dirty="0">
                <a:solidFill>
                  <a:schemeClr val="tx1">
                    <a:lumMod val="85000"/>
                    <a:lumOff val="15000"/>
                  </a:schemeClr>
                </a:solidFill>
                <a:latin typeface="Montserrat" panose="00000500000000000000" pitchFamily="50" charset="0"/>
                <a:ea typeface="Roboto" panose="02000000000000000000" pitchFamily="2" charset="0"/>
                <a:cs typeface="Times New Roman" panose="02020603050405020304" pitchFamily="18" charset="0"/>
              </a:rPr>
              <a:t> </a:t>
            </a:r>
            <a:r>
              <a:rPr lang="en-US" sz="3600" spc="-150" dirty="0">
                <a:solidFill>
                  <a:schemeClr val="tx1">
                    <a:lumMod val="85000"/>
                    <a:lumOff val="15000"/>
                  </a:schemeClr>
                </a:solidFill>
                <a:latin typeface="Montserrat" panose="00000500000000000000" pitchFamily="50" charset="0"/>
                <a:ea typeface="Roboto" panose="02000000000000000000" pitchFamily="2" charset="0"/>
                <a:cs typeface="Times New Roman" panose="02020603050405020304" pitchFamily="18" charset="0"/>
              </a:rPr>
              <a:t>List</a:t>
            </a:r>
          </a:p>
        </p:txBody>
      </p:sp>
      <p:sp>
        <p:nvSpPr>
          <p:cNvPr id="2" name="Rectangle 1"/>
          <p:cNvSpPr/>
          <p:nvPr/>
        </p:nvSpPr>
        <p:spPr>
          <a:xfrm>
            <a:off x="2023" y="6664283"/>
            <a:ext cx="12189983" cy="206419"/>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
          <p:cNvSpPr/>
          <p:nvPr/>
        </p:nvSpPr>
        <p:spPr>
          <a:xfrm>
            <a:off x="5056966" y="6530678"/>
            <a:ext cx="2078068" cy="222924"/>
          </a:xfrm>
          <a:prstGeom prst="roundRect">
            <a:avLst>
              <a:gd name="adj" fmla="val 50000"/>
            </a:avLst>
          </a:prstGeom>
          <a:solidFill>
            <a:srgbClr val="018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effectLst>
                <a:outerShdw blurRad="63500" sx="102000" sy="102000" algn="ctr" rotWithShape="0">
                  <a:prstClr val="black">
                    <a:alpha val="40000"/>
                  </a:prstClr>
                </a:outerShdw>
              </a:effectLst>
              <a:latin typeface="+mj-lt"/>
            </a:endParaRPr>
          </a:p>
        </p:txBody>
      </p:sp>
      <p:sp>
        <p:nvSpPr>
          <p:cNvPr id="4" name="Date Placeholder 1"/>
          <p:cNvSpPr txBox="1">
            <a:spLocks/>
          </p:cNvSpPr>
          <p:nvPr>
            <p:custDataLst>
              <p:tags r:id="rId1"/>
            </p:custDataLst>
          </p:nvPr>
        </p:nvSpPr>
        <p:spPr>
          <a:xfrm>
            <a:off x="5006809" y="6498189"/>
            <a:ext cx="1530941"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Segoe UI" panose="020B0502040204020203" pitchFamily="34" charset="0"/>
                <a:ea typeface="Open Sans Light" panose="020B0306030504020204" pitchFamily="34" charset="0"/>
                <a:cs typeface="Segoe UI" panose="020B0502040204020203" pitchFamily="34" charset="0"/>
              </a:rPr>
              <a:t>www.yourcompanyname.com</a:t>
            </a:r>
          </a:p>
        </p:txBody>
      </p:sp>
      <p:cxnSp>
        <p:nvCxnSpPr>
          <p:cNvPr id="5" name="Straight Connector 4"/>
          <p:cNvCxnSpPr/>
          <p:nvPr/>
        </p:nvCxnSpPr>
        <p:spPr>
          <a:xfrm>
            <a:off x="6512721" y="6567488"/>
            <a:ext cx="0" cy="154781"/>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6665393" y="6505535"/>
            <a:ext cx="335348" cy="261610"/>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02</a:t>
            </a:r>
          </a:p>
        </p:txBody>
      </p:sp>
    </p:spTree>
    <p:extLst>
      <p:ext uri="{BB962C8B-B14F-4D97-AF65-F5344CB8AC3E}">
        <p14:creationId xmlns:p14="http://schemas.microsoft.com/office/powerpoint/2010/main" val="932383808"/>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1"/>
          <p:cNvSpPr txBox="1">
            <a:spLocks/>
          </p:cNvSpPr>
          <p:nvPr/>
        </p:nvSpPr>
        <p:spPr>
          <a:xfrm>
            <a:off x="4060272" y="552854"/>
            <a:ext cx="4088238"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1" spc="-150" dirty="0">
                <a:solidFill>
                  <a:srgbClr val="01678C"/>
                </a:solidFill>
                <a:latin typeface="Montserrat" panose="00000500000000000000" pitchFamily="50" charset="0"/>
                <a:ea typeface="Roboto" panose="02000000000000000000" pitchFamily="2" charset="0"/>
                <a:cs typeface="Times New Roman" panose="02020603050405020304" pitchFamily="18" charset="0"/>
              </a:rPr>
              <a:t>We Try </a:t>
            </a:r>
            <a:r>
              <a:rPr lang="en-US" sz="3600" spc="-150" dirty="0">
                <a:solidFill>
                  <a:schemeClr val="tx1">
                    <a:lumMod val="85000"/>
                    <a:lumOff val="15000"/>
                  </a:schemeClr>
                </a:solidFill>
                <a:latin typeface="Montserrat" panose="00000500000000000000" pitchFamily="50" charset="0"/>
                <a:ea typeface="Roboto" panose="02000000000000000000" pitchFamily="2" charset="0"/>
                <a:cs typeface="Times New Roman" panose="02020603050405020304" pitchFamily="18" charset="0"/>
              </a:rPr>
              <a:t>Our Best</a:t>
            </a:r>
          </a:p>
        </p:txBody>
      </p:sp>
      <p:sp>
        <p:nvSpPr>
          <p:cNvPr id="3" name="Title 11"/>
          <p:cNvSpPr txBox="1">
            <a:spLocks/>
          </p:cNvSpPr>
          <p:nvPr/>
        </p:nvSpPr>
        <p:spPr>
          <a:xfrm>
            <a:off x="4388398" y="1271643"/>
            <a:ext cx="3435161" cy="192764"/>
          </a:xfrm>
          <a:prstGeom prst="rect">
            <a:avLst/>
          </a:prstGeom>
        </p:spPr>
        <p:txBody>
          <a:bodyPr vert="horz"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dirty="0">
                <a:solidFill>
                  <a:schemeClr val="tx1">
                    <a:lumMod val="85000"/>
                    <a:lumOff val="15000"/>
                  </a:schemeClr>
                </a:solidFill>
                <a:latin typeface="Montserrat" panose="00000500000000000000" pitchFamily="50" charset="0"/>
                <a:ea typeface="Roboto" panose="02000000000000000000" pitchFamily="2" charset="0"/>
                <a:cs typeface="Open Sans Light" panose="020B0306030504020204" pitchFamily="34" charset="0"/>
              </a:rPr>
              <a:t>Insert Your Creative Idea </a:t>
            </a:r>
          </a:p>
        </p:txBody>
      </p:sp>
      <p:sp>
        <p:nvSpPr>
          <p:cNvPr id="4" name="Rectangle 3"/>
          <p:cNvSpPr/>
          <p:nvPr/>
        </p:nvSpPr>
        <p:spPr>
          <a:xfrm>
            <a:off x="1296304" y="3223571"/>
            <a:ext cx="4109358" cy="830997"/>
          </a:xfrm>
          <a:prstGeom prst="rect">
            <a:avLst/>
          </a:prstGeom>
          <a:noFill/>
        </p:spPr>
        <p:txBody>
          <a:bodyPr wrap="square">
            <a:spAutoFit/>
          </a:bodyPr>
          <a:lstStyle/>
          <a:p>
            <a:r>
              <a:rPr lang="en-US" sz="1600" b="1" noProof="1">
                <a:solidFill>
                  <a:schemeClr val="tx1">
                    <a:lumMod val="85000"/>
                    <a:lumOff val="15000"/>
                  </a:schemeClr>
                </a:solidFill>
                <a:latin typeface="Montserrat" panose="00000500000000000000" pitchFamily="50" charset="0"/>
                <a:ea typeface="Roboto Light" panose="02000000000000000000" pitchFamily="2" charset="0"/>
                <a:cs typeface="Open Sans" panose="020B0606030504020204" pitchFamily="34" charset="0"/>
              </a:rPr>
              <a:t>WE LERN FROM THE BEST, SUCCESS SEEMS TO BE CONNECTED WITH ACTION  </a:t>
            </a:r>
          </a:p>
        </p:txBody>
      </p:sp>
      <p:sp>
        <p:nvSpPr>
          <p:cNvPr id="5" name="Rectangle 4"/>
          <p:cNvSpPr/>
          <p:nvPr/>
        </p:nvSpPr>
        <p:spPr>
          <a:xfrm>
            <a:off x="1296304" y="4338018"/>
            <a:ext cx="3996871" cy="1600438"/>
          </a:xfrm>
          <a:prstGeom prst="rect">
            <a:avLst/>
          </a:prstGeom>
        </p:spPr>
        <p:txBody>
          <a:bodyPr wrap="square">
            <a:spAutoFit/>
          </a:bodyPr>
          <a:lstStyle/>
          <a:p>
            <a:pPr>
              <a:buClr>
                <a:srgbClr val="E24848"/>
              </a:buClr>
              <a:defRPr/>
            </a:pPr>
            <a:r>
              <a:rPr lang="en-US" sz="1400" noProof="1">
                <a:solidFill>
                  <a:schemeClr val="tx1">
                    <a:lumMod val="85000"/>
                    <a:lumOff val="15000"/>
                  </a:schemeClr>
                </a:solidFill>
                <a:latin typeface="Montserrat" panose="00000500000000000000" pitchFamily="50" charset="0"/>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Nam auctor metus vitae quam gravida, ac vehicula elit mollis. </a:t>
            </a:r>
          </a:p>
        </p:txBody>
      </p:sp>
      <p:sp>
        <p:nvSpPr>
          <p:cNvPr id="6" name="Rectangle 5"/>
          <p:cNvSpPr/>
          <p:nvPr/>
        </p:nvSpPr>
        <p:spPr>
          <a:xfrm>
            <a:off x="1417861" y="2860375"/>
            <a:ext cx="901700" cy="159491"/>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6811732" y="3223571"/>
            <a:ext cx="4109358" cy="830997"/>
          </a:xfrm>
          <a:prstGeom prst="rect">
            <a:avLst/>
          </a:prstGeom>
          <a:noFill/>
        </p:spPr>
        <p:txBody>
          <a:bodyPr wrap="square">
            <a:spAutoFit/>
          </a:bodyPr>
          <a:lstStyle/>
          <a:p>
            <a:r>
              <a:rPr lang="en-US" sz="1600" b="1" noProof="1">
                <a:solidFill>
                  <a:schemeClr val="tx1">
                    <a:lumMod val="85000"/>
                    <a:lumOff val="15000"/>
                  </a:schemeClr>
                </a:solidFill>
                <a:latin typeface="Montserrat" panose="00000500000000000000" pitchFamily="50" charset="0"/>
                <a:ea typeface="Roboto Light" panose="02000000000000000000" pitchFamily="2" charset="0"/>
                <a:cs typeface="Open Sans" panose="020B0606030504020204" pitchFamily="34" charset="0"/>
              </a:rPr>
              <a:t>WE LERN FROM THE BEST, SUCCESS SEEMS TO BE CONNECTED WITH ACTION  </a:t>
            </a:r>
          </a:p>
        </p:txBody>
      </p:sp>
      <p:sp>
        <p:nvSpPr>
          <p:cNvPr id="8" name="Rectangle 7"/>
          <p:cNvSpPr/>
          <p:nvPr/>
        </p:nvSpPr>
        <p:spPr>
          <a:xfrm>
            <a:off x="6811732" y="4338018"/>
            <a:ext cx="3996871" cy="1600438"/>
          </a:xfrm>
          <a:prstGeom prst="rect">
            <a:avLst/>
          </a:prstGeom>
        </p:spPr>
        <p:txBody>
          <a:bodyPr wrap="square">
            <a:spAutoFit/>
          </a:bodyPr>
          <a:lstStyle/>
          <a:p>
            <a:pPr>
              <a:buClr>
                <a:srgbClr val="E24848"/>
              </a:buClr>
              <a:defRPr/>
            </a:pPr>
            <a:r>
              <a:rPr lang="en-US" sz="1400" noProof="1">
                <a:solidFill>
                  <a:schemeClr val="tx1">
                    <a:lumMod val="85000"/>
                    <a:lumOff val="15000"/>
                  </a:schemeClr>
                </a:solidFill>
                <a:latin typeface="Montserrat" panose="00000500000000000000" pitchFamily="50" charset="0"/>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Nam auctor metus vitae quam gravida, ac vehicula elit mollis. </a:t>
            </a:r>
          </a:p>
        </p:txBody>
      </p:sp>
      <p:sp>
        <p:nvSpPr>
          <p:cNvPr id="9" name="Rectangle 8"/>
          <p:cNvSpPr/>
          <p:nvPr/>
        </p:nvSpPr>
        <p:spPr>
          <a:xfrm>
            <a:off x="6933289" y="2860375"/>
            <a:ext cx="901700" cy="159491"/>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p:cNvSpPr txBox="1">
            <a:spLocks/>
          </p:cNvSpPr>
          <p:nvPr/>
        </p:nvSpPr>
        <p:spPr>
          <a:xfrm>
            <a:off x="1339071" y="2010085"/>
            <a:ext cx="1014930" cy="769441"/>
          </a:xfrm>
          <a:prstGeom prst="rect">
            <a:avLst/>
          </a:prstGeom>
          <a:noFill/>
        </p:spPr>
        <p:txBody>
          <a:bodyPr wrap="square">
            <a:noAutofit/>
          </a:bodyPr>
          <a:lstStyle>
            <a:defPPr>
              <a:defRPr lang="en-US"/>
            </a:defPPr>
            <a:lvl1pPr>
              <a:defRPr sz="960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pPr algn="ctr"/>
            <a:r>
              <a:rPr lang="en-US" sz="4400" b="1" spc="-300" dirty="0">
                <a:solidFill>
                  <a:schemeClr val="tx1">
                    <a:lumMod val="85000"/>
                    <a:lumOff val="15000"/>
                  </a:schemeClr>
                </a:solidFill>
                <a:latin typeface="Montserrat" panose="00000500000000000000" pitchFamily="50" charset="0"/>
              </a:rPr>
              <a:t>01</a:t>
            </a:r>
          </a:p>
        </p:txBody>
      </p:sp>
      <p:sp>
        <p:nvSpPr>
          <p:cNvPr id="11" name="Title 1"/>
          <p:cNvSpPr txBox="1">
            <a:spLocks/>
          </p:cNvSpPr>
          <p:nvPr/>
        </p:nvSpPr>
        <p:spPr>
          <a:xfrm>
            <a:off x="6844420" y="2010085"/>
            <a:ext cx="1014930" cy="850290"/>
          </a:xfrm>
          <a:prstGeom prst="rect">
            <a:avLst/>
          </a:prstGeom>
          <a:noFill/>
        </p:spPr>
        <p:txBody>
          <a:bodyPr wrap="square">
            <a:noAutofit/>
          </a:bodyPr>
          <a:lstStyle>
            <a:defPPr>
              <a:defRPr lang="en-US"/>
            </a:defPPr>
            <a:lvl1pPr>
              <a:defRPr sz="960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pPr algn="ctr"/>
            <a:r>
              <a:rPr lang="en-US" sz="4400" b="1" spc="-300" dirty="0">
                <a:solidFill>
                  <a:schemeClr val="tx1">
                    <a:lumMod val="85000"/>
                    <a:lumOff val="15000"/>
                  </a:schemeClr>
                </a:solidFill>
                <a:latin typeface="Montserrat" panose="00000500000000000000" pitchFamily="50" charset="0"/>
              </a:rPr>
              <a:t>02</a:t>
            </a:r>
          </a:p>
        </p:txBody>
      </p:sp>
      <p:sp>
        <p:nvSpPr>
          <p:cNvPr id="12" name="Rectangle 11"/>
          <p:cNvSpPr/>
          <p:nvPr/>
        </p:nvSpPr>
        <p:spPr>
          <a:xfrm>
            <a:off x="2023" y="6664283"/>
            <a:ext cx="12189983" cy="206419"/>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Rounded Rectangle 12"/>
          <p:cNvSpPr/>
          <p:nvPr/>
        </p:nvSpPr>
        <p:spPr>
          <a:xfrm>
            <a:off x="5056966" y="6530678"/>
            <a:ext cx="2078068" cy="222924"/>
          </a:xfrm>
          <a:prstGeom prst="roundRect">
            <a:avLst>
              <a:gd name="adj" fmla="val 50000"/>
            </a:avLst>
          </a:prstGeom>
          <a:solidFill>
            <a:srgbClr val="018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effectLst>
                <a:outerShdw blurRad="63500" sx="102000" sy="102000" algn="ctr" rotWithShape="0">
                  <a:prstClr val="black">
                    <a:alpha val="40000"/>
                  </a:prstClr>
                </a:outerShdw>
              </a:effectLst>
              <a:latin typeface="+mj-lt"/>
            </a:endParaRPr>
          </a:p>
        </p:txBody>
      </p:sp>
      <p:sp>
        <p:nvSpPr>
          <p:cNvPr id="14" name="Date Placeholder 1"/>
          <p:cNvSpPr txBox="1">
            <a:spLocks/>
          </p:cNvSpPr>
          <p:nvPr>
            <p:custDataLst>
              <p:tags r:id="rId1"/>
            </p:custDataLst>
          </p:nvPr>
        </p:nvSpPr>
        <p:spPr>
          <a:xfrm>
            <a:off x="5006809" y="6498189"/>
            <a:ext cx="1530941"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Segoe UI" panose="020B0502040204020203" pitchFamily="34" charset="0"/>
                <a:ea typeface="Open Sans Light" panose="020B0306030504020204" pitchFamily="34" charset="0"/>
                <a:cs typeface="Segoe UI" panose="020B0502040204020203" pitchFamily="34" charset="0"/>
              </a:rPr>
              <a:t>www.yourcompanyname.com</a:t>
            </a:r>
          </a:p>
        </p:txBody>
      </p:sp>
      <p:cxnSp>
        <p:nvCxnSpPr>
          <p:cNvPr id="15" name="Straight Connector 14"/>
          <p:cNvCxnSpPr/>
          <p:nvPr/>
        </p:nvCxnSpPr>
        <p:spPr>
          <a:xfrm>
            <a:off x="6512721" y="6567488"/>
            <a:ext cx="0" cy="154781"/>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6665393" y="6505535"/>
            <a:ext cx="335348" cy="261610"/>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03</a:t>
            </a:r>
          </a:p>
        </p:txBody>
      </p:sp>
    </p:spTree>
    <p:extLst>
      <p:ext uri="{BB962C8B-B14F-4D97-AF65-F5344CB8AC3E}">
        <p14:creationId xmlns:p14="http://schemas.microsoft.com/office/powerpoint/2010/main" val="4188728678"/>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23" y="6664283"/>
            <a:ext cx="12189983" cy="206419"/>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
          <p:cNvSpPr/>
          <p:nvPr/>
        </p:nvSpPr>
        <p:spPr>
          <a:xfrm>
            <a:off x="5056966" y="6530678"/>
            <a:ext cx="2078068" cy="222924"/>
          </a:xfrm>
          <a:prstGeom prst="roundRect">
            <a:avLst>
              <a:gd name="adj" fmla="val 50000"/>
            </a:avLst>
          </a:prstGeom>
          <a:solidFill>
            <a:srgbClr val="018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effectLst>
                <a:outerShdw blurRad="63500" sx="102000" sy="102000" algn="ctr" rotWithShape="0">
                  <a:prstClr val="black">
                    <a:alpha val="40000"/>
                  </a:prstClr>
                </a:outerShdw>
              </a:effectLst>
              <a:latin typeface="+mj-lt"/>
            </a:endParaRPr>
          </a:p>
        </p:txBody>
      </p:sp>
      <p:sp>
        <p:nvSpPr>
          <p:cNvPr id="4" name="Date Placeholder 1"/>
          <p:cNvSpPr txBox="1">
            <a:spLocks/>
          </p:cNvSpPr>
          <p:nvPr>
            <p:custDataLst>
              <p:tags r:id="rId1"/>
            </p:custDataLst>
          </p:nvPr>
        </p:nvSpPr>
        <p:spPr>
          <a:xfrm>
            <a:off x="5006809" y="6498189"/>
            <a:ext cx="1530941"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Segoe UI" panose="020B0502040204020203" pitchFamily="34" charset="0"/>
                <a:ea typeface="Open Sans Light" panose="020B0306030504020204" pitchFamily="34" charset="0"/>
                <a:cs typeface="Segoe UI" panose="020B0502040204020203" pitchFamily="34" charset="0"/>
              </a:rPr>
              <a:t>www.yourcompanyname.com</a:t>
            </a:r>
          </a:p>
        </p:txBody>
      </p:sp>
      <p:cxnSp>
        <p:nvCxnSpPr>
          <p:cNvPr id="5" name="Straight Connector 4"/>
          <p:cNvCxnSpPr/>
          <p:nvPr/>
        </p:nvCxnSpPr>
        <p:spPr>
          <a:xfrm>
            <a:off x="6512721" y="6567488"/>
            <a:ext cx="0" cy="154781"/>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6665393" y="6505535"/>
            <a:ext cx="335348" cy="261610"/>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04</a:t>
            </a:r>
          </a:p>
        </p:txBody>
      </p:sp>
      <p:pic>
        <p:nvPicPr>
          <p:cNvPr id="61" name="Picture Placeholder 60"/>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l="10434" r="29318"/>
          <a:stretch/>
        </p:blipFill>
        <p:spPr>
          <a:xfrm>
            <a:off x="5943600" y="1"/>
            <a:ext cx="6019800" cy="6668604"/>
          </a:xfrm>
        </p:spPr>
      </p:pic>
      <p:sp>
        <p:nvSpPr>
          <p:cNvPr id="8" name="Title 11"/>
          <p:cNvSpPr txBox="1">
            <a:spLocks/>
          </p:cNvSpPr>
          <p:nvPr/>
        </p:nvSpPr>
        <p:spPr>
          <a:xfrm>
            <a:off x="621291" y="557390"/>
            <a:ext cx="3150430"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b="1" spc="-150" dirty="0">
                <a:solidFill>
                  <a:srgbClr val="01678C"/>
                </a:solidFill>
                <a:latin typeface="Montserrat" panose="00000500000000000000" pitchFamily="2" charset="0"/>
                <a:ea typeface="Roboto" panose="02000000000000000000" pitchFamily="2" charset="0"/>
                <a:cs typeface="Times New Roman" panose="02020603050405020304" pitchFamily="18" charset="0"/>
              </a:rPr>
              <a:t>What</a:t>
            </a:r>
            <a:r>
              <a:rPr lang="en-US" sz="3600" b="1" spc="-150" dirty="0">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rPr>
              <a:t> </a:t>
            </a:r>
            <a:r>
              <a:rPr lang="en-US" sz="3600" spc="-150" dirty="0">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rPr>
              <a:t>We Do</a:t>
            </a:r>
          </a:p>
        </p:txBody>
      </p:sp>
      <p:sp>
        <p:nvSpPr>
          <p:cNvPr id="9" name="Title 11"/>
          <p:cNvSpPr txBox="1">
            <a:spLocks/>
          </p:cNvSpPr>
          <p:nvPr/>
        </p:nvSpPr>
        <p:spPr>
          <a:xfrm>
            <a:off x="628399" y="1244967"/>
            <a:ext cx="1633463" cy="211108"/>
          </a:xfrm>
          <a:prstGeom prst="rect">
            <a:avLst/>
          </a:prstGeom>
        </p:spPr>
        <p:txBody>
          <a:bodyPr vert="horz"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dirty="0">
                <a:solidFill>
                  <a:schemeClr val="tx1">
                    <a:lumMod val="85000"/>
                    <a:lumOff val="15000"/>
                  </a:schemeClr>
                </a:solidFill>
                <a:ea typeface="Roboto" panose="02000000000000000000" pitchFamily="2" charset="0"/>
                <a:cs typeface="Open Sans Light" panose="020B0306030504020204" pitchFamily="34" charset="0"/>
              </a:rPr>
              <a:t>Insert Your Creative Idea </a:t>
            </a:r>
          </a:p>
        </p:txBody>
      </p:sp>
      <p:sp>
        <p:nvSpPr>
          <p:cNvPr id="10" name="Shape 5491"/>
          <p:cNvSpPr/>
          <p:nvPr/>
        </p:nvSpPr>
        <p:spPr>
          <a:xfrm>
            <a:off x="6342813" y="2005750"/>
            <a:ext cx="715212" cy="715212"/>
          </a:xfrm>
          <a:prstGeom prst="ellipse">
            <a:avLst/>
          </a:prstGeom>
          <a:solidFill>
            <a:srgbClr val="01678C"/>
          </a:solidFill>
          <a:ln w="12700" cap="flat">
            <a:noFill/>
            <a:miter lim="400000"/>
          </a:ln>
          <a:effectLst/>
        </p:spPr>
        <p:txBody>
          <a:bodyPr wrap="square" lIns="25400" tIns="25400" rIns="25400" bIns="25400" numCol="1" anchor="ctr">
            <a:noAutofit/>
          </a:bodyPr>
          <a:lstStyle/>
          <a:p>
            <a:pPr>
              <a:defRPr sz="3200">
                <a:solidFill>
                  <a:srgbClr val="FFFFFF"/>
                </a:solidFill>
              </a:defRPr>
            </a:pPr>
            <a:endParaRPr sz="1600">
              <a:solidFill>
                <a:schemeClr val="tx1">
                  <a:lumMod val="85000"/>
                  <a:lumOff val="15000"/>
                </a:schemeClr>
              </a:solidFill>
            </a:endParaRPr>
          </a:p>
        </p:txBody>
      </p:sp>
      <p:sp>
        <p:nvSpPr>
          <p:cNvPr id="11" name="Text Placeholder 2"/>
          <p:cNvSpPr txBox="1">
            <a:spLocks/>
          </p:cNvSpPr>
          <p:nvPr/>
        </p:nvSpPr>
        <p:spPr>
          <a:xfrm>
            <a:off x="2261862" y="2269152"/>
            <a:ext cx="1233901" cy="507136"/>
          </a:xfrm>
          <a:prstGeom prst="rect">
            <a:avLst/>
          </a:prstGeom>
        </p:spPr>
        <p:txBody>
          <a:bodyPr vert="horz" wrap="square" lIns="91416" tIns="45708" rIns="91416" bIns="45708" rtlCol="0" anchor="ctr">
            <a:noAutofit/>
          </a:bodyPr>
          <a:lstStyle>
            <a:defPPr>
              <a:defRPr lang="en-US"/>
            </a:defPPr>
            <a:lvl1pPr algn="r" defTabSz="914400">
              <a:lnSpc>
                <a:spcPct val="90000"/>
              </a:lnSpc>
              <a:spcBef>
                <a:spcPct val="0"/>
              </a:spcBef>
              <a:buNone/>
              <a:defRPr sz="3599" b="1" spc="-300">
                <a:solidFill>
                  <a:schemeClr val="tx1">
                    <a:lumMod val="95000"/>
                    <a:lumOff val="5000"/>
                  </a:schemeClr>
                </a:solidFill>
                <a:latin typeface="Caviar Dreams" panose="020B0402020204020504" pitchFamily="34" charset="0"/>
                <a:ea typeface="Roboto" panose="02000000000000000000" pitchFamily="2" charset="0"/>
                <a:cs typeface="Times New Roman" panose="02020603050405020304" pitchFamily="18" charset="0"/>
              </a:defRPr>
            </a:lvl1pPr>
          </a:lstStyle>
          <a:p>
            <a:r>
              <a:rPr lang="en-US" sz="2400" spc="-150" dirty="0">
                <a:solidFill>
                  <a:schemeClr val="tx1">
                    <a:lumMod val="85000"/>
                    <a:lumOff val="15000"/>
                  </a:schemeClr>
                </a:solidFill>
                <a:latin typeface="Lato" panose="020F0502020204030203" pitchFamily="34" charset="0"/>
                <a:cs typeface="Lato" panose="020F0502020204030203" pitchFamily="34" charset="0"/>
              </a:rPr>
              <a:t>Operate</a:t>
            </a:r>
            <a:endParaRPr lang="id-ID" sz="2400" spc="-150" dirty="0">
              <a:solidFill>
                <a:schemeClr val="tx1">
                  <a:lumMod val="85000"/>
                  <a:lumOff val="15000"/>
                </a:schemeClr>
              </a:solidFill>
              <a:latin typeface="Lato" panose="020F0502020204030203" pitchFamily="34" charset="0"/>
              <a:cs typeface="Lato" panose="020F0502020204030203" pitchFamily="34" charset="0"/>
            </a:endParaRPr>
          </a:p>
        </p:txBody>
      </p:sp>
      <p:cxnSp>
        <p:nvCxnSpPr>
          <p:cNvPr id="13" name="Straight Connector 12"/>
          <p:cNvCxnSpPr/>
          <p:nvPr/>
        </p:nvCxnSpPr>
        <p:spPr>
          <a:xfrm>
            <a:off x="3655608" y="2119622"/>
            <a:ext cx="0" cy="78021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3852859" y="2168777"/>
            <a:ext cx="2094771" cy="707886"/>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p>
        </p:txBody>
      </p:sp>
      <p:sp>
        <p:nvSpPr>
          <p:cNvPr id="15" name="Shape 5491"/>
          <p:cNvSpPr/>
          <p:nvPr/>
        </p:nvSpPr>
        <p:spPr>
          <a:xfrm>
            <a:off x="6837849" y="3198873"/>
            <a:ext cx="715212" cy="715212"/>
          </a:xfrm>
          <a:prstGeom prst="ellipse">
            <a:avLst/>
          </a:prstGeom>
          <a:solidFill>
            <a:srgbClr val="01678C"/>
          </a:solidFill>
          <a:ln w="12700" cap="flat">
            <a:noFill/>
            <a:miter lim="400000"/>
          </a:ln>
          <a:effectLst/>
        </p:spPr>
        <p:txBody>
          <a:bodyPr wrap="square" lIns="25400" tIns="25400" rIns="25400" bIns="25400" numCol="1" anchor="ctr">
            <a:noAutofit/>
          </a:bodyPr>
          <a:lstStyle/>
          <a:p>
            <a:pPr>
              <a:defRPr sz="3200">
                <a:solidFill>
                  <a:srgbClr val="FFFFFF"/>
                </a:solidFill>
              </a:defRPr>
            </a:pPr>
            <a:endParaRPr sz="1600">
              <a:solidFill>
                <a:schemeClr val="tx1">
                  <a:lumMod val="85000"/>
                  <a:lumOff val="15000"/>
                </a:schemeClr>
              </a:solidFill>
            </a:endParaRPr>
          </a:p>
        </p:txBody>
      </p:sp>
      <p:sp>
        <p:nvSpPr>
          <p:cNvPr id="16" name="Text Placeholder 2"/>
          <p:cNvSpPr txBox="1">
            <a:spLocks/>
          </p:cNvSpPr>
          <p:nvPr/>
        </p:nvSpPr>
        <p:spPr>
          <a:xfrm>
            <a:off x="2805262" y="3440373"/>
            <a:ext cx="1233901" cy="507136"/>
          </a:xfrm>
          <a:prstGeom prst="rect">
            <a:avLst/>
          </a:prstGeom>
        </p:spPr>
        <p:txBody>
          <a:bodyPr vert="horz" wrap="square" lIns="91416" tIns="45708" rIns="91416" bIns="45708" rtlCol="0" anchor="ctr">
            <a:noAutofit/>
          </a:bodyPr>
          <a:lstStyle>
            <a:defPPr>
              <a:defRPr lang="en-US"/>
            </a:defPPr>
            <a:lvl1pPr algn="r" defTabSz="914400">
              <a:lnSpc>
                <a:spcPct val="90000"/>
              </a:lnSpc>
              <a:spcBef>
                <a:spcPct val="0"/>
              </a:spcBef>
              <a:buNone/>
              <a:defRPr sz="3599" b="1" spc="-300">
                <a:solidFill>
                  <a:schemeClr val="tx1">
                    <a:lumMod val="95000"/>
                    <a:lumOff val="5000"/>
                  </a:schemeClr>
                </a:solidFill>
                <a:latin typeface="Caviar Dreams" panose="020B0402020204020504" pitchFamily="34" charset="0"/>
                <a:ea typeface="Roboto" panose="02000000000000000000" pitchFamily="2" charset="0"/>
                <a:cs typeface="Times New Roman" panose="02020603050405020304" pitchFamily="18" charset="0"/>
              </a:defRPr>
            </a:lvl1pPr>
          </a:lstStyle>
          <a:p>
            <a:r>
              <a:rPr lang="en-US" sz="2400" spc="-150" dirty="0">
                <a:solidFill>
                  <a:schemeClr val="tx1">
                    <a:lumMod val="85000"/>
                    <a:lumOff val="15000"/>
                  </a:schemeClr>
                </a:solidFill>
                <a:latin typeface="Lato" panose="020F0502020204030203" pitchFamily="34" charset="0"/>
                <a:cs typeface="Lato" panose="020F0502020204030203" pitchFamily="34" charset="0"/>
              </a:rPr>
              <a:t>Operate</a:t>
            </a:r>
            <a:endParaRPr lang="id-ID" sz="2400" spc="-150" dirty="0">
              <a:solidFill>
                <a:schemeClr val="tx1">
                  <a:lumMod val="85000"/>
                  <a:lumOff val="15000"/>
                </a:schemeClr>
              </a:solidFill>
              <a:latin typeface="Lato" panose="020F0502020204030203" pitchFamily="34" charset="0"/>
              <a:cs typeface="Lato" panose="020F0502020204030203" pitchFamily="34" charset="0"/>
            </a:endParaRPr>
          </a:p>
        </p:txBody>
      </p:sp>
      <p:cxnSp>
        <p:nvCxnSpPr>
          <p:cNvPr id="18" name="Straight Connector 17"/>
          <p:cNvCxnSpPr/>
          <p:nvPr/>
        </p:nvCxnSpPr>
        <p:spPr>
          <a:xfrm>
            <a:off x="4150644" y="3275747"/>
            <a:ext cx="0" cy="78021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4347895" y="3324902"/>
            <a:ext cx="2094771" cy="707886"/>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p>
        </p:txBody>
      </p:sp>
      <p:sp>
        <p:nvSpPr>
          <p:cNvPr id="20" name="Shape 5491"/>
          <p:cNvSpPr/>
          <p:nvPr/>
        </p:nvSpPr>
        <p:spPr>
          <a:xfrm>
            <a:off x="7195455" y="4431005"/>
            <a:ext cx="715212" cy="715212"/>
          </a:xfrm>
          <a:prstGeom prst="ellipse">
            <a:avLst/>
          </a:prstGeom>
          <a:solidFill>
            <a:srgbClr val="01678C"/>
          </a:solidFill>
          <a:ln w="12700" cap="flat">
            <a:noFill/>
            <a:miter lim="400000"/>
          </a:ln>
          <a:effectLst/>
        </p:spPr>
        <p:txBody>
          <a:bodyPr wrap="square" lIns="25400" tIns="25400" rIns="25400" bIns="25400" numCol="1" anchor="ctr">
            <a:noAutofit/>
          </a:bodyPr>
          <a:lstStyle/>
          <a:p>
            <a:pPr>
              <a:defRPr sz="3200">
                <a:solidFill>
                  <a:srgbClr val="FFFFFF"/>
                </a:solidFill>
              </a:defRPr>
            </a:pPr>
            <a:endParaRPr sz="1600">
              <a:solidFill>
                <a:schemeClr val="tx1">
                  <a:lumMod val="85000"/>
                  <a:lumOff val="15000"/>
                </a:schemeClr>
              </a:solidFill>
            </a:endParaRPr>
          </a:p>
        </p:txBody>
      </p:sp>
      <p:sp>
        <p:nvSpPr>
          <p:cNvPr id="21" name="Text Placeholder 2"/>
          <p:cNvSpPr txBox="1">
            <a:spLocks/>
          </p:cNvSpPr>
          <p:nvPr/>
        </p:nvSpPr>
        <p:spPr>
          <a:xfrm>
            <a:off x="3113994" y="4523122"/>
            <a:ext cx="1233901" cy="507136"/>
          </a:xfrm>
          <a:prstGeom prst="rect">
            <a:avLst/>
          </a:prstGeom>
        </p:spPr>
        <p:txBody>
          <a:bodyPr vert="horz" wrap="square" lIns="91416" tIns="45708" rIns="91416" bIns="45708" rtlCol="0" anchor="ctr">
            <a:noAutofit/>
          </a:bodyPr>
          <a:lstStyle>
            <a:defPPr>
              <a:defRPr lang="en-US"/>
            </a:defPPr>
            <a:lvl1pPr algn="r" defTabSz="914400">
              <a:lnSpc>
                <a:spcPct val="90000"/>
              </a:lnSpc>
              <a:spcBef>
                <a:spcPct val="0"/>
              </a:spcBef>
              <a:buNone/>
              <a:defRPr sz="3599" b="1" spc="-300">
                <a:solidFill>
                  <a:schemeClr val="tx1">
                    <a:lumMod val="95000"/>
                    <a:lumOff val="5000"/>
                  </a:schemeClr>
                </a:solidFill>
                <a:latin typeface="Caviar Dreams" panose="020B0402020204020504" pitchFamily="34" charset="0"/>
                <a:ea typeface="Roboto" panose="02000000000000000000" pitchFamily="2" charset="0"/>
                <a:cs typeface="Times New Roman" panose="02020603050405020304" pitchFamily="18" charset="0"/>
              </a:defRPr>
            </a:lvl1pPr>
          </a:lstStyle>
          <a:p>
            <a:r>
              <a:rPr lang="en-US" sz="2400" spc="-150" dirty="0">
                <a:solidFill>
                  <a:schemeClr val="tx1">
                    <a:lumMod val="85000"/>
                    <a:lumOff val="15000"/>
                  </a:schemeClr>
                </a:solidFill>
                <a:latin typeface="Lato" panose="020F0502020204030203" pitchFamily="34" charset="0"/>
                <a:cs typeface="Lato" panose="020F0502020204030203" pitchFamily="34" charset="0"/>
              </a:rPr>
              <a:t>Operate</a:t>
            </a:r>
            <a:endParaRPr lang="id-ID" sz="2400" spc="-150" dirty="0">
              <a:solidFill>
                <a:schemeClr val="tx1">
                  <a:lumMod val="85000"/>
                  <a:lumOff val="15000"/>
                </a:schemeClr>
              </a:solidFill>
              <a:latin typeface="Lato" panose="020F0502020204030203" pitchFamily="34" charset="0"/>
              <a:cs typeface="Lato" panose="020F0502020204030203" pitchFamily="34" charset="0"/>
            </a:endParaRPr>
          </a:p>
        </p:txBody>
      </p:sp>
      <p:cxnSp>
        <p:nvCxnSpPr>
          <p:cNvPr id="23" name="Straight Connector 22"/>
          <p:cNvCxnSpPr/>
          <p:nvPr/>
        </p:nvCxnSpPr>
        <p:spPr>
          <a:xfrm>
            <a:off x="4508250" y="4445149"/>
            <a:ext cx="0" cy="78021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4705501" y="4494304"/>
            <a:ext cx="2094771" cy="707886"/>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p>
        </p:txBody>
      </p:sp>
      <p:grpSp>
        <p:nvGrpSpPr>
          <p:cNvPr id="25" name="Group 24"/>
          <p:cNvGrpSpPr/>
          <p:nvPr/>
        </p:nvGrpSpPr>
        <p:grpSpPr>
          <a:xfrm>
            <a:off x="6567686" y="2180321"/>
            <a:ext cx="286519" cy="315268"/>
            <a:chOff x="3871516" y="1202436"/>
            <a:chExt cx="389042" cy="389162"/>
          </a:xfrm>
          <a:solidFill>
            <a:schemeClr val="bg1"/>
          </a:solidFill>
        </p:grpSpPr>
        <p:sp>
          <p:nvSpPr>
            <p:cNvPr id="26" name="Freeform 447"/>
            <p:cNvSpPr>
              <a:spLocks noEditPoints="1"/>
            </p:cNvSpPr>
            <p:nvPr/>
          </p:nvSpPr>
          <p:spPr bwMode="auto">
            <a:xfrm>
              <a:off x="3871516" y="1202436"/>
              <a:ext cx="389042" cy="389162"/>
            </a:xfrm>
            <a:custGeom>
              <a:avLst/>
              <a:gdLst>
                <a:gd name="T0" fmla="*/ 0 w 140"/>
                <a:gd name="T1" fmla="*/ 0 h 140"/>
                <a:gd name="T2" fmla="*/ 0 w 140"/>
                <a:gd name="T3" fmla="*/ 4 h 140"/>
                <a:gd name="T4" fmla="*/ 0 w 140"/>
                <a:gd name="T5" fmla="*/ 7 h 140"/>
                <a:gd name="T6" fmla="*/ 0 w 140"/>
                <a:gd name="T7" fmla="*/ 31 h 140"/>
                <a:gd name="T8" fmla="*/ 0 w 140"/>
                <a:gd name="T9" fmla="*/ 39 h 140"/>
                <a:gd name="T10" fmla="*/ 0 w 140"/>
                <a:gd name="T11" fmla="*/ 132 h 140"/>
                <a:gd name="T12" fmla="*/ 0 w 140"/>
                <a:gd name="T13" fmla="*/ 140 h 140"/>
                <a:gd name="T14" fmla="*/ 0 w 140"/>
                <a:gd name="T15" fmla="*/ 140 h 140"/>
                <a:gd name="T16" fmla="*/ 10 w 140"/>
                <a:gd name="T17" fmla="*/ 140 h 140"/>
                <a:gd name="T18" fmla="*/ 10 w 140"/>
                <a:gd name="T19" fmla="*/ 140 h 140"/>
                <a:gd name="T20" fmla="*/ 133 w 140"/>
                <a:gd name="T21" fmla="*/ 140 h 140"/>
                <a:gd name="T22" fmla="*/ 133 w 140"/>
                <a:gd name="T23" fmla="*/ 140 h 140"/>
                <a:gd name="T24" fmla="*/ 140 w 140"/>
                <a:gd name="T25" fmla="*/ 140 h 140"/>
                <a:gd name="T26" fmla="*/ 140 w 140"/>
                <a:gd name="T27" fmla="*/ 140 h 140"/>
                <a:gd name="T28" fmla="*/ 140 w 140"/>
                <a:gd name="T29" fmla="*/ 132 h 140"/>
                <a:gd name="T30" fmla="*/ 140 w 140"/>
                <a:gd name="T31" fmla="*/ 39 h 140"/>
                <a:gd name="T32" fmla="*/ 140 w 140"/>
                <a:gd name="T33" fmla="*/ 31 h 140"/>
                <a:gd name="T34" fmla="*/ 140 w 140"/>
                <a:gd name="T35" fmla="*/ 7 h 140"/>
                <a:gd name="T36" fmla="*/ 140 w 140"/>
                <a:gd name="T37" fmla="*/ 4 h 140"/>
                <a:gd name="T38" fmla="*/ 140 w 140"/>
                <a:gd name="T39" fmla="*/ 0 h 140"/>
                <a:gd name="T40" fmla="*/ 0 w 140"/>
                <a:gd name="T41" fmla="*/ 0 h 140"/>
                <a:gd name="T42" fmla="*/ 133 w 140"/>
                <a:gd name="T43" fmla="*/ 132 h 140"/>
                <a:gd name="T44" fmla="*/ 10 w 140"/>
                <a:gd name="T45" fmla="*/ 132 h 140"/>
                <a:gd name="T46" fmla="*/ 10 w 140"/>
                <a:gd name="T47" fmla="*/ 39 h 140"/>
                <a:gd name="T48" fmla="*/ 133 w 140"/>
                <a:gd name="T49" fmla="*/ 39 h 140"/>
                <a:gd name="T50" fmla="*/ 133 w 140"/>
                <a:gd name="T51" fmla="*/ 132 h 140"/>
                <a:gd name="T52" fmla="*/ 133 w 140"/>
                <a:gd name="T53" fmla="*/ 31 h 140"/>
                <a:gd name="T54" fmla="*/ 10 w 140"/>
                <a:gd name="T55" fmla="*/ 31 h 140"/>
                <a:gd name="T56" fmla="*/ 10 w 140"/>
                <a:gd name="T57" fmla="*/ 7 h 140"/>
                <a:gd name="T58" fmla="*/ 133 w 140"/>
                <a:gd name="T59" fmla="*/ 7 h 140"/>
                <a:gd name="T60" fmla="*/ 133 w 140"/>
                <a:gd name="T61" fmla="*/ 3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0" h="140">
                  <a:moveTo>
                    <a:pt x="0" y="0"/>
                  </a:moveTo>
                  <a:lnTo>
                    <a:pt x="0" y="4"/>
                  </a:lnTo>
                  <a:lnTo>
                    <a:pt x="0" y="7"/>
                  </a:lnTo>
                  <a:lnTo>
                    <a:pt x="0" y="31"/>
                  </a:lnTo>
                  <a:lnTo>
                    <a:pt x="0" y="39"/>
                  </a:lnTo>
                  <a:lnTo>
                    <a:pt x="0" y="132"/>
                  </a:lnTo>
                  <a:lnTo>
                    <a:pt x="0" y="140"/>
                  </a:lnTo>
                  <a:lnTo>
                    <a:pt x="0" y="140"/>
                  </a:lnTo>
                  <a:lnTo>
                    <a:pt x="10" y="140"/>
                  </a:lnTo>
                  <a:lnTo>
                    <a:pt x="10" y="140"/>
                  </a:lnTo>
                  <a:lnTo>
                    <a:pt x="133" y="140"/>
                  </a:lnTo>
                  <a:lnTo>
                    <a:pt x="133" y="140"/>
                  </a:lnTo>
                  <a:lnTo>
                    <a:pt x="140" y="140"/>
                  </a:lnTo>
                  <a:lnTo>
                    <a:pt x="140" y="140"/>
                  </a:lnTo>
                  <a:lnTo>
                    <a:pt x="140" y="132"/>
                  </a:lnTo>
                  <a:lnTo>
                    <a:pt x="140" y="39"/>
                  </a:lnTo>
                  <a:lnTo>
                    <a:pt x="140" y="31"/>
                  </a:lnTo>
                  <a:lnTo>
                    <a:pt x="140" y="7"/>
                  </a:lnTo>
                  <a:lnTo>
                    <a:pt x="140" y="4"/>
                  </a:lnTo>
                  <a:lnTo>
                    <a:pt x="140" y="0"/>
                  </a:lnTo>
                  <a:lnTo>
                    <a:pt x="0" y="0"/>
                  </a:lnTo>
                  <a:close/>
                  <a:moveTo>
                    <a:pt x="133" y="132"/>
                  </a:moveTo>
                  <a:lnTo>
                    <a:pt x="10" y="132"/>
                  </a:lnTo>
                  <a:lnTo>
                    <a:pt x="10" y="39"/>
                  </a:lnTo>
                  <a:lnTo>
                    <a:pt x="133" y="39"/>
                  </a:lnTo>
                  <a:lnTo>
                    <a:pt x="133" y="132"/>
                  </a:lnTo>
                  <a:close/>
                  <a:moveTo>
                    <a:pt x="133" y="31"/>
                  </a:moveTo>
                  <a:lnTo>
                    <a:pt x="10" y="31"/>
                  </a:lnTo>
                  <a:lnTo>
                    <a:pt x="10" y="7"/>
                  </a:lnTo>
                  <a:lnTo>
                    <a:pt x="133" y="7"/>
                  </a:lnTo>
                  <a:lnTo>
                    <a:pt x="133"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48"/>
            <p:cNvSpPr>
              <a:spLocks noChangeArrowheads="1"/>
            </p:cNvSpPr>
            <p:nvPr/>
          </p:nvSpPr>
          <p:spPr bwMode="auto">
            <a:xfrm>
              <a:off x="4004903" y="1249692"/>
              <a:ext cx="22231" cy="1945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49"/>
            <p:cNvSpPr>
              <a:spLocks noChangeArrowheads="1"/>
            </p:cNvSpPr>
            <p:nvPr/>
          </p:nvSpPr>
          <p:spPr bwMode="auto">
            <a:xfrm>
              <a:off x="4121615" y="1249692"/>
              <a:ext cx="22231" cy="1945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450"/>
            <p:cNvSpPr>
              <a:spLocks/>
            </p:cNvSpPr>
            <p:nvPr/>
          </p:nvSpPr>
          <p:spPr bwMode="auto">
            <a:xfrm>
              <a:off x="3991008" y="1377560"/>
              <a:ext cx="38904" cy="116749"/>
            </a:xfrm>
            <a:custGeom>
              <a:avLst/>
              <a:gdLst>
                <a:gd name="T0" fmla="*/ 1 w 14"/>
                <a:gd name="T1" fmla="*/ 9 h 42"/>
                <a:gd name="T2" fmla="*/ 7 w 14"/>
                <a:gd name="T3" fmla="*/ 5 h 42"/>
                <a:gd name="T4" fmla="*/ 9 w 14"/>
                <a:gd name="T5" fmla="*/ 5 h 42"/>
                <a:gd name="T6" fmla="*/ 9 w 14"/>
                <a:gd name="T7" fmla="*/ 42 h 42"/>
                <a:gd name="T8" fmla="*/ 14 w 14"/>
                <a:gd name="T9" fmla="*/ 42 h 42"/>
                <a:gd name="T10" fmla="*/ 14 w 14"/>
                <a:gd name="T11" fmla="*/ 0 h 42"/>
                <a:gd name="T12" fmla="*/ 9 w 14"/>
                <a:gd name="T13" fmla="*/ 0 h 42"/>
                <a:gd name="T14" fmla="*/ 0 w 14"/>
                <a:gd name="T15" fmla="*/ 3 h 42"/>
                <a:gd name="T16" fmla="*/ 1 w 14"/>
                <a:gd name="T17"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42">
                  <a:moveTo>
                    <a:pt x="1" y="9"/>
                  </a:moveTo>
                  <a:lnTo>
                    <a:pt x="7" y="5"/>
                  </a:lnTo>
                  <a:lnTo>
                    <a:pt x="9" y="5"/>
                  </a:lnTo>
                  <a:lnTo>
                    <a:pt x="9" y="42"/>
                  </a:lnTo>
                  <a:lnTo>
                    <a:pt x="14" y="42"/>
                  </a:lnTo>
                  <a:lnTo>
                    <a:pt x="14" y="0"/>
                  </a:lnTo>
                  <a:lnTo>
                    <a:pt x="9" y="0"/>
                  </a:lnTo>
                  <a:lnTo>
                    <a:pt x="0" y="3"/>
                  </a:lnTo>
                  <a:lnTo>
                    <a:pt x="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51"/>
            <p:cNvSpPr>
              <a:spLocks/>
            </p:cNvSpPr>
            <p:nvPr/>
          </p:nvSpPr>
          <p:spPr bwMode="auto">
            <a:xfrm>
              <a:off x="4071596" y="1377560"/>
              <a:ext cx="77808" cy="116749"/>
            </a:xfrm>
            <a:custGeom>
              <a:avLst/>
              <a:gdLst>
                <a:gd name="T0" fmla="*/ 20 w 28"/>
                <a:gd name="T1" fmla="*/ 3 h 42"/>
                <a:gd name="T2" fmla="*/ 2 w 28"/>
                <a:gd name="T3" fmla="*/ 42 h 42"/>
                <a:gd name="T4" fmla="*/ 9 w 28"/>
                <a:gd name="T5" fmla="*/ 42 h 42"/>
                <a:gd name="T6" fmla="*/ 28 w 28"/>
                <a:gd name="T7" fmla="*/ 3 h 42"/>
                <a:gd name="T8" fmla="*/ 28 w 28"/>
                <a:gd name="T9" fmla="*/ 0 h 42"/>
                <a:gd name="T10" fmla="*/ 0 w 28"/>
                <a:gd name="T11" fmla="*/ 0 h 42"/>
                <a:gd name="T12" fmla="*/ 0 w 28"/>
                <a:gd name="T13" fmla="*/ 3 h 42"/>
                <a:gd name="T14" fmla="*/ 20 w 28"/>
                <a:gd name="T15" fmla="*/ 3 h 42"/>
                <a:gd name="T16" fmla="*/ 20 w 28"/>
                <a:gd name="T17"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2">
                  <a:moveTo>
                    <a:pt x="20" y="3"/>
                  </a:moveTo>
                  <a:lnTo>
                    <a:pt x="2" y="42"/>
                  </a:lnTo>
                  <a:lnTo>
                    <a:pt x="9" y="42"/>
                  </a:lnTo>
                  <a:lnTo>
                    <a:pt x="28" y="3"/>
                  </a:lnTo>
                  <a:lnTo>
                    <a:pt x="28" y="0"/>
                  </a:lnTo>
                  <a:lnTo>
                    <a:pt x="0" y="0"/>
                  </a:lnTo>
                  <a:lnTo>
                    <a:pt x="0" y="3"/>
                  </a:lnTo>
                  <a:lnTo>
                    <a:pt x="20" y="3"/>
                  </a:lnTo>
                  <a:lnTo>
                    <a:pt x="2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1" name="Group 30"/>
          <p:cNvGrpSpPr/>
          <p:nvPr/>
        </p:nvGrpSpPr>
        <p:grpSpPr>
          <a:xfrm>
            <a:off x="7051315" y="3380311"/>
            <a:ext cx="332351" cy="327706"/>
            <a:chOff x="2854452" y="2214257"/>
            <a:chExt cx="389042" cy="383604"/>
          </a:xfrm>
          <a:solidFill>
            <a:schemeClr val="bg1"/>
          </a:solidFill>
        </p:grpSpPr>
        <p:sp>
          <p:nvSpPr>
            <p:cNvPr id="32" name="Freeform 456"/>
            <p:cNvSpPr>
              <a:spLocks/>
            </p:cNvSpPr>
            <p:nvPr/>
          </p:nvSpPr>
          <p:spPr bwMode="auto">
            <a:xfrm>
              <a:off x="2854452" y="2214257"/>
              <a:ext cx="389042" cy="383602"/>
            </a:xfrm>
            <a:custGeom>
              <a:avLst/>
              <a:gdLst>
                <a:gd name="T0" fmla="*/ 138 w 140"/>
                <a:gd name="T1" fmla="*/ 46 h 138"/>
                <a:gd name="T2" fmla="*/ 133 w 140"/>
                <a:gd name="T3" fmla="*/ 46 h 138"/>
                <a:gd name="T4" fmla="*/ 78 w 140"/>
                <a:gd name="T5" fmla="*/ 46 h 138"/>
                <a:gd name="T6" fmla="*/ 78 w 140"/>
                <a:gd name="T7" fmla="*/ 8 h 138"/>
                <a:gd name="T8" fmla="*/ 78 w 140"/>
                <a:gd name="T9" fmla="*/ 0 h 138"/>
                <a:gd name="T10" fmla="*/ 70 w 140"/>
                <a:gd name="T11" fmla="*/ 0 h 138"/>
                <a:gd name="T12" fmla="*/ 8 w 140"/>
                <a:gd name="T13" fmla="*/ 0 h 138"/>
                <a:gd name="T14" fmla="*/ 2 w 140"/>
                <a:gd name="T15" fmla="*/ 0 h 138"/>
                <a:gd name="T16" fmla="*/ 0 w 140"/>
                <a:gd name="T17" fmla="*/ 0 h 138"/>
                <a:gd name="T18" fmla="*/ 0 w 140"/>
                <a:gd name="T19" fmla="*/ 138 h 138"/>
                <a:gd name="T20" fmla="*/ 8 w 140"/>
                <a:gd name="T21" fmla="*/ 138 h 138"/>
                <a:gd name="T22" fmla="*/ 8 w 140"/>
                <a:gd name="T23" fmla="*/ 8 h 138"/>
                <a:gd name="T24" fmla="*/ 70 w 140"/>
                <a:gd name="T25" fmla="*/ 8 h 138"/>
                <a:gd name="T26" fmla="*/ 70 w 140"/>
                <a:gd name="T27" fmla="*/ 138 h 138"/>
                <a:gd name="T28" fmla="*/ 78 w 140"/>
                <a:gd name="T29" fmla="*/ 138 h 138"/>
                <a:gd name="T30" fmla="*/ 78 w 140"/>
                <a:gd name="T31" fmla="*/ 54 h 138"/>
                <a:gd name="T32" fmla="*/ 133 w 140"/>
                <a:gd name="T33" fmla="*/ 54 h 138"/>
                <a:gd name="T34" fmla="*/ 133 w 140"/>
                <a:gd name="T35" fmla="*/ 138 h 138"/>
                <a:gd name="T36" fmla="*/ 140 w 140"/>
                <a:gd name="T37" fmla="*/ 138 h 138"/>
                <a:gd name="T38" fmla="*/ 140 w 140"/>
                <a:gd name="T39" fmla="*/ 46 h 138"/>
                <a:gd name="T40" fmla="*/ 138 w 140"/>
                <a:gd name="T41" fmla="*/ 4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0" h="138">
                  <a:moveTo>
                    <a:pt x="138" y="46"/>
                  </a:moveTo>
                  <a:lnTo>
                    <a:pt x="133" y="46"/>
                  </a:lnTo>
                  <a:lnTo>
                    <a:pt x="78" y="46"/>
                  </a:lnTo>
                  <a:lnTo>
                    <a:pt x="78" y="8"/>
                  </a:lnTo>
                  <a:lnTo>
                    <a:pt x="78" y="0"/>
                  </a:lnTo>
                  <a:lnTo>
                    <a:pt x="70" y="0"/>
                  </a:lnTo>
                  <a:lnTo>
                    <a:pt x="8" y="0"/>
                  </a:lnTo>
                  <a:lnTo>
                    <a:pt x="2" y="0"/>
                  </a:lnTo>
                  <a:lnTo>
                    <a:pt x="0" y="0"/>
                  </a:lnTo>
                  <a:lnTo>
                    <a:pt x="0" y="138"/>
                  </a:lnTo>
                  <a:lnTo>
                    <a:pt x="8" y="138"/>
                  </a:lnTo>
                  <a:lnTo>
                    <a:pt x="8" y="8"/>
                  </a:lnTo>
                  <a:lnTo>
                    <a:pt x="70" y="8"/>
                  </a:lnTo>
                  <a:lnTo>
                    <a:pt x="70" y="138"/>
                  </a:lnTo>
                  <a:lnTo>
                    <a:pt x="78" y="138"/>
                  </a:lnTo>
                  <a:lnTo>
                    <a:pt x="78" y="54"/>
                  </a:lnTo>
                  <a:lnTo>
                    <a:pt x="133" y="54"/>
                  </a:lnTo>
                  <a:lnTo>
                    <a:pt x="133" y="138"/>
                  </a:lnTo>
                  <a:lnTo>
                    <a:pt x="140" y="138"/>
                  </a:lnTo>
                  <a:lnTo>
                    <a:pt x="140" y="46"/>
                  </a:lnTo>
                  <a:lnTo>
                    <a:pt x="138"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57"/>
            <p:cNvSpPr>
              <a:spLocks noChangeArrowheads="1"/>
            </p:cNvSpPr>
            <p:nvPr/>
          </p:nvSpPr>
          <p:spPr bwMode="auto">
            <a:xfrm>
              <a:off x="2910029" y="2267073"/>
              <a:ext cx="33346" cy="3057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458"/>
            <p:cNvSpPr>
              <a:spLocks noChangeArrowheads="1"/>
            </p:cNvSpPr>
            <p:nvPr/>
          </p:nvSpPr>
          <p:spPr bwMode="auto">
            <a:xfrm>
              <a:off x="2982280" y="2267073"/>
              <a:ext cx="36126" cy="3057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459"/>
            <p:cNvSpPr>
              <a:spLocks noChangeArrowheads="1"/>
            </p:cNvSpPr>
            <p:nvPr/>
          </p:nvSpPr>
          <p:spPr bwMode="auto">
            <a:xfrm>
              <a:off x="2910029" y="2331007"/>
              <a:ext cx="33346" cy="3335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460"/>
            <p:cNvSpPr>
              <a:spLocks noChangeArrowheads="1"/>
            </p:cNvSpPr>
            <p:nvPr/>
          </p:nvSpPr>
          <p:spPr bwMode="auto">
            <a:xfrm>
              <a:off x="2982280" y="2331007"/>
              <a:ext cx="36126" cy="3335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461"/>
            <p:cNvSpPr>
              <a:spLocks noChangeArrowheads="1"/>
            </p:cNvSpPr>
            <p:nvPr/>
          </p:nvSpPr>
          <p:spPr bwMode="auto">
            <a:xfrm>
              <a:off x="2910029" y="2394940"/>
              <a:ext cx="33346" cy="3335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462"/>
            <p:cNvSpPr>
              <a:spLocks noChangeArrowheads="1"/>
            </p:cNvSpPr>
            <p:nvPr/>
          </p:nvSpPr>
          <p:spPr bwMode="auto">
            <a:xfrm>
              <a:off x="2982280" y="2394940"/>
              <a:ext cx="36126" cy="3335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463"/>
            <p:cNvSpPr>
              <a:spLocks noChangeArrowheads="1"/>
            </p:cNvSpPr>
            <p:nvPr/>
          </p:nvSpPr>
          <p:spPr bwMode="auto">
            <a:xfrm>
              <a:off x="2910029" y="2458875"/>
              <a:ext cx="33346" cy="3057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464"/>
            <p:cNvSpPr>
              <a:spLocks noChangeArrowheads="1"/>
            </p:cNvSpPr>
            <p:nvPr/>
          </p:nvSpPr>
          <p:spPr bwMode="auto">
            <a:xfrm>
              <a:off x="2982280" y="2458875"/>
              <a:ext cx="36126" cy="3057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465"/>
            <p:cNvSpPr>
              <a:spLocks noChangeArrowheads="1"/>
            </p:cNvSpPr>
            <p:nvPr/>
          </p:nvSpPr>
          <p:spPr bwMode="auto">
            <a:xfrm>
              <a:off x="2910029" y="2525588"/>
              <a:ext cx="33346" cy="3057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466"/>
            <p:cNvSpPr>
              <a:spLocks noChangeArrowheads="1"/>
            </p:cNvSpPr>
            <p:nvPr/>
          </p:nvSpPr>
          <p:spPr bwMode="auto">
            <a:xfrm>
              <a:off x="2982280" y="2525588"/>
              <a:ext cx="36126" cy="3057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467"/>
            <p:cNvSpPr>
              <a:spLocks noChangeArrowheads="1"/>
            </p:cNvSpPr>
            <p:nvPr/>
          </p:nvSpPr>
          <p:spPr bwMode="auto">
            <a:xfrm>
              <a:off x="3090656" y="2458875"/>
              <a:ext cx="36126" cy="3057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468"/>
            <p:cNvSpPr>
              <a:spLocks noChangeArrowheads="1"/>
            </p:cNvSpPr>
            <p:nvPr/>
          </p:nvSpPr>
          <p:spPr bwMode="auto">
            <a:xfrm>
              <a:off x="3165684" y="2458875"/>
              <a:ext cx="30568" cy="3057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469"/>
            <p:cNvSpPr>
              <a:spLocks noChangeArrowheads="1"/>
            </p:cNvSpPr>
            <p:nvPr/>
          </p:nvSpPr>
          <p:spPr bwMode="auto">
            <a:xfrm>
              <a:off x="3090656" y="2394940"/>
              <a:ext cx="36126" cy="3335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470"/>
            <p:cNvSpPr>
              <a:spLocks noChangeArrowheads="1"/>
            </p:cNvSpPr>
            <p:nvPr/>
          </p:nvSpPr>
          <p:spPr bwMode="auto">
            <a:xfrm>
              <a:off x="3165684" y="2394940"/>
              <a:ext cx="30568" cy="3335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471"/>
            <p:cNvSpPr>
              <a:spLocks noChangeArrowheads="1"/>
            </p:cNvSpPr>
            <p:nvPr/>
          </p:nvSpPr>
          <p:spPr bwMode="auto">
            <a:xfrm>
              <a:off x="3090656" y="2525588"/>
              <a:ext cx="36126" cy="3057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472"/>
            <p:cNvSpPr>
              <a:spLocks noChangeArrowheads="1"/>
            </p:cNvSpPr>
            <p:nvPr/>
          </p:nvSpPr>
          <p:spPr bwMode="auto">
            <a:xfrm>
              <a:off x="3165684" y="2525588"/>
              <a:ext cx="30568" cy="3057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476"/>
            <p:cNvSpPr>
              <a:spLocks noChangeArrowheads="1"/>
            </p:cNvSpPr>
            <p:nvPr/>
          </p:nvSpPr>
          <p:spPr bwMode="auto">
            <a:xfrm>
              <a:off x="2865567" y="2578402"/>
              <a:ext cx="366811" cy="1945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0" name="Group 49"/>
          <p:cNvGrpSpPr/>
          <p:nvPr/>
        </p:nvGrpSpPr>
        <p:grpSpPr>
          <a:xfrm>
            <a:off x="7404516" y="4630097"/>
            <a:ext cx="293096" cy="265962"/>
            <a:chOff x="5911205" y="5302538"/>
            <a:chExt cx="389042" cy="353026"/>
          </a:xfrm>
          <a:solidFill>
            <a:schemeClr val="bg1"/>
          </a:solidFill>
        </p:grpSpPr>
        <p:sp>
          <p:nvSpPr>
            <p:cNvPr id="51" name="Rectangle 399"/>
            <p:cNvSpPr>
              <a:spLocks noChangeArrowheads="1"/>
            </p:cNvSpPr>
            <p:nvPr/>
          </p:nvSpPr>
          <p:spPr bwMode="auto">
            <a:xfrm>
              <a:off x="5911205" y="5380370"/>
              <a:ext cx="380705" cy="1945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400"/>
            <p:cNvSpPr>
              <a:spLocks noChangeArrowheads="1"/>
            </p:cNvSpPr>
            <p:nvPr/>
          </p:nvSpPr>
          <p:spPr bwMode="auto">
            <a:xfrm>
              <a:off x="6030696" y="5302538"/>
              <a:ext cx="152838" cy="1945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401"/>
            <p:cNvSpPr>
              <a:spLocks noChangeArrowheads="1"/>
            </p:cNvSpPr>
            <p:nvPr/>
          </p:nvSpPr>
          <p:spPr bwMode="auto">
            <a:xfrm>
              <a:off x="5911205" y="5636105"/>
              <a:ext cx="380705" cy="1945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402"/>
            <p:cNvSpPr>
              <a:spLocks noChangeArrowheads="1"/>
            </p:cNvSpPr>
            <p:nvPr/>
          </p:nvSpPr>
          <p:spPr bwMode="auto">
            <a:xfrm>
              <a:off x="5911205" y="5388710"/>
              <a:ext cx="22231" cy="2668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403"/>
            <p:cNvSpPr>
              <a:spLocks noChangeArrowheads="1"/>
            </p:cNvSpPr>
            <p:nvPr/>
          </p:nvSpPr>
          <p:spPr bwMode="auto">
            <a:xfrm>
              <a:off x="6030696" y="5302538"/>
              <a:ext cx="19453" cy="861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404"/>
            <p:cNvSpPr>
              <a:spLocks noChangeArrowheads="1"/>
            </p:cNvSpPr>
            <p:nvPr/>
          </p:nvSpPr>
          <p:spPr bwMode="auto">
            <a:xfrm>
              <a:off x="6158524" y="5302538"/>
              <a:ext cx="25011" cy="861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405"/>
            <p:cNvSpPr>
              <a:spLocks noChangeArrowheads="1"/>
            </p:cNvSpPr>
            <p:nvPr/>
          </p:nvSpPr>
          <p:spPr bwMode="auto">
            <a:xfrm>
              <a:off x="6280794" y="5380370"/>
              <a:ext cx="19453" cy="27519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07"/>
            <p:cNvSpPr>
              <a:spLocks noEditPoints="1"/>
            </p:cNvSpPr>
            <p:nvPr/>
          </p:nvSpPr>
          <p:spPr bwMode="auto">
            <a:xfrm>
              <a:off x="6066822" y="5449864"/>
              <a:ext cx="80588" cy="77832"/>
            </a:xfrm>
            <a:custGeom>
              <a:avLst/>
              <a:gdLst>
                <a:gd name="T0" fmla="*/ 25 w 29"/>
                <a:gd name="T1" fmla="*/ 24 h 28"/>
                <a:gd name="T2" fmla="*/ 3 w 29"/>
                <a:gd name="T3" fmla="*/ 24 h 28"/>
                <a:gd name="T4" fmla="*/ 3 w 29"/>
                <a:gd name="T5" fmla="*/ 6 h 28"/>
                <a:gd name="T6" fmla="*/ 25 w 29"/>
                <a:gd name="T7" fmla="*/ 6 h 28"/>
                <a:gd name="T8" fmla="*/ 25 w 29"/>
                <a:gd name="T9" fmla="*/ 24 h 28"/>
                <a:gd name="T10" fmla="*/ 29 w 29"/>
                <a:gd name="T11" fmla="*/ 0 h 28"/>
                <a:gd name="T12" fmla="*/ 0 w 29"/>
                <a:gd name="T13" fmla="*/ 0 h 28"/>
                <a:gd name="T14" fmla="*/ 0 w 29"/>
                <a:gd name="T15" fmla="*/ 28 h 28"/>
                <a:gd name="T16" fmla="*/ 29 w 29"/>
                <a:gd name="T17" fmla="*/ 28 h 28"/>
                <a:gd name="T18" fmla="*/ 29 w 29"/>
                <a:gd name="T1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8">
                  <a:moveTo>
                    <a:pt x="25" y="24"/>
                  </a:moveTo>
                  <a:lnTo>
                    <a:pt x="3" y="24"/>
                  </a:lnTo>
                  <a:lnTo>
                    <a:pt x="3" y="6"/>
                  </a:lnTo>
                  <a:lnTo>
                    <a:pt x="25" y="6"/>
                  </a:lnTo>
                  <a:lnTo>
                    <a:pt x="25" y="24"/>
                  </a:lnTo>
                  <a:close/>
                  <a:moveTo>
                    <a:pt x="29" y="0"/>
                  </a:moveTo>
                  <a:lnTo>
                    <a:pt x="0" y="0"/>
                  </a:lnTo>
                  <a:lnTo>
                    <a:pt x="0" y="28"/>
                  </a:lnTo>
                  <a:lnTo>
                    <a:pt x="29" y="28"/>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520"/>
            <p:cNvSpPr>
              <a:spLocks noChangeArrowheads="1"/>
            </p:cNvSpPr>
            <p:nvPr/>
          </p:nvSpPr>
          <p:spPr bwMode="auto">
            <a:xfrm>
              <a:off x="5911205" y="5486000"/>
              <a:ext cx="155616" cy="111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521"/>
            <p:cNvSpPr>
              <a:spLocks noChangeArrowheads="1"/>
            </p:cNvSpPr>
            <p:nvPr/>
          </p:nvSpPr>
          <p:spPr bwMode="auto">
            <a:xfrm>
              <a:off x="6147408" y="5486000"/>
              <a:ext cx="144501" cy="111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82104672"/>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Placeholder 48"/>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20156" b="20156"/>
          <a:stretch>
            <a:fillRect/>
          </a:stretch>
        </p:blipFill>
        <p:spPr/>
      </p:pic>
      <p:sp>
        <p:nvSpPr>
          <p:cNvPr id="47" name="Rectangle 46"/>
          <p:cNvSpPr/>
          <p:nvPr/>
        </p:nvSpPr>
        <p:spPr>
          <a:xfrm>
            <a:off x="0" y="0"/>
            <a:ext cx="12192000" cy="4851400"/>
          </a:xfrm>
          <a:prstGeom prst="rect">
            <a:avLst/>
          </a:prstGeom>
          <a:solidFill>
            <a:schemeClr val="tx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Rectangle 1"/>
          <p:cNvSpPr/>
          <p:nvPr/>
        </p:nvSpPr>
        <p:spPr>
          <a:xfrm>
            <a:off x="2023" y="6664283"/>
            <a:ext cx="12189983" cy="206419"/>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
          <p:cNvSpPr/>
          <p:nvPr/>
        </p:nvSpPr>
        <p:spPr>
          <a:xfrm>
            <a:off x="5056966" y="6530678"/>
            <a:ext cx="2078068" cy="222924"/>
          </a:xfrm>
          <a:prstGeom prst="roundRect">
            <a:avLst>
              <a:gd name="adj" fmla="val 50000"/>
            </a:avLst>
          </a:prstGeom>
          <a:solidFill>
            <a:srgbClr val="018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effectLst>
                <a:outerShdw blurRad="63500" sx="102000" sy="102000" algn="ctr" rotWithShape="0">
                  <a:prstClr val="black">
                    <a:alpha val="40000"/>
                  </a:prstClr>
                </a:outerShdw>
              </a:effectLst>
              <a:latin typeface="+mj-lt"/>
            </a:endParaRPr>
          </a:p>
        </p:txBody>
      </p:sp>
      <p:sp>
        <p:nvSpPr>
          <p:cNvPr id="4" name="Date Placeholder 1"/>
          <p:cNvSpPr txBox="1">
            <a:spLocks/>
          </p:cNvSpPr>
          <p:nvPr>
            <p:custDataLst>
              <p:tags r:id="rId1"/>
            </p:custDataLst>
          </p:nvPr>
        </p:nvSpPr>
        <p:spPr>
          <a:xfrm>
            <a:off x="5006809" y="6498189"/>
            <a:ext cx="1530941"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Segoe UI" panose="020B0502040204020203" pitchFamily="34" charset="0"/>
                <a:ea typeface="Open Sans Light" panose="020B0306030504020204" pitchFamily="34" charset="0"/>
                <a:cs typeface="Segoe UI" panose="020B0502040204020203" pitchFamily="34" charset="0"/>
              </a:rPr>
              <a:t>www.yourcompanyname.com</a:t>
            </a:r>
          </a:p>
        </p:txBody>
      </p:sp>
      <p:cxnSp>
        <p:nvCxnSpPr>
          <p:cNvPr id="5" name="Straight Connector 4"/>
          <p:cNvCxnSpPr/>
          <p:nvPr/>
        </p:nvCxnSpPr>
        <p:spPr>
          <a:xfrm>
            <a:off x="6512721" y="6567488"/>
            <a:ext cx="0" cy="154781"/>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6665393" y="6505535"/>
            <a:ext cx="335348" cy="261610"/>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05</a:t>
            </a:r>
          </a:p>
        </p:txBody>
      </p:sp>
      <p:sp>
        <p:nvSpPr>
          <p:cNvPr id="7" name="Title 11"/>
          <p:cNvSpPr txBox="1">
            <a:spLocks/>
          </p:cNvSpPr>
          <p:nvPr/>
        </p:nvSpPr>
        <p:spPr>
          <a:xfrm>
            <a:off x="987778" y="557390"/>
            <a:ext cx="10216444"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1" spc="-150" dirty="0">
                <a:solidFill>
                  <a:schemeClr val="bg1"/>
                </a:solidFill>
                <a:latin typeface="Montserrat" panose="00000500000000000000" pitchFamily="2" charset="0"/>
                <a:ea typeface="Roboto" panose="02000000000000000000" pitchFamily="2" charset="0"/>
                <a:cs typeface="Times New Roman" panose="02020603050405020304" pitchFamily="18" charset="0"/>
              </a:rPr>
              <a:t>What </a:t>
            </a:r>
            <a:r>
              <a:rPr lang="en-US" sz="3600" spc="-150" dirty="0">
                <a:solidFill>
                  <a:schemeClr val="bg1"/>
                </a:solidFill>
                <a:latin typeface="Montserrat" panose="00000500000000000000" pitchFamily="2" charset="0"/>
                <a:ea typeface="Roboto" panose="02000000000000000000" pitchFamily="2" charset="0"/>
                <a:cs typeface="Times New Roman" panose="02020603050405020304" pitchFamily="18" charset="0"/>
              </a:rPr>
              <a:t>We Do</a:t>
            </a:r>
          </a:p>
        </p:txBody>
      </p:sp>
      <p:sp>
        <p:nvSpPr>
          <p:cNvPr id="8" name="Title 11"/>
          <p:cNvSpPr txBox="1">
            <a:spLocks/>
          </p:cNvSpPr>
          <p:nvPr/>
        </p:nvSpPr>
        <p:spPr>
          <a:xfrm>
            <a:off x="4378420" y="1261664"/>
            <a:ext cx="3435161" cy="192764"/>
          </a:xfrm>
          <a:prstGeom prst="rect">
            <a:avLst/>
          </a:prstGeom>
        </p:spPr>
        <p:txBody>
          <a:bodyPr vert="horz"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dirty="0">
                <a:solidFill>
                  <a:schemeClr val="bg1"/>
                </a:solidFill>
                <a:ea typeface="Roboto" panose="02000000000000000000" pitchFamily="2" charset="0"/>
                <a:cs typeface="Open Sans Light" panose="020B0306030504020204" pitchFamily="34" charset="0"/>
              </a:rPr>
              <a:t>Insert Your Creative Idea </a:t>
            </a:r>
          </a:p>
        </p:txBody>
      </p:sp>
      <p:sp>
        <p:nvSpPr>
          <p:cNvPr id="9" name="Rectangle 8"/>
          <p:cNvSpPr/>
          <p:nvPr/>
        </p:nvSpPr>
        <p:spPr>
          <a:xfrm>
            <a:off x="1151192" y="4094666"/>
            <a:ext cx="9889617" cy="1432021"/>
          </a:xfrm>
          <a:prstGeom prst="rect">
            <a:avLst/>
          </a:prstGeom>
          <a:solidFill>
            <a:schemeClr val="bg1"/>
          </a:solidFill>
          <a:ln>
            <a:noFill/>
          </a:ln>
          <a:effectLst>
            <a:outerShdw blurRad="1270000" dist="215900" dir="81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0" name="Title 11"/>
          <p:cNvSpPr txBox="1">
            <a:spLocks/>
          </p:cNvSpPr>
          <p:nvPr/>
        </p:nvSpPr>
        <p:spPr>
          <a:xfrm>
            <a:off x="1334377" y="4357101"/>
            <a:ext cx="2149069" cy="309092"/>
          </a:xfrm>
          <a:prstGeom prst="rect">
            <a:avLst/>
          </a:prstGeom>
        </p:spPr>
        <p:txBody>
          <a:bodyPr vert="horz" wrap="square"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400" b="1" dirty="0">
                <a:solidFill>
                  <a:schemeClr val="tx1">
                    <a:lumMod val="85000"/>
                    <a:lumOff val="15000"/>
                  </a:schemeClr>
                </a:solidFill>
                <a:latin typeface="Montserrat" panose="00000500000000000000" pitchFamily="2" charset="0"/>
                <a:ea typeface="Open Sans" panose="020B0606030504020204" pitchFamily="34" charset="0"/>
                <a:cs typeface="Open Sans" panose="020B0606030504020204" pitchFamily="34" charset="0"/>
              </a:rPr>
              <a:t>WHO WE ARE?</a:t>
            </a:r>
          </a:p>
        </p:txBody>
      </p:sp>
      <p:sp>
        <p:nvSpPr>
          <p:cNvPr id="11" name="Rectangle 10"/>
          <p:cNvSpPr/>
          <p:nvPr/>
        </p:nvSpPr>
        <p:spPr>
          <a:xfrm>
            <a:off x="1381420" y="4714917"/>
            <a:ext cx="1962637" cy="553998"/>
          </a:xfrm>
          <a:prstGeom prst="rect">
            <a:avLst/>
          </a:prstGeom>
          <a:noFill/>
        </p:spPr>
        <p:txBody>
          <a:bodyPr wrap="square">
            <a:spAutoFit/>
          </a:bodyPr>
          <a:lstStyle/>
          <a:p>
            <a:pPr algn="ctr">
              <a:buClr>
                <a:srgbClr val="E24848"/>
              </a:buClr>
              <a:defRPr/>
            </a:pPr>
            <a:r>
              <a:rPr lang="en-US" sz="1000" noProof="1">
                <a:solidFill>
                  <a:schemeClr val="tx1">
                    <a:lumMod val="85000"/>
                    <a:lumOff val="15000"/>
                  </a:schemeClr>
                </a:solidFill>
                <a:latin typeface="+mj-lt"/>
                <a:ea typeface="Roboto Light" panose="02000000000000000000" pitchFamily="2" charset="0"/>
                <a:cs typeface="Arial" charset="0"/>
              </a:rPr>
              <a:t>Lorem ipsum dolor sit amet, consectetur adipiscing elit. Nulla imperdiet volutpat</a:t>
            </a:r>
          </a:p>
        </p:txBody>
      </p:sp>
      <p:sp>
        <p:nvSpPr>
          <p:cNvPr id="12" name="Title 11"/>
          <p:cNvSpPr txBox="1">
            <a:spLocks/>
          </p:cNvSpPr>
          <p:nvPr/>
        </p:nvSpPr>
        <p:spPr>
          <a:xfrm>
            <a:off x="3699883" y="4357101"/>
            <a:ext cx="2349780" cy="309092"/>
          </a:xfrm>
          <a:prstGeom prst="rect">
            <a:avLst/>
          </a:prstGeom>
        </p:spPr>
        <p:txBody>
          <a:bodyPr vert="horz" wrap="square"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400" b="1" dirty="0">
                <a:solidFill>
                  <a:schemeClr val="tx1">
                    <a:lumMod val="85000"/>
                    <a:lumOff val="15000"/>
                  </a:schemeClr>
                </a:solidFill>
                <a:latin typeface="Montserrat" panose="00000500000000000000" pitchFamily="2" charset="0"/>
                <a:ea typeface="Open Sans" panose="020B0606030504020204" pitchFamily="34" charset="0"/>
                <a:cs typeface="Open Sans" panose="020B0606030504020204" pitchFamily="34" charset="0"/>
              </a:rPr>
              <a:t>BEST SERVICE</a:t>
            </a:r>
          </a:p>
        </p:txBody>
      </p:sp>
      <p:sp>
        <p:nvSpPr>
          <p:cNvPr id="13" name="Title 11"/>
          <p:cNvSpPr txBox="1">
            <a:spLocks/>
          </p:cNvSpPr>
          <p:nvPr/>
        </p:nvSpPr>
        <p:spPr>
          <a:xfrm>
            <a:off x="6266100" y="4357101"/>
            <a:ext cx="2149069" cy="309092"/>
          </a:xfrm>
          <a:prstGeom prst="rect">
            <a:avLst/>
          </a:prstGeom>
        </p:spPr>
        <p:txBody>
          <a:bodyPr vert="horz" wrap="square"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400" b="1" dirty="0">
                <a:solidFill>
                  <a:schemeClr val="tx1">
                    <a:lumMod val="85000"/>
                    <a:lumOff val="15000"/>
                  </a:schemeClr>
                </a:solidFill>
                <a:latin typeface="Montserrat" panose="00000500000000000000" pitchFamily="2" charset="0"/>
                <a:ea typeface="Open Sans" panose="020B0606030504020204" pitchFamily="34" charset="0"/>
                <a:cs typeface="Open Sans" panose="020B0606030504020204" pitchFamily="34" charset="0"/>
              </a:rPr>
              <a:t>VERY USEFUL</a:t>
            </a:r>
          </a:p>
        </p:txBody>
      </p:sp>
      <p:sp>
        <p:nvSpPr>
          <p:cNvPr id="14" name="Title 11"/>
          <p:cNvSpPr txBox="1">
            <a:spLocks/>
          </p:cNvSpPr>
          <p:nvPr/>
        </p:nvSpPr>
        <p:spPr>
          <a:xfrm>
            <a:off x="8631606" y="4356101"/>
            <a:ext cx="2016531" cy="299562"/>
          </a:xfrm>
          <a:prstGeom prst="rect">
            <a:avLst/>
          </a:prstGeom>
        </p:spPr>
        <p:txBody>
          <a:bodyPr vert="horz" wrap="square"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400" b="1" dirty="0">
                <a:solidFill>
                  <a:schemeClr val="tx1">
                    <a:lumMod val="85000"/>
                    <a:lumOff val="15000"/>
                  </a:schemeClr>
                </a:solidFill>
                <a:latin typeface="Montserrat" panose="00000500000000000000" pitchFamily="2" charset="0"/>
                <a:ea typeface="Open Sans" panose="020B0606030504020204" pitchFamily="34" charset="0"/>
                <a:cs typeface="Open Sans" panose="020B0606030504020204" pitchFamily="34" charset="0"/>
              </a:rPr>
              <a:t>GOOD VISION</a:t>
            </a:r>
          </a:p>
        </p:txBody>
      </p:sp>
      <p:sp>
        <p:nvSpPr>
          <p:cNvPr id="15" name="Rectangle 14"/>
          <p:cNvSpPr/>
          <p:nvPr/>
        </p:nvSpPr>
        <p:spPr>
          <a:xfrm>
            <a:off x="3893454" y="4714917"/>
            <a:ext cx="1962637" cy="553998"/>
          </a:xfrm>
          <a:prstGeom prst="rect">
            <a:avLst/>
          </a:prstGeom>
          <a:noFill/>
        </p:spPr>
        <p:txBody>
          <a:bodyPr wrap="square">
            <a:spAutoFit/>
          </a:bodyPr>
          <a:lstStyle/>
          <a:p>
            <a:pPr algn="ctr">
              <a:buClr>
                <a:srgbClr val="E24848"/>
              </a:buClr>
              <a:defRPr/>
            </a:pPr>
            <a:r>
              <a:rPr lang="en-US" sz="1000" noProof="1">
                <a:solidFill>
                  <a:schemeClr val="tx1">
                    <a:lumMod val="85000"/>
                    <a:lumOff val="15000"/>
                  </a:schemeClr>
                </a:solidFill>
                <a:latin typeface="+mj-lt"/>
                <a:ea typeface="Roboto Light" panose="02000000000000000000" pitchFamily="2" charset="0"/>
                <a:cs typeface="Arial" charset="0"/>
              </a:rPr>
              <a:t>Lorem ipsum dolor sit amet, consectetur adipiscing elit. Nulla imperdiet volutpat</a:t>
            </a:r>
          </a:p>
        </p:txBody>
      </p:sp>
      <p:sp>
        <p:nvSpPr>
          <p:cNvPr id="16" name="Rectangle 15"/>
          <p:cNvSpPr/>
          <p:nvPr/>
        </p:nvSpPr>
        <p:spPr>
          <a:xfrm>
            <a:off x="6359315" y="4714917"/>
            <a:ext cx="1962637" cy="553998"/>
          </a:xfrm>
          <a:prstGeom prst="rect">
            <a:avLst/>
          </a:prstGeom>
          <a:noFill/>
        </p:spPr>
        <p:txBody>
          <a:bodyPr wrap="square">
            <a:spAutoFit/>
          </a:bodyPr>
          <a:lstStyle/>
          <a:p>
            <a:pPr algn="ctr">
              <a:buClr>
                <a:srgbClr val="E24848"/>
              </a:buClr>
              <a:defRPr/>
            </a:pPr>
            <a:r>
              <a:rPr lang="en-US" sz="1000" noProof="1">
                <a:solidFill>
                  <a:schemeClr val="tx1">
                    <a:lumMod val="85000"/>
                    <a:lumOff val="15000"/>
                  </a:schemeClr>
                </a:solidFill>
                <a:latin typeface="+mj-lt"/>
                <a:ea typeface="Roboto Light" panose="02000000000000000000" pitchFamily="2" charset="0"/>
                <a:cs typeface="Arial" charset="0"/>
              </a:rPr>
              <a:t>Lorem ipsum dolor sit amet, consectetur adipiscing elit. Nulla imperdiet volutpat</a:t>
            </a:r>
          </a:p>
        </p:txBody>
      </p:sp>
      <p:sp>
        <p:nvSpPr>
          <p:cNvPr id="17" name="Rectangle 16"/>
          <p:cNvSpPr/>
          <p:nvPr/>
        </p:nvSpPr>
        <p:spPr>
          <a:xfrm>
            <a:off x="8658552" y="4714917"/>
            <a:ext cx="1962637" cy="553998"/>
          </a:xfrm>
          <a:prstGeom prst="rect">
            <a:avLst/>
          </a:prstGeom>
          <a:noFill/>
        </p:spPr>
        <p:txBody>
          <a:bodyPr wrap="square">
            <a:spAutoFit/>
          </a:bodyPr>
          <a:lstStyle/>
          <a:p>
            <a:pPr algn="ctr">
              <a:buClr>
                <a:srgbClr val="E24848"/>
              </a:buClr>
              <a:defRPr/>
            </a:pPr>
            <a:r>
              <a:rPr lang="en-US" sz="1000" noProof="1">
                <a:solidFill>
                  <a:schemeClr val="tx1">
                    <a:lumMod val="85000"/>
                    <a:lumOff val="15000"/>
                  </a:schemeClr>
                </a:solidFill>
                <a:latin typeface="+mj-lt"/>
                <a:ea typeface="Roboto Light" panose="02000000000000000000" pitchFamily="2" charset="0"/>
                <a:cs typeface="Arial" charset="0"/>
              </a:rPr>
              <a:t>Lorem ipsum dolor sit amet, consectetur adipiscing elit. Nulla imperdiet volutpat</a:t>
            </a:r>
          </a:p>
        </p:txBody>
      </p:sp>
      <p:grpSp>
        <p:nvGrpSpPr>
          <p:cNvPr id="18" name="Group 17"/>
          <p:cNvGrpSpPr/>
          <p:nvPr/>
        </p:nvGrpSpPr>
        <p:grpSpPr>
          <a:xfrm>
            <a:off x="4722682" y="3461832"/>
            <a:ext cx="333553" cy="401371"/>
            <a:chOff x="381906" y="1233774"/>
            <a:chExt cx="366908" cy="441508"/>
          </a:xfrm>
          <a:solidFill>
            <a:schemeClr val="bg1"/>
          </a:solidFill>
        </p:grpSpPr>
        <p:sp>
          <p:nvSpPr>
            <p:cNvPr id="19" name="Freeform 10945"/>
            <p:cNvSpPr>
              <a:spLocks/>
            </p:cNvSpPr>
            <p:nvPr/>
          </p:nvSpPr>
          <p:spPr bwMode="auto">
            <a:xfrm>
              <a:off x="418444" y="1579369"/>
              <a:ext cx="53285" cy="54808"/>
            </a:xfrm>
            <a:custGeom>
              <a:avLst/>
              <a:gdLst>
                <a:gd name="T0" fmla="*/ 141 w 141"/>
                <a:gd name="T1" fmla="*/ 70 h 141"/>
                <a:gd name="T2" fmla="*/ 141 w 141"/>
                <a:gd name="T3" fmla="*/ 70 h 141"/>
                <a:gd name="T4" fmla="*/ 140 w 141"/>
                <a:gd name="T5" fmla="*/ 85 h 141"/>
                <a:gd name="T6" fmla="*/ 134 w 141"/>
                <a:gd name="T7" fmla="*/ 98 h 141"/>
                <a:gd name="T8" fmla="*/ 128 w 141"/>
                <a:gd name="T9" fmla="*/ 111 h 141"/>
                <a:gd name="T10" fmla="*/ 120 w 141"/>
                <a:gd name="T11" fmla="*/ 121 h 141"/>
                <a:gd name="T12" fmla="*/ 110 w 141"/>
                <a:gd name="T13" fmla="*/ 129 h 141"/>
                <a:gd name="T14" fmla="*/ 98 w 141"/>
                <a:gd name="T15" fmla="*/ 136 h 141"/>
                <a:gd name="T16" fmla="*/ 85 w 141"/>
                <a:gd name="T17" fmla="*/ 140 h 141"/>
                <a:gd name="T18" fmla="*/ 70 w 141"/>
                <a:gd name="T19" fmla="*/ 141 h 141"/>
                <a:gd name="T20" fmla="*/ 70 w 141"/>
                <a:gd name="T21" fmla="*/ 141 h 141"/>
                <a:gd name="T22" fmla="*/ 56 w 141"/>
                <a:gd name="T23" fmla="*/ 140 h 141"/>
                <a:gd name="T24" fmla="*/ 43 w 141"/>
                <a:gd name="T25" fmla="*/ 136 h 141"/>
                <a:gd name="T26" fmla="*/ 30 w 141"/>
                <a:gd name="T27" fmla="*/ 129 h 141"/>
                <a:gd name="T28" fmla="*/ 21 w 141"/>
                <a:gd name="T29" fmla="*/ 121 h 141"/>
                <a:gd name="T30" fmla="*/ 12 w 141"/>
                <a:gd name="T31" fmla="*/ 111 h 141"/>
                <a:gd name="T32" fmla="*/ 5 w 141"/>
                <a:gd name="T33" fmla="*/ 98 h 141"/>
                <a:gd name="T34" fmla="*/ 1 w 141"/>
                <a:gd name="T35" fmla="*/ 85 h 141"/>
                <a:gd name="T36" fmla="*/ 0 w 141"/>
                <a:gd name="T37" fmla="*/ 70 h 141"/>
                <a:gd name="T38" fmla="*/ 0 w 141"/>
                <a:gd name="T39" fmla="*/ 70 h 141"/>
                <a:gd name="T40" fmla="*/ 1 w 141"/>
                <a:gd name="T41" fmla="*/ 57 h 141"/>
                <a:gd name="T42" fmla="*/ 5 w 141"/>
                <a:gd name="T43" fmla="*/ 43 h 141"/>
                <a:gd name="T44" fmla="*/ 12 w 141"/>
                <a:gd name="T45" fmla="*/ 31 h 141"/>
                <a:gd name="T46" fmla="*/ 21 w 141"/>
                <a:gd name="T47" fmla="*/ 21 h 141"/>
                <a:gd name="T48" fmla="*/ 30 w 141"/>
                <a:gd name="T49" fmla="*/ 13 h 141"/>
                <a:gd name="T50" fmla="*/ 43 w 141"/>
                <a:gd name="T51" fmla="*/ 6 h 141"/>
                <a:gd name="T52" fmla="*/ 56 w 141"/>
                <a:gd name="T53" fmla="*/ 2 h 141"/>
                <a:gd name="T54" fmla="*/ 70 w 141"/>
                <a:gd name="T55" fmla="*/ 0 h 141"/>
                <a:gd name="T56" fmla="*/ 70 w 141"/>
                <a:gd name="T57" fmla="*/ 0 h 141"/>
                <a:gd name="T58" fmla="*/ 85 w 141"/>
                <a:gd name="T59" fmla="*/ 2 h 141"/>
                <a:gd name="T60" fmla="*/ 98 w 141"/>
                <a:gd name="T61" fmla="*/ 6 h 141"/>
                <a:gd name="T62" fmla="*/ 110 w 141"/>
                <a:gd name="T63" fmla="*/ 13 h 141"/>
                <a:gd name="T64" fmla="*/ 120 w 141"/>
                <a:gd name="T65" fmla="*/ 21 h 141"/>
                <a:gd name="T66" fmla="*/ 128 w 141"/>
                <a:gd name="T67" fmla="*/ 31 h 141"/>
                <a:gd name="T68" fmla="*/ 134 w 141"/>
                <a:gd name="T69" fmla="*/ 43 h 141"/>
                <a:gd name="T70" fmla="*/ 140 w 141"/>
                <a:gd name="T71" fmla="*/ 57 h 141"/>
                <a:gd name="T72" fmla="*/ 141 w 141"/>
                <a:gd name="T73" fmla="*/ 70 h 141"/>
                <a:gd name="T74" fmla="*/ 141 w 141"/>
                <a:gd name="T7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 h="141">
                  <a:moveTo>
                    <a:pt x="141" y="70"/>
                  </a:moveTo>
                  <a:lnTo>
                    <a:pt x="141" y="70"/>
                  </a:lnTo>
                  <a:lnTo>
                    <a:pt x="140" y="85"/>
                  </a:lnTo>
                  <a:lnTo>
                    <a:pt x="134" y="98"/>
                  </a:lnTo>
                  <a:lnTo>
                    <a:pt x="128" y="111"/>
                  </a:lnTo>
                  <a:lnTo>
                    <a:pt x="120" y="121"/>
                  </a:lnTo>
                  <a:lnTo>
                    <a:pt x="110" y="129"/>
                  </a:lnTo>
                  <a:lnTo>
                    <a:pt x="98" y="136"/>
                  </a:lnTo>
                  <a:lnTo>
                    <a:pt x="85" y="140"/>
                  </a:lnTo>
                  <a:lnTo>
                    <a:pt x="70" y="141"/>
                  </a:lnTo>
                  <a:lnTo>
                    <a:pt x="70" y="141"/>
                  </a:lnTo>
                  <a:lnTo>
                    <a:pt x="56" y="140"/>
                  </a:lnTo>
                  <a:lnTo>
                    <a:pt x="43" y="136"/>
                  </a:lnTo>
                  <a:lnTo>
                    <a:pt x="30" y="129"/>
                  </a:lnTo>
                  <a:lnTo>
                    <a:pt x="21" y="121"/>
                  </a:lnTo>
                  <a:lnTo>
                    <a:pt x="12" y="111"/>
                  </a:lnTo>
                  <a:lnTo>
                    <a:pt x="5" y="98"/>
                  </a:lnTo>
                  <a:lnTo>
                    <a:pt x="1" y="85"/>
                  </a:lnTo>
                  <a:lnTo>
                    <a:pt x="0" y="70"/>
                  </a:lnTo>
                  <a:lnTo>
                    <a:pt x="0" y="70"/>
                  </a:lnTo>
                  <a:lnTo>
                    <a:pt x="1" y="57"/>
                  </a:lnTo>
                  <a:lnTo>
                    <a:pt x="5" y="43"/>
                  </a:lnTo>
                  <a:lnTo>
                    <a:pt x="12" y="31"/>
                  </a:lnTo>
                  <a:lnTo>
                    <a:pt x="21" y="21"/>
                  </a:lnTo>
                  <a:lnTo>
                    <a:pt x="30" y="13"/>
                  </a:lnTo>
                  <a:lnTo>
                    <a:pt x="43" y="6"/>
                  </a:lnTo>
                  <a:lnTo>
                    <a:pt x="56" y="2"/>
                  </a:lnTo>
                  <a:lnTo>
                    <a:pt x="70" y="0"/>
                  </a:lnTo>
                  <a:lnTo>
                    <a:pt x="70" y="0"/>
                  </a:lnTo>
                  <a:lnTo>
                    <a:pt x="85" y="2"/>
                  </a:lnTo>
                  <a:lnTo>
                    <a:pt x="98" y="6"/>
                  </a:lnTo>
                  <a:lnTo>
                    <a:pt x="110" y="13"/>
                  </a:lnTo>
                  <a:lnTo>
                    <a:pt x="120" y="21"/>
                  </a:lnTo>
                  <a:lnTo>
                    <a:pt x="128" y="31"/>
                  </a:lnTo>
                  <a:lnTo>
                    <a:pt x="134" y="43"/>
                  </a:lnTo>
                  <a:lnTo>
                    <a:pt x="140" y="57"/>
                  </a:lnTo>
                  <a:lnTo>
                    <a:pt x="141" y="70"/>
                  </a:lnTo>
                  <a:lnTo>
                    <a:pt x="141"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0" name="Freeform 10946"/>
            <p:cNvSpPr>
              <a:spLocks/>
            </p:cNvSpPr>
            <p:nvPr/>
          </p:nvSpPr>
          <p:spPr bwMode="auto">
            <a:xfrm>
              <a:off x="555464" y="1597638"/>
              <a:ext cx="44151" cy="44151"/>
            </a:xfrm>
            <a:custGeom>
              <a:avLst/>
              <a:gdLst>
                <a:gd name="T0" fmla="*/ 115 w 115"/>
                <a:gd name="T1" fmla="*/ 57 h 115"/>
                <a:gd name="T2" fmla="*/ 115 w 115"/>
                <a:gd name="T3" fmla="*/ 57 h 115"/>
                <a:gd name="T4" fmla="*/ 114 w 115"/>
                <a:gd name="T5" fmla="*/ 69 h 115"/>
                <a:gd name="T6" fmla="*/ 111 w 115"/>
                <a:gd name="T7" fmla="*/ 79 h 115"/>
                <a:gd name="T8" fmla="*/ 106 w 115"/>
                <a:gd name="T9" fmla="*/ 90 h 115"/>
                <a:gd name="T10" fmla="*/ 98 w 115"/>
                <a:gd name="T11" fmla="*/ 98 h 115"/>
                <a:gd name="T12" fmla="*/ 90 w 115"/>
                <a:gd name="T13" fmla="*/ 105 h 115"/>
                <a:gd name="T14" fmla="*/ 80 w 115"/>
                <a:gd name="T15" fmla="*/ 111 h 115"/>
                <a:gd name="T16" fmla="*/ 69 w 115"/>
                <a:gd name="T17" fmla="*/ 113 h 115"/>
                <a:gd name="T18" fmla="*/ 57 w 115"/>
                <a:gd name="T19" fmla="*/ 115 h 115"/>
                <a:gd name="T20" fmla="*/ 57 w 115"/>
                <a:gd name="T21" fmla="*/ 115 h 115"/>
                <a:gd name="T22" fmla="*/ 46 w 115"/>
                <a:gd name="T23" fmla="*/ 113 h 115"/>
                <a:gd name="T24" fmla="*/ 35 w 115"/>
                <a:gd name="T25" fmla="*/ 111 h 115"/>
                <a:gd name="T26" fmla="*/ 25 w 115"/>
                <a:gd name="T27" fmla="*/ 105 h 115"/>
                <a:gd name="T28" fmla="*/ 17 w 115"/>
                <a:gd name="T29" fmla="*/ 98 h 115"/>
                <a:gd name="T30" fmla="*/ 9 w 115"/>
                <a:gd name="T31" fmla="*/ 90 h 115"/>
                <a:gd name="T32" fmla="*/ 4 w 115"/>
                <a:gd name="T33" fmla="*/ 79 h 115"/>
                <a:gd name="T34" fmla="*/ 1 w 115"/>
                <a:gd name="T35" fmla="*/ 69 h 115"/>
                <a:gd name="T36" fmla="*/ 0 w 115"/>
                <a:gd name="T37" fmla="*/ 57 h 115"/>
                <a:gd name="T38" fmla="*/ 0 w 115"/>
                <a:gd name="T39" fmla="*/ 57 h 115"/>
                <a:gd name="T40" fmla="*/ 1 w 115"/>
                <a:gd name="T41" fmla="*/ 45 h 115"/>
                <a:gd name="T42" fmla="*/ 4 w 115"/>
                <a:gd name="T43" fmla="*/ 35 h 115"/>
                <a:gd name="T44" fmla="*/ 9 w 115"/>
                <a:gd name="T45" fmla="*/ 24 h 115"/>
                <a:gd name="T46" fmla="*/ 17 w 115"/>
                <a:gd name="T47" fmla="*/ 17 h 115"/>
                <a:gd name="T48" fmla="*/ 25 w 115"/>
                <a:gd name="T49" fmla="*/ 9 h 115"/>
                <a:gd name="T50" fmla="*/ 35 w 115"/>
                <a:gd name="T51" fmla="*/ 4 h 115"/>
                <a:gd name="T52" fmla="*/ 46 w 115"/>
                <a:gd name="T53" fmla="*/ 1 h 115"/>
                <a:gd name="T54" fmla="*/ 57 w 115"/>
                <a:gd name="T55" fmla="*/ 0 h 115"/>
                <a:gd name="T56" fmla="*/ 57 w 115"/>
                <a:gd name="T57" fmla="*/ 0 h 115"/>
                <a:gd name="T58" fmla="*/ 69 w 115"/>
                <a:gd name="T59" fmla="*/ 1 h 115"/>
                <a:gd name="T60" fmla="*/ 80 w 115"/>
                <a:gd name="T61" fmla="*/ 4 h 115"/>
                <a:gd name="T62" fmla="*/ 90 w 115"/>
                <a:gd name="T63" fmla="*/ 9 h 115"/>
                <a:gd name="T64" fmla="*/ 98 w 115"/>
                <a:gd name="T65" fmla="*/ 17 h 115"/>
                <a:gd name="T66" fmla="*/ 106 w 115"/>
                <a:gd name="T67" fmla="*/ 24 h 115"/>
                <a:gd name="T68" fmla="*/ 111 w 115"/>
                <a:gd name="T69" fmla="*/ 35 h 115"/>
                <a:gd name="T70" fmla="*/ 114 w 115"/>
                <a:gd name="T71" fmla="*/ 45 h 115"/>
                <a:gd name="T72" fmla="*/ 115 w 115"/>
                <a:gd name="T73" fmla="*/ 57 h 115"/>
                <a:gd name="T74" fmla="*/ 115 w 115"/>
                <a:gd name="T75"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5" h="115">
                  <a:moveTo>
                    <a:pt x="115" y="57"/>
                  </a:moveTo>
                  <a:lnTo>
                    <a:pt x="115" y="57"/>
                  </a:lnTo>
                  <a:lnTo>
                    <a:pt x="114" y="69"/>
                  </a:lnTo>
                  <a:lnTo>
                    <a:pt x="111" y="79"/>
                  </a:lnTo>
                  <a:lnTo>
                    <a:pt x="106" y="90"/>
                  </a:lnTo>
                  <a:lnTo>
                    <a:pt x="98" y="98"/>
                  </a:lnTo>
                  <a:lnTo>
                    <a:pt x="90" y="105"/>
                  </a:lnTo>
                  <a:lnTo>
                    <a:pt x="80" y="111"/>
                  </a:lnTo>
                  <a:lnTo>
                    <a:pt x="69" y="113"/>
                  </a:lnTo>
                  <a:lnTo>
                    <a:pt x="57" y="115"/>
                  </a:lnTo>
                  <a:lnTo>
                    <a:pt x="57" y="115"/>
                  </a:lnTo>
                  <a:lnTo>
                    <a:pt x="46" y="113"/>
                  </a:lnTo>
                  <a:lnTo>
                    <a:pt x="35" y="111"/>
                  </a:lnTo>
                  <a:lnTo>
                    <a:pt x="25" y="105"/>
                  </a:lnTo>
                  <a:lnTo>
                    <a:pt x="17" y="98"/>
                  </a:lnTo>
                  <a:lnTo>
                    <a:pt x="9" y="90"/>
                  </a:lnTo>
                  <a:lnTo>
                    <a:pt x="4" y="79"/>
                  </a:lnTo>
                  <a:lnTo>
                    <a:pt x="1" y="69"/>
                  </a:lnTo>
                  <a:lnTo>
                    <a:pt x="0" y="57"/>
                  </a:lnTo>
                  <a:lnTo>
                    <a:pt x="0" y="57"/>
                  </a:lnTo>
                  <a:lnTo>
                    <a:pt x="1" y="45"/>
                  </a:lnTo>
                  <a:lnTo>
                    <a:pt x="4" y="35"/>
                  </a:lnTo>
                  <a:lnTo>
                    <a:pt x="9" y="24"/>
                  </a:lnTo>
                  <a:lnTo>
                    <a:pt x="17" y="17"/>
                  </a:lnTo>
                  <a:lnTo>
                    <a:pt x="25" y="9"/>
                  </a:lnTo>
                  <a:lnTo>
                    <a:pt x="35" y="4"/>
                  </a:lnTo>
                  <a:lnTo>
                    <a:pt x="46" y="1"/>
                  </a:lnTo>
                  <a:lnTo>
                    <a:pt x="57" y="0"/>
                  </a:lnTo>
                  <a:lnTo>
                    <a:pt x="57" y="0"/>
                  </a:lnTo>
                  <a:lnTo>
                    <a:pt x="69" y="1"/>
                  </a:lnTo>
                  <a:lnTo>
                    <a:pt x="80" y="4"/>
                  </a:lnTo>
                  <a:lnTo>
                    <a:pt x="90" y="9"/>
                  </a:lnTo>
                  <a:lnTo>
                    <a:pt x="98" y="17"/>
                  </a:lnTo>
                  <a:lnTo>
                    <a:pt x="106" y="24"/>
                  </a:lnTo>
                  <a:lnTo>
                    <a:pt x="111" y="35"/>
                  </a:lnTo>
                  <a:lnTo>
                    <a:pt x="114" y="45"/>
                  </a:lnTo>
                  <a:lnTo>
                    <a:pt x="115" y="57"/>
                  </a:lnTo>
                  <a:lnTo>
                    <a:pt x="115"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1" name="Freeform 10947"/>
            <p:cNvSpPr>
              <a:spLocks noEditPoints="1"/>
            </p:cNvSpPr>
            <p:nvPr/>
          </p:nvSpPr>
          <p:spPr bwMode="auto">
            <a:xfrm>
              <a:off x="381906" y="1233774"/>
              <a:ext cx="126363" cy="441508"/>
            </a:xfrm>
            <a:custGeom>
              <a:avLst/>
              <a:gdLst>
                <a:gd name="T0" fmla="*/ 333 w 333"/>
                <a:gd name="T1" fmla="*/ 1158 h 1158"/>
                <a:gd name="T2" fmla="*/ 0 w 333"/>
                <a:gd name="T3" fmla="*/ 0 h 1158"/>
                <a:gd name="T4" fmla="*/ 167 w 333"/>
                <a:gd name="T5" fmla="*/ 1088 h 1158"/>
                <a:gd name="T6" fmla="*/ 157 w 333"/>
                <a:gd name="T7" fmla="*/ 1086 h 1158"/>
                <a:gd name="T8" fmla="*/ 136 w 333"/>
                <a:gd name="T9" fmla="*/ 1082 h 1158"/>
                <a:gd name="T10" fmla="*/ 119 w 333"/>
                <a:gd name="T11" fmla="*/ 1074 h 1158"/>
                <a:gd name="T12" fmla="*/ 102 w 333"/>
                <a:gd name="T13" fmla="*/ 1064 h 1158"/>
                <a:gd name="T14" fmla="*/ 89 w 333"/>
                <a:gd name="T15" fmla="*/ 1050 h 1158"/>
                <a:gd name="T16" fmla="*/ 77 w 333"/>
                <a:gd name="T17" fmla="*/ 1034 h 1158"/>
                <a:gd name="T18" fmla="*/ 69 w 333"/>
                <a:gd name="T19" fmla="*/ 1016 h 1158"/>
                <a:gd name="T20" fmla="*/ 66 w 333"/>
                <a:gd name="T21" fmla="*/ 996 h 1158"/>
                <a:gd name="T22" fmla="*/ 66 w 333"/>
                <a:gd name="T23" fmla="*/ 986 h 1158"/>
                <a:gd name="T24" fmla="*/ 67 w 333"/>
                <a:gd name="T25" fmla="*/ 965 h 1158"/>
                <a:gd name="T26" fmla="*/ 73 w 333"/>
                <a:gd name="T27" fmla="*/ 945 h 1158"/>
                <a:gd name="T28" fmla="*/ 83 w 333"/>
                <a:gd name="T29" fmla="*/ 928 h 1158"/>
                <a:gd name="T30" fmla="*/ 96 w 333"/>
                <a:gd name="T31" fmla="*/ 914 h 1158"/>
                <a:gd name="T32" fmla="*/ 110 w 333"/>
                <a:gd name="T33" fmla="*/ 901 h 1158"/>
                <a:gd name="T34" fmla="*/ 127 w 333"/>
                <a:gd name="T35" fmla="*/ 892 h 1158"/>
                <a:gd name="T36" fmla="*/ 147 w 333"/>
                <a:gd name="T37" fmla="*/ 885 h 1158"/>
                <a:gd name="T38" fmla="*/ 167 w 333"/>
                <a:gd name="T39" fmla="*/ 884 h 1158"/>
                <a:gd name="T40" fmla="*/ 178 w 333"/>
                <a:gd name="T41" fmla="*/ 884 h 1158"/>
                <a:gd name="T42" fmla="*/ 197 w 333"/>
                <a:gd name="T43" fmla="*/ 888 h 1158"/>
                <a:gd name="T44" fmla="*/ 216 w 333"/>
                <a:gd name="T45" fmla="*/ 896 h 1158"/>
                <a:gd name="T46" fmla="*/ 231 w 333"/>
                <a:gd name="T47" fmla="*/ 907 h 1158"/>
                <a:gd name="T48" fmla="*/ 246 w 333"/>
                <a:gd name="T49" fmla="*/ 920 h 1158"/>
                <a:gd name="T50" fmla="*/ 256 w 333"/>
                <a:gd name="T51" fmla="*/ 936 h 1158"/>
                <a:gd name="T52" fmla="*/ 264 w 333"/>
                <a:gd name="T53" fmla="*/ 954 h 1158"/>
                <a:gd name="T54" fmla="*/ 268 w 333"/>
                <a:gd name="T55" fmla="*/ 975 h 1158"/>
                <a:gd name="T56" fmla="*/ 269 w 333"/>
                <a:gd name="T57" fmla="*/ 986 h 1158"/>
                <a:gd name="T58" fmla="*/ 267 w 333"/>
                <a:gd name="T59" fmla="*/ 1005 h 1158"/>
                <a:gd name="T60" fmla="*/ 261 w 333"/>
                <a:gd name="T61" fmla="*/ 1025 h 1158"/>
                <a:gd name="T62" fmla="*/ 251 w 333"/>
                <a:gd name="T63" fmla="*/ 1042 h 1158"/>
                <a:gd name="T64" fmla="*/ 239 w 333"/>
                <a:gd name="T65" fmla="*/ 1057 h 1158"/>
                <a:gd name="T66" fmla="*/ 224 w 333"/>
                <a:gd name="T67" fmla="*/ 1069 h 1158"/>
                <a:gd name="T68" fmla="*/ 207 w 333"/>
                <a:gd name="T69" fmla="*/ 1078 h 1158"/>
                <a:gd name="T70" fmla="*/ 187 w 333"/>
                <a:gd name="T71" fmla="*/ 1085 h 1158"/>
                <a:gd name="T72" fmla="*/ 167 w 333"/>
                <a:gd name="T73" fmla="*/ 1088 h 1158"/>
                <a:gd name="T74" fmla="*/ 63 w 333"/>
                <a:gd name="T75" fmla="*/ 41 h 1158"/>
                <a:gd name="T76" fmla="*/ 272 w 333"/>
                <a:gd name="T77" fmla="*/ 649 h 1158"/>
                <a:gd name="T78" fmla="*/ 63 w 333"/>
                <a:gd name="T79" fmla="*/ 41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3" h="1158">
                  <a:moveTo>
                    <a:pt x="0" y="1158"/>
                  </a:moveTo>
                  <a:lnTo>
                    <a:pt x="333" y="1158"/>
                  </a:lnTo>
                  <a:lnTo>
                    <a:pt x="333" y="0"/>
                  </a:lnTo>
                  <a:lnTo>
                    <a:pt x="0" y="0"/>
                  </a:lnTo>
                  <a:lnTo>
                    <a:pt x="0" y="1158"/>
                  </a:lnTo>
                  <a:close/>
                  <a:moveTo>
                    <a:pt x="167" y="1088"/>
                  </a:moveTo>
                  <a:lnTo>
                    <a:pt x="167" y="1088"/>
                  </a:lnTo>
                  <a:lnTo>
                    <a:pt x="157" y="1086"/>
                  </a:lnTo>
                  <a:lnTo>
                    <a:pt x="147" y="1085"/>
                  </a:lnTo>
                  <a:lnTo>
                    <a:pt x="136" y="1082"/>
                  </a:lnTo>
                  <a:lnTo>
                    <a:pt x="127" y="1078"/>
                  </a:lnTo>
                  <a:lnTo>
                    <a:pt x="119" y="1074"/>
                  </a:lnTo>
                  <a:lnTo>
                    <a:pt x="110" y="1069"/>
                  </a:lnTo>
                  <a:lnTo>
                    <a:pt x="102" y="1064"/>
                  </a:lnTo>
                  <a:lnTo>
                    <a:pt x="96" y="1057"/>
                  </a:lnTo>
                  <a:lnTo>
                    <a:pt x="89" y="1050"/>
                  </a:lnTo>
                  <a:lnTo>
                    <a:pt x="83" y="1042"/>
                  </a:lnTo>
                  <a:lnTo>
                    <a:pt x="77" y="1034"/>
                  </a:lnTo>
                  <a:lnTo>
                    <a:pt x="73" y="1025"/>
                  </a:lnTo>
                  <a:lnTo>
                    <a:pt x="69" y="1016"/>
                  </a:lnTo>
                  <a:lnTo>
                    <a:pt x="67" y="1005"/>
                  </a:lnTo>
                  <a:lnTo>
                    <a:pt x="66" y="996"/>
                  </a:lnTo>
                  <a:lnTo>
                    <a:pt x="66" y="986"/>
                  </a:lnTo>
                  <a:lnTo>
                    <a:pt x="66" y="986"/>
                  </a:lnTo>
                  <a:lnTo>
                    <a:pt x="66" y="975"/>
                  </a:lnTo>
                  <a:lnTo>
                    <a:pt x="67" y="965"/>
                  </a:lnTo>
                  <a:lnTo>
                    <a:pt x="69" y="954"/>
                  </a:lnTo>
                  <a:lnTo>
                    <a:pt x="73" y="945"/>
                  </a:lnTo>
                  <a:lnTo>
                    <a:pt x="77" y="936"/>
                  </a:lnTo>
                  <a:lnTo>
                    <a:pt x="83" y="928"/>
                  </a:lnTo>
                  <a:lnTo>
                    <a:pt x="89" y="920"/>
                  </a:lnTo>
                  <a:lnTo>
                    <a:pt x="96" y="914"/>
                  </a:lnTo>
                  <a:lnTo>
                    <a:pt x="102" y="907"/>
                  </a:lnTo>
                  <a:lnTo>
                    <a:pt x="110" y="901"/>
                  </a:lnTo>
                  <a:lnTo>
                    <a:pt x="119" y="896"/>
                  </a:lnTo>
                  <a:lnTo>
                    <a:pt x="127" y="892"/>
                  </a:lnTo>
                  <a:lnTo>
                    <a:pt x="136" y="888"/>
                  </a:lnTo>
                  <a:lnTo>
                    <a:pt x="147" y="885"/>
                  </a:lnTo>
                  <a:lnTo>
                    <a:pt x="157" y="884"/>
                  </a:lnTo>
                  <a:lnTo>
                    <a:pt x="167" y="884"/>
                  </a:lnTo>
                  <a:lnTo>
                    <a:pt x="167" y="884"/>
                  </a:lnTo>
                  <a:lnTo>
                    <a:pt x="178" y="884"/>
                  </a:lnTo>
                  <a:lnTo>
                    <a:pt x="187" y="885"/>
                  </a:lnTo>
                  <a:lnTo>
                    <a:pt x="197" y="888"/>
                  </a:lnTo>
                  <a:lnTo>
                    <a:pt x="207" y="892"/>
                  </a:lnTo>
                  <a:lnTo>
                    <a:pt x="216" y="896"/>
                  </a:lnTo>
                  <a:lnTo>
                    <a:pt x="224" y="901"/>
                  </a:lnTo>
                  <a:lnTo>
                    <a:pt x="231" y="907"/>
                  </a:lnTo>
                  <a:lnTo>
                    <a:pt x="239" y="914"/>
                  </a:lnTo>
                  <a:lnTo>
                    <a:pt x="246" y="920"/>
                  </a:lnTo>
                  <a:lnTo>
                    <a:pt x="251" y="928"/>
                  </a:lnTo>
                  <a:lnTo>
                    <a:pt x="256" y="936"/>
                  </a:lnTo>
                  <a:lnTo>
                    <a:pt x="261" y="945"/>
                  </a:lnTo>
                  <a:lnTo>
                    <a:pt x="264" y="954"/>
                  </a:lnTo>
                  <a:lnTo>
                    <a:pt x="267" y="965"/>
                  </a:lnTo>
                  <a:lnTo>
                    <a:pt x="268" y="975"/>
                  </a:lnTo>
                  <a:lnTo>
                    <a:pt x="269" y="986"/>
                  </a:lnTo>
                  <a:lnTo>
                    <a:pt x="269" y="986"/>
                  </a:lnTo>
                  <a:lnTo>
                    <a:pt x="268" y="996"/>
                  </a:lnTo>
                  <a:lnTo>
                    <a:pt x="267" y="1005"/>
                  </a:lnTo>
                  <a:lnTo>
                    <a:pt x="264" y="1016"/>
                  </a:lnTo>
                  <a:lnTo>
                    <a:pt x="261" y="1025"/>
                  </a:lnTo>
                  <a:lnTo>
                    <a:pt x="256" y="1034"/>
                  </a:lnTo>
                  <a:lnTo>
                    <a:pt x="251" y="1042"/>
                  </a:lnTo>
                  <a:lnTo>
                    <a:pt x="246" y="1050"/>
                  </a:lnTo>
                  <a:lnTo>
                    <a:pt x="239" y="1057"/>
                  </a:lnTo>
                  <a:lnTo>
                    <a:pt x="231" y="1064"/>
                  </a:lnTo>
                  <a:lnTo>
                    <a:pt x="224" y="1069"/>
                  </a:lnTo>
                  <a:lnTo>
                    <a:pt x="216" y="1074"/>
                  </a:lnTo>
                  <a:lnTo>
                    <a:pt x="207" y="1078"/>
                  </a:lnTo>
                  <a:lnTo>
                    <a:pt x="197" y="1082"/>
                  </a:lnTo>
                  <a:lnTo>
                    <a:pt x="187" y="1085"/>
                  </a:lnTo>
                  <a:lnTo>
                    <a:pt x="178" y="1086"/>
                  </a:lnTo>
                  <a:lnTo>
                    <a:pt x="167" y="1088"/>
                  </a:lnTo>
                  <a:lnTo>
                    <a:pt x="167" y="1088"/>
                  </a:lnTo>
                  <a:close/>
                  <a:moveTo>
                    <a:pt x="63" y="41"/>
                  </a:moveTo>
                  <a:lnTo>
                    <a:pt x="272" y="41"/>
                  </a:lnTo>
                  <a:lnTo>
                    <a:pt x="272" y="649"/>
                  </a:lnTo>
                  <a:lnTo>
                    <a:pt x="63" y="649"/>
                  </a:lnTo>
                  <a:lnTo>
                    <a:pt x="6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2" name="Freeform 10948"/>
            <p:cNvSpPr>
              <a:spLocks noEditPoints="1"/>
            </p:cNvSpPr>
            <p:nvPr/>
          </p:nvSpPr>
          <p:spPr bwMode="auto">
            <a:xfrm>
              <a:off x="526538" y="1312941"/>
              <a:ext cx="103526" cy="362341"/>
            </a:xfrm>
            <a:custGeom>
              <a:avLst/>
              <a:gdLst>
                <a:gd name="T0" fmla="*/ 271 w 271"/>
                <a:gd name="T1" fmla="*/ 949 h 949"/>
                <a:gd name="T2" fmla="*/ 0 w 271"/>
                <a:gd name="T3" fmla="*/ 0 h 949"/>
                <a:gd name="T4" fmla="*/ 135 w 271"/>
                <a:gd name="T5" fmla="*/ 890 h 949"/>
                <a:gd name="T6" fmla="*/ 126 w 271"/>
                <a:gd name="T7" fmla="*/ 890 h 949"/>
                <a:gd name="T8" fmla="*/ 111 w 271"/>
                <a:gd name="T9" fmla="*/ 888 h 949"/>
                <a:gd name="T10" fmla="*/ 96 w 271"/>
                <a:gd name="T11" fmla="*/ 881 h 949"/>
                <a:gd name="T12" fmla="*/ 77 w 271"/>
                <a:gd name="T13" fmla="*/ 867 h 949"/>
                <a:gd name="T14" fmla="*/ 62 w 271"/>
                <a:gd name="T15" fmla="*/ 847 h 949"/>
                <a:gd name="T16" fmla="*/ 56 w 271"/>
                <a:gd name="T17" fmla="*/ 833 h 949"/>
                <a:gd name="T18" fmla="*/ 52 w 271"/>
                <a:gd name="T19" fmla="*/ 816 h 949"/>
                <a:gd name="T20" fmla="*/ 52 w 271"/>
                <a:gd name="T21" fmla="*/ 808 h 949"/>
                <a:gd name="T22" fmla="*/ 53 w 271"/>
                <a:gd name="T23" fmla="*/ 791 h 949"/>
                <a:gd name="T24" fmla="*/ 58 w 271"/>
                <a:gd name="T25" fmla="*/ 775 h 949"/>
                <a:gd name="T26" fmla="*/ 66 w 271"/>
                <a:gd name="T27" fmla="*/ 761 h 949"/>
                <a:gd name="T28" fmla="*/ 88 w 271"/>
                <a:gd name="T29" fmla="*/ 739 h 949"/>
                <a:gd name="T30" fmla="*/ 103 w 271"/>
                <a:gd name="T31" fmla="*/ 731 h 949"/>
                <a:gd name="T32" fmla="*/ 118 w 271"/>
                <a:gd name="T33" fmla="*/ 726 h 949"/>
                <a:gd name="T34" fmla="*/ 135 w 271"/>
                <a:gd name="T35" fmla="*/ 724 h 949"/>
                <a:gd name="T36" fmla="*/ 145 w 271"/>
                <a:gd name="T37" fmla="*/ 724 h 949"/>
                <a:gd name="T38" fmla="*/ 160 w 271"/>
                <a:gd name="T39" fmla="*/ 727 h 949"/>
                <a:gd name="T40" fmla="*/ 175 w 271"/>
                <a:gd name="T41" fmla="*/ 734 h 949"/>
                <a:gd name="T42" fmla="*/ 194 w 271"/>
                <a:gd name="T43" fmla="*/ 748 h 949"/>
                <a:gd name="T44" fmla="*/ 209 w 271"/>
                <a:gd name="T45" fmla="*/ 767 h 949"/>
                <a:gd name="T46" fmla="*/ 215 w 271"/>
                <a:gd name="T47" fmla="*/ 783 h 949"/>
                <a:gd name="T48" fmla="*/ 219 w 271"/>
                <a:gd name="T49" fmla="*/ 799 h 949"/>
                <a:gd name="T50" fmla="*/ 219 w 271"/>
                <a:gd name="T51" fmla="*/ 808 h 949"/>
                <a:gd name="T52" fmla="*/ 218 w 271"/>
                <a:gd name="T53" fmla="*/ 824 h 949"/>
                <a:gd name="T54" fmla="*/ 212 w 271"/>
                <a:gd name="T55" fmla="*/ 839 h 949"/>
                <a:gd name="T56" fmla="*/ 205 w 271"/>
                <a:gd name="T57" fmla="*/ 854 h 949"/>
                <a:gd name="T58" fmla="*/ 182 w 271"/>
                <a:gd name="T59" fmla="*/ 877 h 949"/>
                <a:gd name="T60" fmla="*/ 168 w 271"/>
                <a:gd name="T61" fmla="*/ 884 h 949"/>
                <a:gd name="T62" fmla="*/ 152 w 271"/>
                <a:gd name="T63" fmla="*/ 889 h 949"/>
                <a:gd name="T64" fmla="*/ 135 w 271"/>
                <a:gd name="T65" fmla="*/ 890 h 949"/>
                <a:gd name="T66" fmla="*/ 49 w 271"/>
                <a:gd name="T67" fmla="*/ 34 h 949"/>
                <a:gd name="T68" fmla="*/ 222 w 271"/>
                <a:gd name="T69" fmla="*/ 532 h 949"/>
                <a:gd name="T70" fmla="*/ 49 w 271"/>
                <a:gd name="T71" fmla="*/ 34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1" h="949">
                  <a:moveTo>
                    <a:pt x="0" y="949"/>
                  </a:moveTo>
                  <a:lnTo>
                    <a:pt x="271" y="949"/>
                  </a:lnTo>
                  <a:lnTo>
                    <a:pt x="271" y="0"/>
                  </a:lnTo>
                  <a:lnTo>
                    <a:pt x="0" y="0"/>
                  </a:lnTo>
                  <a:lnTo>
                    <a:pt x="0" y="949"/>
                  </a:lnTo>
                  <a:close/>
                  <a:moveTo>
                    <a:pt x="135" y="890"/>
                  </a:moveTo>
                  <a:lnTo>
                    <a:pt x="135" y="890"/>
                  </a:lnTo>
                  <a:lnTo>
                    <a:pt x="126" y="890"/>
                  </a:lnTo>
                  <a:lnTo>
                    <a:pt x="118" y="889"/>
                  </a:lnTo>
                  <a:lnTo>
                    <a:pt x="111" y="888"/>
                  </a:lnTo>
                  <a:lnTo>
                    <a:pt x="103" y="884"/>
                  </a:lnTo>
                  <a:lnTo>
                    <a:pt x="96" y="881"/>
                  </a:lnTo>
                  <a:lnTo>
                    <a:pt x="88" y="877"/>
                  </a:lnTo>
                  <a:lnTo>
                    <a:pt x="77" y="867"/>
                  </a:lnTo>
                  <a:lnTo>
                    <a:pt x="66" y="854"/>
                  </a:lnTo>
                  <a:lnTo>
                    <a:pt x="62" y="847"/>
                  </a:lnTo>
                  <a:lnTo>
                    <a:pt x="58" y="839"/>
                  </a:lnTo>
                  <a:lnTo>
                    <a:pt x="56" y="833"/>
                  </a:lnTo>
                  <a:lnTo>
                    <a:pt x="53" y="824"/>
                  </a:lnTo>
                  <a:lnTo>
                    <a:pt x="52" y="816"/>
                  </a:lnTo>
                  <a:lnTo>
                    <a:pt x="52" y="808"/>
                  </a:lnTo>
                  <a:lnTo>
                    <a:pt x="52" y="808"/>
                  </a:lnTo>
                  <a:lnTo>
                    <a:pt x="52" y="799"/>
                  </a:lnTo>
                  <a:lnTo>
                    <a:pt x="53" y="791"/>
                  </a:lnTo>
                  <a:lnTo>
                    <a:pt x="56" y="783"/>
                  </a:lnTo>
                  <a:lnTo>
                    <a:pt x="58" y="775"/>
                  </a:lnTo>
                  <a:lnTo>
                    <a:pt x="62" y="767"/>
                  </a:lnTo>
                  <a:lnTo>
                    <a:pt x="66" y="761"/>
                  </a:lnTo>
                  <a:lnTo>
                    <a:pt x="77" y="748"/>
                  </a:lnTo>
                  <a:lnTo>
                    <a:pt x="88" y="739"/>
                  </a:lnTo>
                  <a:lnTo>
                    <a:pt x="96" y="734"/>
                  </a:lnTo>
                  <a:lnTo>
                    <a:pt x="103" y="731"/>
                  </a:lnTo>
                  <a:lnTo>
                    <a:pt x="111" y="727"/>
                  </a:lnTo>
                  <a:lnTo>
                    <a:pt x="118" y="726"/>
                  </a:lnTo>
                  <a:lnTo>
                    <a:pt x="126" y="724"/>
                  </a:lnTo>
                  <a:lnTo>
                    <a:pt x="135" y="724"/>
                  </a:lnTo>
                  <a:lnTo>
                    <a:pt x="135" y="724"/>
                  </a:lnTo>
                  <a:lnTo>
                    <a:pt x="145" y="724"/>
                  </a:lnTo>
                  <a:lnTo>
                    <a:pt x="152" y="726"/>
                  </a:lnTo>
                  <a:lnTo>
                    <a:pt x="160" y="727"/>
                  </a:lnTo>
                  <a:lnTo>
                    <a:pt x="168" y="731"/>
                  </a:lnTo>
                  <a:lnTo>
                    <a:pt x="175" y="734"/>
                  </a:lnTo>
                  <a:lnTo>
                    <a:pt x="182" y="739"/>
                  </a:lnTo>
                  <a:lnTo>
                    <a:pt x="194" y="748"/>
                  </a:lnTo>
                  <a:lnTo>
                    <a:pt x="205" y="761"/>
                  </a:lnTo>
                  <a:lnTo>
                    <a:pt x="209" y="767"/>
                  </a:lnTo>
                  <a:lnTo>
                    <a:pt x="212" y="775"/>
                  </a:lnTo>
                  <a:lnTo>
                    <a:pt x="215" y="783"/>
                  </a:lnTo>
                  <a:lnTo>
                    <a:pt x="218" y="791"/>
                  </a:lnTo>
                  <a:lnTo>
                    <a:pt x="219" y="799"/>
                  </a:lnTo>
                  <a:lnTo>
                    <a:pt x="219" y="808"/>
                  </a:lnTo>
                  <a:lnTo>
                    <a:pt x="219" y="808"/>
                  </a:lnTo>
                  <a:lnTo>
                    <a:pt x="219" y="816"/>
                  </a:lnTo>
                  <a:lnTo>
                    <a:pt x="218" y="824"/>
                  </a:lnTo>
                  <a:lnTo>
                    <a:pt x="215" y="833"/>
                  </a:lnTo>
                  <a:lnTo>
                    <a:pt x="212" y="839"/>
                  </a:lnTo>
                  <a:lnTo>
                    <a:pt x="209" y="847"/>
                  </a:lnTo>
                  <a:lnTo>
                    <a:pt x="205" y="854"/>
                  </a:lnTo>
                  <a:lnTo>
                    <a:pt x="194" y="867"/>
                  </a:lnTo>
                  <a:lnTo>
                    <a:pt x="182" y="877"/>
                  </a:lnTo>
                  <a:lnTo>
                    <a:pt x="175" y="881"/>
                  </a:lnTo>
                  <a:lnTo>
                    <a:pt x="168" y="884"/>
                  </a:lnTo>
                  <a:lnTo>
                    <a:pt x="160" y="888"/>
                  </a:lnTo>
                  <a:lnTo>
                    <a:pt x="152" y="889"/>
                  </a:lnTo>
                  <a:lnTo>
                    <a:pt x="145" y="890"/>
                  </a:lnTo>
                  <a:lnTo>
                    <a:pt x="135" y="890"/>
                  </a:lnTo>
                  <a:lnTo>
                    <a:pt x="135" y="890"/>
                  </a:lnTo>
                  <a:close/>
                  <a:moveTo>
                    <a:pt x="49" y="34"/>
                  </a:moveTo>
                  <a:lnTo>
                    <a:pt x="222" y="34"/>
                  </a:lnTo>
                  <a:lnTo>
                    <a:pt x="222" y="532"/>
                  </a:lnTo>
                  <a:lnTo>
                    <a:pt x="49" y="532"/>
                  </a:lnTo>
                  <a:lnTo>
                    <a:pt x="4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3" name="Freeform 10949"/>
            <p:cNvSpPr>
              <a:spLocks noEditPoints="1"/>
            </p:cNvSpPr>
            <p:nvPr/>
          </p:nvSpPr>
          <p:spPr bwMode="auto">
            <a:xfrm>
              <a:off x="645288" y="1267268"/>
              <a:ext cx="103526" cy="408014"/>
            </a:xfrm>
            <a:custGeom>
              <a:avLst/>
              <a:gdLst>
                <a:gd name="T0" fmla="*/ 0 w 273"/>
                <a:gd name="T1" fmla="*/ 1070 h 1070"/>
                <a:gd name="T2" fmla="*/ 273 w 273"/>
                <a:gd name="T3" fmla="*/ 0 h 1070"/>
                <a:gd name="T4" fmla="*/ 137 w 273"/>
                <a:gd name="T5" fmla="*/ 1005 h 1070"/>
                <a:gd name="T6" fmla="*/ 128 w 273"/>
                <a:gd name="T7" fmla="*/ 1003 h 1070"/>
                <a:gd name="T8" fmla="*/ 112 w 273"/>
                <a:gd name="T9" fmla="*/ 1001 h 1070"/>
                <a:gd name="T10" fmla="*/ 97 w 273"/>
                <a:gd name="T11" fmla="*/ 993 h 1070"/>
                <a:gd name="T12" fmla="*/ 84 w 273"/>
                <a:gd name="T13" fmla="*/ 983 h 1070"/>
                <a:gd name="T14" fmla="*/ 72 w 273"/>
                <a:gd name="T15" fmla="*/ 971 h 1070"/>
                <a:gd name="T16" fmla="*/ 63 w 273"/>
                <a:gd name="T17" fmla="*/ 955 h 1070"/>
                <a:gd name="T18" fmla="*/ 57 w 273"/>
                <a:gd name="T19" fmla="*/ 938 h 1070"/>
                <a:gd name="T20" fmla="*/ 54 w 273"/>
                <a:gd name="T21" fmla="*/ 920 h 1070"/>
                <a:gd name="T22" fmla="*/ 54 w 273"/>
                <a:gd name="T23" fmla="*/ 911 h 1070"/>
                <a:gd name="T24" fmla="*/ 55 w 273"/>
                <a:gd name="T25" fmla="*/ 891 h 1070"/>
                <a:gd name="T26" fmla="*/ 60 w 273"/>
                <a:gd name="T27" fmla="*/ 874 h 1070"/>
                <a:gd name="T28" fmla="*/ 68 w 273"/>
                <a:gd name="T29" fmla="*/ 858 h 1070"/>
                <a:gd name="T30" fmla="*/ 77 w 273"/>
                <a:gd name="T31" fmla="*/ 844 h 1070"/>
                <a:gd name="T32" fmla="*/ 90 w 273"/>
                <a:gd name="T33" fmla="*/ 832 h 1070"/>
                <a:gd name="T34" fmla="*/ 104 w 273"/>
                <a:gd name="T35" fmla="*/ 823 h 1070"/>
                <a:gd name="T36" fmla="*/ 120 w 273"/>
                <a:gd name="T37" fmla="*/ 818 h 1070"/>
                <a:gd name="T38" fmla="*/ 137 w 273"/>
                <a:gd name="T39" fmla="*/ 817 h 1070"/>
                <a:gd name="T40" fmla="*/ 145 w 273"/>
                <a:gd name="T41" fmla="*/ 817 h 1070"/>
                <a:gd name="T42" fmla="*/ 162 w 273"/>
                <a:gd name="T43" fmla="*/ 821 h 1070"/>
                <a:gd name="T44" fmla="*/ 176 w 273"/>
                <a:gd name="T45" fmla="*/ 828 h 1070"/>
                <a:gd name="T46" fmla="*/ 189 w 273"/>
                <a:gd name="T47" fmla="*/ 838 h 1070"/>
                <a:gd name="T48" fmla="*/ 201 w 273"/>
                <a:gd name="T49" fmla="*/ 851 h 1070"/>
                <a:gd name="T50" fmla="*/ 210 w 273"/>
                <a:gd name="T51" fmla="*/ 866 h 1070"/>
                <a:gd name="T52" fmla="*/ 217 w 273"/>
                <a:gd name="T53" fmla="*/ 882 h 1070"/>
                <a:gd name="T54" fmla="*/ 219 w 273"/>
                <a:gd name="T55" fmla="*/ 900 h 1070"/>
                <a:gd name="T56" fmla="*/ 221 w 273"/>
                <a:gd name="T57" fmla="*/ 911 h 1070"/>
                <a:gd name="T58" fmla="*/ 218 w 273"/>
                <a:gd name="T59" fmla="*/ 929 h 1070"/>
                <a:gd name="T60" fmla="*/ 214 w 273"/>
                <a:gd name="T61" fmla="*/ 947 h 1070"/>
                <a:gd name="T62" fmla="*/ 206 w 273"/>
                <a:gd name="T63" fmla="*/ 963 h 1070"/>
                <a:gd name="T64" fmla="*/ 196 w 273"/>
                <a:gd name="T65" fmla="*/ 977 h 1070"/>
                <a:gd name="T66" fmla="*/ 183 w 273"/>
                <a:gd name="T67" fmla="*/ 989 h 1070"/>
                <a:gd name="T68" fmla="*/ 168 w 273"/>
                <a:gd name="T69" fmla="*/ 997 h 1070"/>
                <a:gd name="T70" fmla="*/ 153 w 273"/>
                <a:gd name="T71" fmla="*/ 1002 h 1070"/>
                <a:gd name="T72" fmla="*/ 137 w 273"/>
                <a:gd name="T73" fmla="*/ 1005 h 1070"/>
                <a:gd name="T74" fmla="*/ 222 w 273"/>
                <a:gd name="T75" fmla="*/ 665 h 1070"/>
                <a:gd name="T76" fmla="*/ 51 w 273"/>
                <a:gd name="T77" fmla="*/ 50 h 1070"/>
                <a:gd name="T78" fmla="*/ 222 w 273"/>
                <a:gd name="T79" fmla="*/ 665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3" h="1070">
                  <a:moveTo>
                    <a:pt x="0" y="0"/>
                  </a:moveTo>
                  <a:lnTo>
                    <a:pt x="0" y="1070"/>
                  </a:lnTo>
                  <a:lnTo>
                    <a:pt x="273" y="1070"/>
                  </a:lnTo>
                  <a:lnTo>
                    <a:pt x="273" y="0"/>
                  </a:lnTo>
                  <a:lnTo>
                    <a:pt x="0" y="0"/>
                  </a:lnTo>
                  <a:close/>
                  <a:moveTo>
                    <a:pt x="137" y="1005"/>
                  </a:moveTo>
                  <a:lnTo>
                    <a:pt x="137" y="1005"/>
                  </a:lnTo>
                  <a:lnTo>
                    <a:pt x="128" y="1003"/>
                  </a:lnTo>
                  <a:lnTo>
                    <a:pt x="120" y="1002"/>
                  </a:lnTo>
                  <a:lnTo>
                    <a:pt x="112" y="1001"/>
                  </a:lnTo>
                  <a:lnTo>
                    <a:pt x="104" y="997"/>
                  </a:lnTo>
                  <a:lnTo>
                    <a:pt x="97" y="993"/>
                  </a:lnTo>
                  <a:lnTo>
                    <a:pt x="90" y="989"/>
                  </a:lnTo>
                  <a:lnTo>
                    <a:pt x="84" y="983"/>
                  </a:lnTo>
                  <a:lnTo>
                    <a:pt x="77" y="977"/>
                  </a:lnTo>
                  <a:lnTo>
                    <a:pt x="72" y="971"/>
                  </a:lnTo>
                  <a:lnTo>
                    <a:pt x="68" y="963"/>
                  </a:lnTo>
                  <a:lnTo>
                    <a:pt x="63" y="955"/>
                  </a:lnTo>
                  <a:lnTo>
                    <a:pt x="60" y="947"/>
                  </a:lnTo>
                  <a:lnTo>
                    <a:pt x="57" y="938"/>
                  </a:lnTo>
                  <a:lnTo>
                    <a:pt x="55" y="929"/>
                  </a:lnTo>
                  <a:lnTo>
                    <a:pt x="54" y="920"/>
                  </a:lnTo>
                  <a:lnTo>
                    <a:pt x="54" y="911"/>
                  </a:lnTo>
                  <a:lnTo>
                    <a:pt x="54" y="911"/>
                  </a:lnTo>
                  <a:lnTo>
                    <a:pt x="54" y="900"/>
                  </a:lnTo>
                  <a:lnTo>
                    <a:pt x="55" y="891"/>
                  </a:lnTo>
                  <a:lnTo>
                    <a:pt x="57" y="882"/>
                  </a:lnTo>
                  <a:lnTo>
                    <a:pt x="60" y="874"/>
                  </a:lnTo>
                  <a:lnTo>
                    <a:pt x="63" y="866"/>
                  </a:lnTo>
                  <a:lnTo>
                    <a:pt x="68" y="858"/>
                  </a:lnTo>
                  <a:lnTo>
                    <a:pt x="72" y="851"/>
                  </a:lnTo>
                  <a:lnTo>
                    <a:pt x="77" y="844"/>
                  </a:lnTo>
                  <a:lnTo>
                    <a:pt x="84" y="838"/>
                  </a:lnTo>
                  <a:lnTo>
                    <a:pt x="90" y="832"/>
                  </a:lnTo>
                  <a:lnTo>
                    <a:pt x="97" y="828"/>
                  </a:lnTo>
                  <a:lnTo>
                    <a:pt x="104" y="823"/>
                  </a:lnTo>
                  <a:lnTo>
                    <a:pt x="112" y="821"/>
                  </a:lnTo>
                  <a:lnTo>
                    <a:pt x="120" y="818"/>
                  </a:lnTo>
                  <a:lnTo>
                    <a:pt x="128" y="817"/>
                  </a:lnTo>
                  <a:lnTo>
                    <a:pt x="137" y="817"/>
                  </a:lnTo>
                  <a:lnTo>
                    <a:pt x="137" y="817"/>
                  </a:lnTo>
                  <a:lnTo>
                    <a:pt x="145" y="817"/>
                  </a:lnTo>
                  <a:lnTo>
                    <a:pt x="153" y="818"/>
                  </a:lnTo>
                  <a:lnTo>
                    <a:pt x="162" y="821"/>
                  </a:lnTo>
                  <a:lnTo>
                    <a:pt x="168" y="823"/>
                  </a:lnTo>
                  <a:lnTo>
                    <a:pt x="176" y="828"/>
                  </a:lnTo>
                  <a:lnTo>
                    <a:pt x="183" y="832"/>
                  </a:lnTo>
                  <a:lnTo>
                    <a:pt x="189" y="838"/>
                  </a:lnTo>
                  <a:lnTo>
                    <a:pt x="196" y="844"/>
                  </a:lnTo>
                  <a:lnTo>
                    <a:pt x="201" y="851"/>
                  </a:lnTo>
                  <a:lnTo>
                    <a:pt x="206" y="858"/>
                  </a:lnTo>
                  <a:lnTo>
                    <a:pt x="210" y="866"/>
                  </a:lnTo>
                  <a:lnTo>
                    <a:pt x="214" y="874"/>
                  </a:lnTo>
                  <a:lnTo>
                    <a:pt x="217" y="882"/>
                  </a:lnTo>
                  <a:lnTo>
                    <a:pt x="218" y="891"/>
                  </a:lnTo>
                  <a:lnTo>
                    <a:pt x="219" y="900"/>
                  </a:lnTo>
                  <a:lnTo>
                    <a:pt x="221" y="911"/>
                  </a:lnTo>
                  <a:lnTo>
                    <a:pt x="221" y="911"/>
                  </a:lnTo>
                  <a:lnTo>
                    <a:pt x="219" y="920"/>
                  </a:lnTo>
                  <a:lnTo>
                    <a:pt x="218" y="929"/>
                  </a:lnTo>
                  <a:lnTo>
                    <a:pt x="217" y="938"/>
                  </a:lnTo>
                  <a:lnTo>
                    <a:pt x="214" y="947"/>
                  </a:lnTo>
                  <a:lnTo>
                    <a:pt x="210" y="955"/>
                  </a:lnTo>
                  <a:lnTo>
                    <a:pt x="206" y="963"/>
                  </a:lnTo>
                  <a:lnTo>
                    <a:pt x="201" y="971"/>
                  </a:lnTo>
                  <a:lnTo>
                    <a:pt x="196" y="977"/>
                  </a:lnTo>
                  <a:lnTo>
                    <a:pt x="189" y="983"/>
                  </a:lnTo>
                  <a:lnTo>
                    <a:pt x="183" y="989"/>
                  </a:lnTo>
                  <a:lnTo>
                    <a:pt x="176" y="993"/>
                  </a:lnTo>
                  <a:lnTo>
                    <a:pt x="168" y="997"/>
                  </a:lnTo>
                  <a:lnTo>
                    <a:pt x="162" y="1001"/>
                  </a:lnTo>
                  <a:lnTo>
                    <a:pt x="153" y="1002"/>
                  </a:lnTo>
                  <a:lnTo>
                    <a:pt x="145" y="1003"/>
                  </a:lnTo>
                  <a:lnTo>
                    <a:pt x="137" y="1005"/>
                  </a:lnTo>
                  <a:lnTo>
                    <a:pt x="137" y="1005"/>
                  </a:lnTo>
                  <a:close/>
                  <a:moveTo>
                    <a:pt x="222" y="665"/>
                  </a:moveTo>
                  <a:lnTo>
                    <a:pt x="51" y="665"/>
                  </a:lnTo>
                  <a:lnTo>
                    <a:pt x="51" y="50"/>
                  </a:lnTo>
                  <a:lnTo>
                    <a:pt x="222" y="50"/>
                  </a:lnTo>
                  <a:lnTo>
                    <a:pt x="222" y="6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4" name="Freeform 10950"/>
            <p:cNvSpPr>
              <a:spLocks/>
            </p:cNvSpPr>
            <p:nvPr/>
          </p:nvSpPr>
          <p:spPr bwMode="auto">
            <a:xfrm>
              <a:off x="675737" y="1593071"/>
              <a:ext cx="44151" cy="44151"/>
            </a:xfrm>
            <a:custGeom>
              <a:avLst/>
              <a:gdLst>
                <a:gd name="T0" fmla="*/ 117 w 117"/>
                <a:gd name="T1" fmla="*/ 57 h 115"/>
                <a:gd name="T2" fmla="*/ 117 w 117"/>
                <a:gd name="T3" fmla="*/ 57 h 115"/>
                <a:gd name="T4" fmla="*/ 115 w 117"/>
                <a:gd name="T5" fmla="*/ 69 h 115"/>
                <a:gd name="T6" fmla="*/ 111 w 117"/>
                <a:gd name="T7" fmla="*/ 80 h 115"/>
                <a:gd name="T8" fmla="*/ 106 w 117"/>
                <a:gd name="T9" fmla="*/ 90 h 115"/>
                <a:gd name="T10" fmla="*/ 100 w 117"/>
                <a:gd name="T11" fmla="*/ 98 h 115"/>
                <a:gd name="T12" fmla="*/ 90 w 117"/>
                <a:gd name="T13" fmla="*/ 106 h 115"/>
                <a:gd name="T14" fmla="*/ 81 w 117"/>
                <a:gd name="T15" fmla="*/ 111 h 115"/>
                <a:gd name="T16" fmla="*/ 71 w 117"/>
                <a:gd name="T17" fmla="*/ 113 h 115"/>
                <a:gd name="T18" fmla="*/ 59 w 117"/>
                <a:gd name="T19" fmla="*/ 115 h 115"/>
                <a:gd name="T20" fmla="*/ 59 w 117"/>
                <a:gd name="T21" fmla="*/ 115 h 115"/>
                <a:gd name="T22" fmla="*/ 47 w 117"/>
                <a:gd name="T23" fmla="*/ 113 h 115"/>
                <a:gd name="T24" fmla="*/ 36 w 117"/>
                <a:gd name="T25" fmla="*/ 111 h 115"/>
                <a:gd name="T26" fmla="*/ 26 w 117"/>
                <a:gd name="T27" fmla="*/ 106 h 115"/>
                <a:gd name="T28" fmla="*/ 17 w 117"/>
                <a:gd name="T29" fmla="*/ 98 h 115"/>
                <a:gd name="T30" fmla="*/ 11 w 117"/>
                <a:gd name="T31" fmla="*/ 90 h 115"/>
                <a:gd name="T32" fmla="*/ 6 w 117"/>
                <a:gd name="T33" fmla="*/ 80 h 115"/>
                <a:gd name="T34" fmla="*/ 2 w 117"/>
                <a:gd name="T35" fmla="*/ 69 h 115"/>
                <a:gd name="T36" fmla="*/ 0 w 117"/>
                <a:gd name="T37" fmla="*/ 57 h 115"/>
                <a:gd name="T38" fmla="*/ 0 w 117"/>
                <a:gd name="T39" fmla="*/ 57 h 115"/>
                <a:gd name="T40" fmla="*/ 2 w 117"/>
                <a:gd name="T41" fmla="*/ 46 h 115"/>
                <a:gd name="T42" fmla="*/ 6 w 117"/>
                <a:gd name="T43" fmla="*/ 35 h 115"/>
                <a:gd name="T44" fmla="*/ 11 w 117"/>
                <a:gd name="T45" fmla="*/ 25 h 115"/>
                <a:gd name="T46" fmla="*/ 17 w 117"/>
                <a:gd name="T47" fmla="*/ 17 h 115"/>
                <a:gd name="T48" fmla="*/ 26 w 117"/>
                <a:gd name="T49" fmla="*/ 9 h 115"/>
                <a:gd name="T50" fmla="*/ 36 w 117"/>
                <a:gd name="T51" fmla="*/ 4 h 115"/>
                <a:gd name="T52" fmla="*/ 47 w 117"/>
                <a:gd name="T53" fmla="*/ 1 h 115"/>
                <a:gd name="T54" fmla="*/ 59 w 117"/>
                <a:gd name="T55" fmla="*/ 0 h 115"/>
                <a:gd name="T56" fmla="*/ 59 w 117"/>
                <a:gd name="T57" fmla="*/ 0 h 115"/>
                <a:gd name="T58" fmla="*/ 71 w 117"/>
                <a:gd name="T59" fmla="*/ 1 h 115"/>
                <a:gd name="T60" fmla="*/ 81 w 117"/>
                <a:gd name="T61" fmla="*/ 4 h 115"/>
                <a:gd name="T62" fmla="*/ 90 w 117"/>
                <a:gd name="T63" fmla="*/ 9 h 115"/>
                <a:gd name="T64" fmla="*/ 100 w 117"/>
                <a:gd name="T65" fmla="*/ 17 h 115"/>
                <a:gd name="T66" fmla="*/ 106 w 117"/>
                <a:gd name="T67" fmla="*/ 25 h 115"/>
                <a:gd name="T68" fmla="*/ 111 w 117"/>
                <a:gd name="T69" fmla="*/ 35 h 115"/>
                <a:gd name="T70" fmla="*/ 115 w 117"/>
                <a:gd name="T71" fmla="*/ 46 h 115"/>
                <a:gd name="T72" fmla="*/ 117 w 117"/>
                <a:gd name="T73" fmla="*/ 57 h 115"/>
                <a:gd name="T74" fmla="*/ 117 w 117"/>
                <a:gd name="T75"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15">
                  <a:moveTo>
                    <a:pt x="117" y="57"/>
                  </a:moveTo>
                  <a:lnTo>
                    <a:pt x="117" y="57"/>
                  </a:lnTo>
                  <a:lnTo>
                    <a:pt x="115" y="69"/>
                  </a:lnTo>
                  <a:lnTo>
                    <a:pt x="111" y="80"/>
                  </a:lnTo>
                  <a:lnTo>
                    <a:pt x="106" y="90"/>
                  </a:lnTo>
                  <a:lnTo>
                    <a:pt x="100" y="98"/>
                  </a:lnTo>
                  <a:lnTo>
                    <a:pt x="90" y="106"/>
                  </a:lnTo>
                  <a:lnTo>
                    <a:pt x="81" y="111"/>
                  </a:lnTo>
                  <a:lnTo>
                    <a:pt x="71" y="113"/>
                  </a:lnTo>
                  <a:lnTo>
                    <a:pt x="59" y="115"/>
                  </a:lnTo>
                  <a:lnTo>
                    <a:pt x="59" y="115"/>
                  </a:lnTo>
                  <a:lnTo>
                    <a:pt x="47" y="113"/>
                  </a:lnTo>
                  <a:lnTo>
                    <a:pt x="36" y="111"/>
                  </a:lnTo>
                  <a:lnTo>
                    <a:pt x="26" y="106"/>
                  </a:lnTo>
                  <a:lnTo>
                    <a:pt x="17" y="98"/>
                  </a:lnTo>
                  <a:lnTo>
                    <a:pt x="11" y="90"/>
                  </a:lnTo>
                  <a:lnTo>
                    <a:pt x="6" y="80"/>
                  </a:lnTo>
                  <a:lnTo>
                    <a:pt x="2" y="69"/>
                  </a:lnTo>
                  <a:lnTo>
                    <a:pt x="0" y="57"/>
                  </a:lnTo>
                  <a:lnTo>
                    <a:pt x="0" y="57"/>
                  </a:lnTo>
                  <a:lnTo>
                    <a:pt x="2" y="46"/>
                  </a:lnTo>
                  <a:lnTo>
                    <a:pt x="6" y="35"/>
                  </a:lnTo>
                  <a:lnTo>
                    <a:pt x="11" y="25"/>
                  </a:lnTo>
                  <a:lnTo>
                    <a:pt x="17" y="17"/>
                  </a:lnTo>
                  <a:lnTo>
                    <a:pt x="26" y="9"/>
                  </a:lnTo>
                  <a:lnTo>
                    <a:pt x="36" y="4"/>
                  </a:lnTo>
                  <a:lnTo>
                    <a:pt x="47" y="1"/>
                  </a:lnTo>
                  <a:lnTo>
                    <a:pt x="59" y="0"/>
                  </a:lnTo>
                  <a:lnTo>
                    <a:pt x="59" y="0"/>
                  </a:lnTo>
                  <a:lnTo>
                    <a:pt x="71" y="1"/>
                  </a:lnTo>
                  <a:lnTo>
                    <a:pt x="81" y="4"/>
                  </a:lnTo>
                  <a:lnTo>
                    <a:pt x="90" y="9"/>
                  </a:lnTo>
                  <a:lnTo>
                    <a:pt x="100" y="17"/>
                  </a:lnTo>
                  <a:lnTo>
                    <a:pt x="106" y="25"/>
                  </a:lnTo>
                  <a:lnTo>
                    <a:pt x="111" y="35"/>
                  </a:lnTo>
                  <a:lnTo>
                    <a:pt x="115" y="46"/>
                  </a:lnTo>
                  <a:lnTo>
                    <a:pt x="117" y="57"/>
                  </a:lnTo>
                  <a:lnTo>
                    <a:pt x="117"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25" name="Group 24"/>
          <p:cNvGrpSpPr/>
          <p:nvPr/>
        </p:nvGrpSpPr>
        <p:grpSpPr>
          <a:xfrm>
            <a:off x="9447281" y="3433849"/>
            <a:ext cx="385178" cy="504081"/>
            <a:chOff x="1185755" y="1227684"/>
            <a:chExt cx="350162" cy="458255"/>
          </a:xfrm>
          <a:solidFill>
            <a:schemeClr val="bg1"/>
          </a:solidFill>
        </p:grpSpPr>
        <p:sp>
          <p:nvSpPr>
            <p:cNvPr id="26" name="Freeform 10951"/>
            <p:cNvSpPr>
              <a:spLocks/>
            </p:cNvSpPr>
            <p:nvPr/>
          </p:nvSpPr>
          <p:spPr bwMode="auto">
            <a:xfrm>
              <a:off x="1185755" y="1227684"/>
              <a:ext cx="350162" cy="415627"/>
            </a:xfrm>
            <a:custGeom>
              <a:avLst/>
              <a:gdLst>
                <a:gd name="T0" fmla="*/ 917 w 918"/>
                <a:gd name="T1" fmla="*/ 897 h 1091"/>
                <a:gd name="T2" fmla="*/ 887 w 918"/>
                <a:gd name="T3" fmla="*/ 794 h 1091"/>
                <a:gd name="T4" fmla="*/ 821 w 918"/>
                <a:gd name="T5" fmla="*/ 730 h 1091"/>
                <a:gd name="T6" fmla="*/ 727 w 918"/>
                <a:gd name="T7" fmla="*/ 696 h 1091"/>
                <a:gd name="T8" fmla="*/ 624 w 918"/>
                <a:gd name="T9" fmla="*/ 671 h 1091"/>
                <a:gd name="T10" fmla="*/ 572 w 918"/>
                <a:gd name="T11" fmla="*/ 629 h 1091"/>
                <a:gd name="T12" fmla="*/ 572 w 918"/>
                <a:gd name="T13" fmla="*/ 536 h 1091"/>
                <a:gd name="T14" fmla="*/ 616 w 918"/>
                <a:gd name="T15" fmla="*/ 484 h 1091"/>
                <a:gd name="T16" fmla="*/ 663 w 918"/>
                <a:gd name="T17" fmla="*/ 421 h 1091"/>
                <a:gd name="T18" fmla="*/ 695 w 918"/>
                <a:gd name="T19" fmla="*/ 377 h 1091"/>
                <a:gd name="T20" fmla="*/ 689 w 918"/>
                <a:gd name="T21" fmla="*/ 301 h 1091"/>
                <a:gd name="T22" fmla="*/ 667 w 918"/>
                <a:gd name="T23" fmla="*/ 291 h 1091"/>
                <a:gd name="T24" fmla="*/ 662 w 918"/>
                <a:gd name="T25" fmla="*/ 222 h 1091"/>
                <a:gd name="T26" fmla="*/ 662 w 918"/>
                <a:gd name="T27" fmla="*/ 113 h 1091"/>
                <a:gd name="T28" fmla="*/ 635 w 918"/>
                <a:gd name="T29" fmla="*/ 61 h 1091"/>
                <a:gd name="T30" fmla="*/ 608 w 918"/>
                <a:gd name="T31" fmla="*/ 54 h 1091"/>
                <a:gd name="T32" fmla="*/ 569 w 918"/>
                <a:gd name="T33" fmla="*/ 56 h 1091"/>
                <a:gd name="T34" fmla="*/ 542 w 918"/>
                <a:gd name="T35" fmla="*/ 40 h 1091"/>
                <a:gd name="T36" fmla="*/ 508 w 918"/>
                <a:gd name="T37" fmla="*/ 2 h 1091"/>
                <a:gd name="T38" fmla="*/ 470 w 918"/>
                <a:gd name="T39" fmla="*/ 0 h 1091"/>
                <a:gd name="T40" fmla="*/ 362 w 918"/>
                <a:gd name="T41" fmla="*/ 30 h 1091"/>
                <a:gd name="T42" fmla="*/ 320 w 918"/>
                <a:gd name="T43" fmla="*/ 39 h 1091"/>
                <a:gd name="T44" fmla="*/ 281 w 918"/>
                <a:gd name="T45" fmla="*/ 64 h 1091"/>
                <a:gd name="T46" fmla="*/ 261 w 918"/>
                <a:gd name="T47" fmla="*/ 96 h 1091"/>
                <a:gd name="T48" fmla="*/ 248 w 918"/>
                <a:gd name="T49" fmla="*/ 197 h 1091"/>
                <a:gd name="T50" fmla="*/ 234 w 918"/>
                <a:gd name="T51" fmla="*/ 290 h 1091"/>
                <a:gd name="T52" fmla="*/ 217 w 918"/>
                <a:gd name="T53" fmla="*/ 333 h 1091"/>
                <a:gd name="T54" fmla="*/ 219 w 918"/>
                <a:gd name="T55" fmla="*/ 376 h 1091"/>
                <a:gd name="T56" fmla="*/ 236 w 918"/>
                <a:gd name="T57" fmla="*/ 408 h 1091"/>
                <a:gd name="T58" fmla="*/ 270 w 918"/>
                <a:gd name="T59" fmla="*/ 440 h 1091"/>
                <a:gd name="T60" fmla="*/ 320 w 918"/>
                <a:gd name="T61" fmla="*/ 514 h 1091"/>
                <a:gd name="T62" fmla="*/ 343 w 918"/>
                <a:gd name="T63" fmla="*/ 535 h 1091"/>
                <a:gd name="T64" fmla="*/ 339 w 918"/>
                <a:gd name="T65" fmla="*/ 638 h 1091"/>
                <a:gd name="T66" fmla="*/ 273 w 918"/>
                <a:gd name="T67" fmla="*/ 680 h 1091"/>
                <a:gd name="T68" fmla="*/ 142 w 918"/>
                <a:gd name="T69" fmla="*/ 714 h 1091"/>
                <a:gd name="T70" fmla="*/ 47 w 918"/>
                <a:gd name="T71" fmla="*/ 760 h 1091"/>
                <a:gd name="T72" fmla="*/ 22 w 918"/>
                <a:gd name="T73" fmla="*/ 794 h 1091"/>
                <a:gd name="T74" fmla="*/ 5 w 918"/>
                <a:gd name="T75" fmla="*/ 881 h 1091"/>
                <a:gd name="T76" fmla="*/ 0 w 918"/>
                <a:gd name="T77" fmla="*/ 919 h 1091"/>
                <a:gd name="T78" fmla="*/ 2 w 918"/>
                <a:gd name="T79" fmla="*/ 944 h 1091"/>
                <a:gd name="T80" fmla="*/ 42 w 918"/>
                <a:gd name="T81" fmla="*/ 996 h 1091"/>
                <a:gd name="T82" fmla="*/ 124 w 918"/>
                <a:gd name="T83" fmla="*/ 1041 h 1091"/>
                <a:gd name="T84" fmla="*/ 241 w 918"/>
                <a:gd name="T85" fmla="*/ 1073 h 1091"/>
                <a:gd name="T86" fmla="*/ 346 w 918"/>
                <a:gd name="T87" fmla="*/ 1086 h 1091"/>
                <a:gd name="T88" fmla="*/ 507 w 918"/>
                <a:gd name="T89" fmla="*/ 1090 h 1091"/>
                <a:gd name="T90" fmla="*/ 505 w 918"/>
                <a:gd name="T91" fmla="*/ 1013 h 1091"/>
                <a:gd name="T92" fmla="*/ 540 w 918"/>
                <a:gd name="T93" fmla="*/ 939 h 1091"/>
                <a:gd name="T94" fmla="*/ 606 w 918"/>
                <a:gd name="T95" fmla="*/ 889 h 1091"/>
                <a:gd name="T96" fmla="*/ 672 w 918"/>
                <a:gd name="T97" fmla="*/ 876 h 1091"/>
                <a:gd name="T98" fmla="*/ 747 w 918"/>
                <a:gd name="T99" fmla="*/ 893 h 1091"/>
                <a:gd name="T100" fmla="*/ 804 w 918"/>
                <a:gd name="T101" fmla="*/ 937 h 1091"/>
                <a:gd name="T102" fmla="*/ 838 w 918"/>
                <a:gd name="T103" fmla="*/ 1003 h 1091"/>
                <a:gd name="T104" fmla="*/ 892 w 918"/>
                <a:gd name="T105" fmla="*/ 980 h 1091"/>
                <a:gd name="T106" fmla="*/ 915 w 918"/>
                <a:gd name="T107" fmla="*/ 944 h 1091"/>
                <a:gd name="T108" fmla="*/ 918 w 918"/>
                <a:gd name="T109" fmla="*/ 927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18" h="1091">
                  <a:moveTo>
                    <a:pt x="918" y="926"/>
                  </a:moveTo>
                  <a:lnTo>
                    <a:pt x="918" y="926"/>
                  </a:lnTo>
                  <a:lnTo>
                    <a:pt x="918" y="924"/>
                  </a:lnTo>
                  <a:lnTo>
                    <a:pt x="918" y="924"/>
                  </a:lnTo>
                  <a:lnTo>
                    <a:pt x="917" y="897"/>
                  </a:lnTo>
                  <a:lnTo>
                    <a:pt x="914" y="873"/>
                  </a:lnTo>
                  <a:lnTo>
                    <a:pt x="910" y="850"/>
                  </a:lnTo>
                  <a:lnTo>
                    <a:pt x="904" y="829"/>
                  </a:lnTo>
                  <a:lnTo>
                    <a:pt x="896" y="811"/>
                  </a:lnTo>
                  <a:lnTo>
                    <a:pt x="887" y="794"/>
                  </a:lnTo>
                  <a:lnTo>
                    <a:pt x="876" y="778"/>
                  </a:lnTo>
                  <a:lnTo>
                    <a:pt x="864" y="764"/>
                  </a:lnTo>
                  <a:lnTo>
                    <a:pt x="851" y="751"/>
                  </a:lnTo>
                  <a:lnTo>
                    <a:pt x="837" y="739"/>
                  </a:lnTo>
                  <a:lnTo>
                    <a:pt x="821" y="730"/>
                  </a:lnTo>
                  <a:lnTo>
                    <a:pt x="804" y="721"/>
                  </a:lnTo>
                  <a:lnTo>
                    <a:pt x="786" y="713"/>
                  </a:lnTo>
                  <a:lnTo>
                    <a:pt x="768" y="706"/>
                  </a:lnTo>
                  <a:lnTo>
                    <a:pt x="748" y="701"/>
                  </a:lnTo>
                  <a:lnTo>
                    <a:pt x="727" y="696"/>
                  </a:lnTo>
                  <a:lnTo>
                    <a:pt x="727" y="696"/>
                  </a:lnTo>
                  <a:lnTo>
                    <a:pt x="691" y="688"/>
                  </a:lnTo>
                  <a:lnTo>
                    <a:pt x="655" y="681"/>
                  </a:lnTo>
                  <a:lnTo>
                    <a:pt x="640" y="676"/>
                  </a:lnTo>
                  <a:lnTo>
                    <a:pt x="624" y="671"/>
                  </a:lnTo>
                  <a:lnTo>
                    <a:pt x="611" y="666"/>
                  </a:lnTo>
                  <a:lnTo>
                    <a:pt x="598" y="659"/>
                  </a:lnTo>
                  <a:lnTo>
                    <a:pt x="587" y="650"/>
                  </a:lnTo>
                  <a:lnTo>
                    <a:pt x="578" y="641"/>
                  </a:lnTo>
                  <a:lnTo>
                    <a:pt x="572" y="629"/>
                  </a:lnTo>
                  <a:lnTo>
                    <a:pt x="567" y="615"/>
                  </a:lnTo>
                  <a:lnTo>
                    <a:pt x="564" y="599"/>
                  </a:lnTo>
                  <a:lnTo>
                    <a:pt x="564" y="581"/>
                  </a:lnTo>
                  <a:lnTo>
                    <a:pt x="567" y="560"/>
                  </a:lnTo>
                  <a:lnTo>
                    <a:pt x="572" y="536"/>
                  </a:lnTo>
                  <a:lnTo>
                    <a:pt x="572" y="536"/>
                  </a:lnTo>
                  <a:lnTo>
                    <a:pt x="581" y="529"/>
                  </a:lnTo>
                  <a:lnTo>
                    <a:pt x="589" y="521"/>
                  </a:lnTo>
                  <a:lnTo>
                    <a:pt x="603" y="504"/>
                  </a:lnTo>
                  <a:lnTo>
                    <a:pt x="616" y="484"/>
                  </a:lnTo>
                  <a:lnTo>
                    <a:pt x="628" y="466"/>
                  </a:lnTo>
                  <a:lnTo>
                    <a:pt x="641" y="446"/>
                  </a:lnTo>
                  <a:lnTo>
                    <a:pt x="648" y="437"/>
                  </a:lnTo>
                  <a:lnTo>
                    <a:pt x="654" y="429"/>
                  </a:lnTo>
                  <a:lnTo>
                    <a:pt x="663" y="421"/>
                  </a:lnTo>
                  <a:lnTo>
                    <a:pt x="671" y="414"/>
                  </a:lnTo>
                  <a:lnTo>
                    <a:pt x="682" y="408"/>
                  </a:lnTo>
                  <a:lnTo>
                    <a:pt x="692" y="403"/>
                  </a:lnTo>
                  <a:lnTo>
                    <a:pt x="692" y="403"/>
                  </a:lnTo>
                  <a:lnTo>
                    <a:pt x="695" y="377"/>
                  </a:lnTo>
                  <a:lnTo>
                    <a:pt x="695" y="355"/>
                  </a:lnTo>
                  <a:lnTo>
                    <a:pt x="693" y="331"/>
                  </a:lnTo>
                  <a:lnTo>
                    <a:pt x="692" y="305"/>
                  </a:lnTo>
                  <a:lnTo>
                    <a:pt x="692" y="305"/>
                  </a:lnTo>
                  <a:lnTo>
                    <a:pt x="689" y="301"/>
                  </a:lnTo>
                  <a:lnTo>
                    <a:pt x="685" y="297"/>
                  </a:lnTo>
                  <a:lnTo>
                    <a:pt x="682" y="296"/>
                  </a:lnTo>
                  <a:lnTo>
                    <a:pt x="676" y="295"/>
                  </a:lnTo>
                  <a:lnTo>
                    <a:pt x="671" y="292"/>
                  </a:lnTo>
                  <a:lnTo>
                    <a:pt x="667" y="291"/>
                  </a:lnTo>
                  <a:lnTo>
                    <a:pt x="663" y="288"/>
                  </a:lnTo>
                  <a:lnTo>
                    <a:pt x="661" y="283"/>
                  </a:lnTo>
                  <a:lnTo>
                    <a:pt x="661" y="283"/>
                  </a:lnTo>
                  <a:lnTo>
                    <a:pt x="661" y="253"/>
                  </a:lnTo>
                  <a:lnTo>
                    <a:pt x="662" y="222"/>
                  </a:lnTo>
                  <a:lnTo>
                    <a:pt x="665" y="189"/>
                  </a:lnTo>
                  <a:lnTo>
                    <a:pt x="666" y="158"/>
                  </a:lnTo>
                  <a:lnTo>
                    <a:pt x="666" y="142"/>
                  </a:lnTo>
                  <a:lnTo>
                    <a:pt x="665" y="128"/>
                  </a:lnTo>
                  <a:lnTo>
                    <a:pt x="662" y="113"/>
                  </a:lnTo>
                  <a:lnTo>
                    <a:pt x="659" y="100"/>
                  </a:lnTo>
                  <a:lnTo>
                    <a:pt x="655" y="88"/>
                  </a:lnTo>
                  <a:lnTo>
                    <a:pt x="650" y="78"/>
                  </a:lnTo>
                  <a:lnTo>
                    <a:pt x="642" y="69"/>
                  </a:lnTo>
                  <a:lnTo>
                    <a:pt x="635" y="61"/>
                  </a:lnTo>
                  <a:lnTo>
                    <a:pt x="635" y="61"/>
                  </a:lnTo>
                  <a:lnTo>
                    <a:pt x="628" y="58"/>
                  </a:lnTo>
                  <a:lnTo>
                    <a:pt x="621" y="56"/>
                  </a:lnTo>
                  <a:lnTo>
                    <a:pt x="615" y="54"/>
                  </a:lnTo>
                  <a:lnTo>
                    <a:pt x="608" y="54"/>
                  </a:lnTo>
                  <a:lnTo>
                    <a:pt x="608" y="54"/>
                  </a:lnTo>
                  <a:lnTo>
                    <a:pt x="594" y="54"/>
                  </a:lnTo>
                  <a:lnTo>
                    <a:pt x="580" y="56"/>
                  </a:lnTo>
                  <a:lnTo>
                    <a:pt x="580" y="56"/>
                  </a:lnTo>
                  <a:lnTo>
                    <a:pt x="569" y="56"/>
                  </a:lnTo>
                  <a:lnTo>
                    <a:pt x="559" y="52"/>
                  </a:lnTo>
                  <a:lnTo>
                    <a:pt x="559" y="52"/>
                  </a:lnTo>
                  <a:lnTo>
                    <a:pt x="554" y="51"/>
                  </a:lnTo>
                  <a:lnTo>
                    <a:pt x="550" y="47"/>
                  </a:lnTo>
                  <a:lnTo>
                    <a:pt x="542" y="40"/>
                  </a:lnTo>
                  <a:lnTo>
                    <a:pt x="535" y="32"/>
                  </a:lnTo>
                  <a:lnTo>
                    <a:pt x="529" y="23"/>
                  </a:lnTo>
                  <a:lnTo>
                    <a:pt x="522" y="15"/>
                  </a:lnTo>
                  <a:lnTo>
                    <a:pt x="516" y="7"/>
                  </a:lnTo>
                  <a:lnTo>
                    <a:pt x="508" y="2"/>
                  </a:lnTo>
                  <a:lnTo>
                    <a:pt x="503" y="1"/>
                  </a:lnTo>
                  <a:lnTo>
                    <a:pt x="496" y="0"/>
                  </a:lnTo>
                  <a:lnTo>
                    <a:pt x="496" y="0"/>
                  </a:lnTo>
                  <a:lnTo>
                    <a:pt x="470" y="0"/>
                  </a:lnTo>
                  <a:lnTo>
                    <a:pt x="470" y="0"/>
                  </a:lnTo>
                  <a:lnTo>
                    <a:pt x="453" y="9"/>
                  </a:lnTo>
                  <a:lnTo>
                    <a:pt x="435" y="17"/>
                  </a:lnTo>
                  <a:lnTo>
                    <a:pt x="418" y="21"/>
                  </a:lnTo>
                  <a:lnTo>
                    <a:pt x="398" y="24"/>
                  </a:lnTo>
                  <a:lnTo>
                    <a:pt x="362" y="30"/>
                  </a:lnTo>
                  <a:lnTo>
                    <a:pt x="345" y="34"/>
                  </a:lnTo>
                  <a:lnTo>
                    <a:pt x="326" y="37"/>
                  </a:lnTo>
                  <a:lnTo>
                    <a:pt x="326" y="37"/>
                  </a:lnTo>
                  <a:lnTo>
                    <a:pt x="320" y="39"/>
                  </a:lnTo>
                  <a:lnTo>
                    <a:pt x="320" y="39"/>
                  </a:lnTo>
                  <a:lnTo>
                    <a:pt x="309" y="43"/>
                  </a:lnTo>
                  <a:lnTo>
                    <a:pt x="301" y="47"/>
                  </a:lnTo>
                  <a:lnTo>
                    <a:pt x="294" y="52"/>
                  </a:lnTo>
                  <a:lnTo>
                    <a:pt x="287" y="57"/>
                  </a:lnTo>
                  <a:lnTo>
                    <a:pt x="281" y="64"/>
                  </a:lnTo>
                  <a:lnTo>
                    <a:pt x="274" y="70"/>
                  </a:lnTo>
                  <a:lnTo>
                    <a:pt x="270" y="77"/>
                  </a:lnTo>
                  <a:lnTo>
                    <a:pt x="265" y="84"/>
                  </a:lnTo>
                  <a:lnTo>
                    <a:pt x="265" y="84"/>
                  </a:lnTo>
                  <a:lnTo>
                    <a:pt x="261" y="96"/>
                  </a:lnTo>
                  <a:lnTo>
                    <a:pt x="257" y="108"/>
                  </a:lnTo>
                  <a:lnTo>
                    <a:pt x="253" y="121"/>
                  </a:lnTo>
                  <a:lnTo>
                    <a:pt x="251" y="135"/>
                  </a:lnTo>
                  <a:lnTo>
                    <a:pt x="248" y="164"/>
                  </a:lnTo>
                  <a:lnTo>
                    <a:pt x="248" y="197"/>
                  </a:lnTo>
                  <a:lnTo>
                    <a:pt x="248" y="197"/>
                  </a:lnTo>
                  <a:lnTo>
                    <a:pt x="248" y="279"/>
                  </a:lnTo>
                  <a:lnTo>
                    <a:pt x="248" y="279"/>
                  </a:lnTo>
                  <a:lnTo>
                    <a:pt x="240" y="284"/>
                  </a:lnTo>
                  <a:lnTo>
                    <a:pt x="234" y="290"/>
                  </a:lnTo>
                  <a:lnTo>
                    <a:pt x="228" y="297"/>
                  </a:lnTo>
                  <a:lnTo>
                    <a:pt x="223" y="305"/>
                  </a:lnTo>
                  <a:lnTo>
                    <a:pt x="221" y="314"/>
                  </a:lnTo>
                  <a:lnTo>
                    <a:pt x="218" y="324"/>
                  </a:lnTo>
                  <a:lnTo>
                    <a:pt x="217" y="333"/>
                  </a:lnTo>
                  <a:lnTo>
                    <a:pt x="215" y="342"/>
                  </a:lnTo>
                  <a:lnTo>
                    <a:pt x="215" y="342"/>
                  </a:lnTo>
                  <a:lnTo>
                    <a:pt x="215" y="354"/>
                  </a:lnTo>
                  <a:lnTo>
                    <a:pt x="217" y="365"/>
                  </a:lnTo>
                  <a:lnTo>
                    <a:pt x="219" y="376"/>
                  </a:lnTo>
                  <a:lnTo>
                    <a:pt x="222" y="386"/>
                  </a:lnTo>
                  <a:lnTo>
                    <a:pt x="222" y="386"/>
                  </a:lnTo>
                  <a:lnTo>
                    <a:pt x="226" y="395"/>
                  </a:lnTo>
                  <a:lnTo>
                    <a:pt x="230" y="402"/>
                  </a:lnTo>
                  <a:lnTo>
                    <a:pt x="236" y="408"/>
                  </a:lnTo>
                  <a:lnTo>
                    <a:pt x="241" y="414"/>
                  </a:lnTo>
                  <a:lnTo>
                    <a:pt x="256" y="425"/>
                  </a:lnTo>
                  <a:lnTo>
                    <a:pt x="264" y="432"/>
                  </a:lnTo>
                  <a:lnTo>
                    <a:pt x="270" y="440"/>
                  </a:lnTo>
                  <a:lnTo>
                    <a:pt x="270" y="440"/>
                  </a:lnTo>
                  <a:lnTo>
                    <a:pt x="278" y="450"/>
                  </a:lnTo>
                  <a:lnTo>
                    <a:pt x="286" y="461"/>
                  </a:lnTo>
                  <a:lnTo>
                    <a:pt x="299" y="484"/>
                  </a:lnTo>
                  <a:lnTo>
                    <a:pt x="313" y="505"/>
                  </a:lnTo>
                  <a:lnTo>
                    <a:pt x="320" y="514"/>
                  </a:lnTo>
                  <a:lnTo>
                    <a:pt x="326" y="523"/>
                  </a:lnTo>
                  <a:lnTo>
                    <a:pt x="326" y="523"/>
                  </a:lnTo>
                  <a:lnTo>
                    <a:pt x="332" y="529"/>
                  </a:lnTo>
                  <a:lnTo>
                    <a:pt x="338" y="532"/>
                  </a:lnTo>
                  <a:lnTo>
                    <a:pt x="343" y="535"/>
                  </a:lnTo>
                  <a:lnTo>
                    <a:pt x="350" y="538"/>
                  </a:lnTo>
                  <a:lnTo>
                    <a:pt x="350" y="538"/>
                  </a:lnTo>
                  <a:lnTo>
                    <a:pt x="350" y="625"/>
                  </a:lnTo>
                  <a:lnTo>
                    <a:pt x="350" y="625"/>
                  </a:lnTo>
                  <a:lnTo>
                    <a:pt x="339" y="638"/>
                  </a:lnTo>
                  <a:lnTo>
                    <a:pt x="326" y="650"/>
                  </a:lnTo>
                  <a:lnTo>
                    <a:pt x="326" y="650"/>
                  </a:lnTo>
                  <a:lnTo>
                    <a:pt x="311" y="662"/>
                  </a:lnTo>
                  <a:lnTo>
                    <a:pt x="292" y="672"/>
                  </a:lnTo>
                  <a:lnTo>
                    <a:pt x="273" y="680"/>
                  </a:lnTo>
                  <a:lnTo>
                    <a:pt x="252" y="688"/>
                  </a:lnTo>
                  <a:lnTo>
                    <a:pt x="230" y="693"/>
                  </a:lnTo>
                  <a:lnTo>
                    <a:pt x="209" y="698"/>
                  </a:lnTo>
                  <a:lnTo>
                    <a:pt x="163" y="709"/>
                  </a:lnTo>
                  <a:lnTo>
                    <a:pt x="142" y="714"/>
                  </a:lnTo>
                  <a:lnTo>
                    <a:pt x="120" y="721"/>
                  </a:lnTo>
                  <a:lnTo>
                    <a:pt x="100" y="728"/>
                  </a:lnTo>
                  <a:lnTo>
                    <a:pt x="81" y="738"/>
                  </a:lnTo>
                  <a:lnTo>
                    <a:pt x="63" y="748"/>
                  </a:lnTo>
                  <a:lnTo>
                    <a:pt x="47" y="760"/>
                  </a:lnTo>
                  <a:lnTo>
                    <a:pt x="40" y="768"/>
                  </a:lnTo>
                  <a:lnTo>
                    <a:pt x="34" y="775"/>
                  </a:lnTo>
                  <a:lnTo>
                    <a:pt x="27" y="785"/>
                  </a:lnTo>
                  <a:lnTo>
                    <a:pt x="22" y="794"/>
                  </a:lnTo>
                  <a:lnTo>
                    <a:pt x="22" y="794"/>
                  </a:lnTo>
                  <a:lnTo>
                    <a:pt x="17" y="805"/>
                  </a:lnTo>
                  <a:lnTo>
                    <a:pt x="13" y="818"/>
                  </a:lnTo>
                  <a:lnTo>
                    <a:pt x="10" y="833"/>
                  </a:lnTo>
                  <a:lnTo>
                    <a:pt x="9" y="849"/>
                  </a:lnTo>
                  <a:lnTo>
                    <a:pt x="5" y="881"/>
                  </a:lnTo>
                  <a:lnTo>
                    <a:pt x="2" y="899"/>
                  </a:lnTo>
                  <a:lnTo>
                    <a:pt x="0" y="918"/>
                  </a:lnTo>
                  <a:lnTo>
                    <a:pt x="0" y="918"/>
                  </a:lnTo>
                  <a:lnTo>
                    <a:pt x="0" y="919"/>
                  </a:lnTo>
                  <a:lnTo>
                    <a:pt x="0" y="919"/>
                  </a:lnTo>
                  <a:lnTo>
                    <a:pt x="0" y="931"/>
                  </a:lnTo>
                  <a:lnTo>
                    <a:pt x="0" y="932"/>
                  </a:lnTo>
                  <a:lnTo>
                    <a:pt x="0" y="932"/>
                  </a:lnTo>
                  <a:lnTo>
                    <a:pt x="0" y="932"/>
                  </a:lnTo>
                  <a:lnTo>
                    <a:pt x="2" y="944"/>
                  </a:lnTo>
                  <a:lnTo>
                    <a:pt x="6" y="954"/>
                  </a:lnTo>
                  <a:lnTo>
                    <a:pt x="13" y="965"/>
                  </a:lnTo>
                  <a:lnTo>
                    <a:pt x="21" y="977"/>
                  </a:lnTo>
                  <a:lnTo>
                    <a:pt x="30" y="986"/>
                  </a:lnTo>
                  <a:lnTo>
                    <a:pt x="42" y="996"/>
                  </a:lnTo>
                  <a:lnTo>
                    <a:pt x="55" y="1005"/>
                  </a:lnTo>
                  <a:lnTo>
                    <a:pt x="70" y="1016"/>
                  </a:lnTo>
                  <a:lnTo>
                    <a:pt x="86" y="1024"/>
                  </a:lnTo>
                  <a:lnTo>
                    <a:pt x="104" y="1033"/>
                  </a:lnTo>
                  <a:lnTo>
                    <a:pt x="124" y="1041"/>
                  </a:lnTo>
                  <a:lnTo>
                    <a:pt x="145" y="1048"/>
                  </a:lnTo>
                  <a:lnTo>
                    <a:pt x="167" y="1055"/>
                  </a:lnTo>
                  <a:lnTo>
                    <a:pt x="190" y="1061"/>
                  </a:lnTo>
                  <a:lnTo>
                    <a:pt x="215" y="1068"/>
                  </a:lnTo>
                  <a:lnTo>
                    <a:pt x="241" y="1073"/>
                  </a:lnTo>
                  <a:lnTo>
                    <a:pt x="241" y="1073"/>
                  </a:lnTo>
                  <a:lnTo>
                    <a:pt x="243" y="1072"/>
                  </a:lnTo>
                  <a:lnTo>
                    <a:pt x="243" y="1072"/>
                  </a:lnTo>
                  <a:lnTo>
                    <a:pt x="294" y="1080"/>
                  </a:lnTo>
                  <a:lnTo>
                    <a:pt x="346" y="1086"/>
                  </a:lnTo>
                  <a:lnTo>
                    <a:pt x="402" y="1090"/>
                  </a:lnTo>
                  <a:lnTo>
                    <a:pt x="460" y="1091"/>
                  </a:lnTo>
                  <a:lnTo>
                    <a:pt x="460" y="1091"/>
                  </a:lnTo>
                  <a:lnTo>
                    <a:pt x="507" y="1090"/>
                  </a:lnTo>
                  <a:lnTo>
                    <a:pt x="507" y="1090"/>
                  </a:lnTo>
                  <a:lnTo>
                    <a:pt x="503" y="1069"/>
                  </a:lnTo>
                  <a:lnTo>
                    <a:pt x="501" y="1047"/>
                  </a:lnTo>
                  <a:lnTo>
                    <a:pt x="501" y="1047"/>
                  </a:lnTo>
                  <a:lnTo>
                    <a:pt x="503" y="1030"/>
                  </a:lnTo>
                  <a:lnTo>
                    <a:pt x="505" y="1013"/>
                  </a:lnTo>
                  <a:lnTo>
                    <a:pt x="509" y="996"/>
                  </a:lnTo>
                  <a:lnTo>
                    <a:pt x="514" y="980"/>
                  </a:lnTo>
                  <a:lnTo>
                    <a:pt x="522" y="966"/>
                  </a:lnTo>
                  <a:lnTo>
                    <a:pt x="530" y="952"/>
                  </a:lnTo>
                  <a:lnTo>
                    <a:pt x="540" y="939"/>
                  </a:lnTo>
                  <a:lnTo>
                    <a:pt x="552" y="926"/>
                  </a:lnTo>
                  <a:lnTo>
                    <a:pt x="564" y="915"/>
                  </a:lnTo>
                  <a:lnTo>
                    <a:pt x="577" y="905"/>
                  </a:lnTo>
                  <a:lnTo>
                    <a:pt x="591" y="897"/>
                  </a:lnTo>
                  <a:lnTo>
                    <a:pt x="606" y="889"/>
                  </a:lnTo>
                  <a:lnTo>
                    <a:pt x="621" y="884"/>
                  </a:lnTo>
                  <a:lnTo>
                    <a:pt x="638" y="880"/>
                  </a:lnTo>
                  <a:lnTo>
                    <a:pt x="655" y="877"/>
                  </a:lnTo>
                  <a:lnTo>
                    <a:pt x="672" y="876"/>
                  </a:lnTo>
                  <a:lnTo>
                    <a:pt x="672" y="876"/>
                  </a:lnTo>
                  <a:lnTo>
                    <a:pt x="688" y="876"/>
                  </a:lnTo>
                  <a:lnTo>
                    <a:pt x="704" y="879"/>
                  </a:lnTo>
                  <a:lnTo>
                    <a:pt x="718" y="882"/>
                  </a:lnTo>
                  <a:lnTo>
                    <a:pt x="732" y="886"/>
                  </a:lnTo>
                  <a:lnTo>
                    <a:pt x="747" y="893"/>
                  </a:lnTo>
                  <a:lnTo>
                    <a:pt x="760" y="899"/>
                  </a:lnTo>
                  <a:lnTo>
                    <a:pt x="772" y="907"/>
                  </a:lnTo>
                  <a:lnTo>
                    <a:pt x="783" y="916"/>
                  </a:lnTo>
                  <a:lnTo>
                    <a:pt x="794" y="926"/>
                  </a:lnTo>
                  <a:lnTo>
                    <a:pt x="804" y="937"/>
                  </a:lnTo>
                  <a:lnTo>
                    <a:pt x="813" y="949"/>
                  </a:lnTo>
                  <a:lnTo>
                    <a:pt x="821" y="961"/>
                  </a:lnTo>
                  <a:lnTo>
                    <a:pt x="828" y="974"/>
                  </a:lnTo>
                  <a:lnTo>
                    <a:pt x="834" y="988"/>
                  </a:lnTo>
                  <a:lnTo>
                    <a:pt x="838" y="1003"/>
                  </a:lnTo>
                  <a:lnTo>
                    <a:pt x="842" y="1017"/>
                  </a:lnTo>
                  <a:lnTo>
                    <a:pt x="842" y="1017"/>
                  </a:lnTo>
                  <a:lnTo>
                    <a:pt x="864" y="1003"/>
                  </a:lnTo>
                  <a:lnTo>
                    <a:pt x="884" y="988"/>
                  </a:lnTo>
                  <a:lnTo>
                    <a:pt x="892" y="980"/>
                  </a:lnTo>
                  <a:lnTo>
                    <a:pt x="898" y="973"/>
                  </a:lnTo>
                  <a:lnTo>
                    <a:pt x="905" y="965"/>
                  </a:lnTo>
                  <a:lnTo>
                    <a:pt x="910" y="957"/>
                  </a:lnTo>
                  <a:lnTo>
                    <a:pt x="910" y="957"/>
                  </a:lnTo>
                  <a:lnTo>
                    <a:pt x="915" y="944"/>
                  </a:lnTo>
                  <a:lnTo>
                    <a:pt x="917" y="937"/>
                  </a:lnTo>
                  <a:lnTo>
                    <a:pt x="918" y="931"/>
                  </a:lnTo>
                  <a:lnTo>
                    <a:pt x="918" y="931"/>
                  </a:lnTo>
                  <a:lnTo>
                    <a:pt x="918" y="931"/>
                  </a:lnTo>
                  <a:lnTo>
                    <a:pt x="918" y="927"/>
                  </a:lnTo>
                  <a:lnTo>
                    <a:pt x="918" y="9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7" name="Freeform 26"/>
            <p:cNvSpPr>
              <a:spLocks/>
            </p:cNvSpPr>
            <p:nvPr/>
          </p:nvSpPr>
          <p:spPr bwMode="auto">
            <a:xfrm>
              <a:off x="1388240" y="1574801"/>
              <a:ext cx="111138" cy="111138"/>
            </a:xfrm>
            <a:custGeom>
              <a:avLst/>
              <a:gdLst>
                <a:gd name="connsiteX0" fmla="*/ 51546 w 111138"/>
                <a:gd name="connsiteY0" fmla="*/ 28927 h 111138"/>
                <a:gd name="connsiteX1" fmla="*/ 50397 w 111138"/>
                <a:gd name="connsiteY1" fmla="*/ 30054 h 111138"/>
                <a:gd name="connsiteX2" fmla="*/ 49248 w 111138"/>
                <a:gd name="connsiteY2" fmla="*/ 30805 h 111138"/>
                <a:gd name="connsiteX3" fmla="*/ 49248 w 111138"/>
                <a:gd name="connsiteY3" fmla="*/ 32308 h 111138"/>
                <a:gd name="connsiteX4" fmla="*/ 49248 w 111138"/>
                <a:gd name="connsiteY4" fmla="*/ 51467 h 111138"/>
                <a:gd name="connsiteX5" fmla="*/ 29329 w 111138"/>
                <a:gd name="connsiteY5" fmla="*/ 51467 h 111138"/>
                <a:gd name="connsiteX6" fmla="*/ 28179 w 111138"/>
                <a:gd name="connsiteY6" fmla="*/ 52219 h 111138"/>
                <a:gd name="connsiteX7" fmla="*/ 27030 w 111138"/>
                <a:gd name="connsiteY7" fmla="*/ 52594 h 111138"/>
                <a:gd name="connsiteX8" fmla="*/ 26264 w 111138"/>
                <a:gd name="connsiteY8" fmla="*/ 53721 h 111138"/>
                <a:gd name="connsiteX9" fmla="*/ 25881 w 111138"/>
                <a:gd name="connsiteY9" fmla="*/ 54848 h 111138"/>
                <a:gd name="connsiteX10" fmla="*/ 25881 w 111138"/>
                <a:gd name="connsiteY10" fmla="*/ 60859 h 111138"/>
                <a:gd name="connsiteX11" fmla="*/ 26264 w 111138"/>
                <a:gd name="connsiteY11" fmla="*/ 62362 h 111138"/>
                <a:gd name="connsiteX12" fmla="*/ 27030 w 111138"/>
                <a:gd name="connsiteY12" fmla="*/ 63489 h 111138"/>
                <a:gd name="connsiteX13" fmla="*/ 28179 w 111138"/>
                <a:gd name="connsiteY13" fmla="*/ 63864 h 111138"/>
                <a:gd name="connsiteX14" fmla="*/ 29329 w 111138"/>
                <a:gd name="connsiteY14" fmla="*/ 64240 h 111138"/>
                <a:gd name="connsiteX15" fmla="*/ 49248 w 111138"/>
                <a:gd name="connsiteY15" fmla="*/ 64240 h 111138"/>
                <a:gd name="connsiteX16" fmla="*/ 49248 w 111138"/>
                <a:gd name="connsiteY16" fmla="*/ 83399 h 111138"/>
                <a:gd name="connsiteX17" fmla="*/ 49248 w 111138"/>
                <a:gd name="connsiteY17" fmla="*/ 84902 h 111138"/>
                <a:gd name="connsiteX18" fmla="*/ 50397 w 111138"/>
                <a:gd name="connsiteY18" fmla="*/ 86029 h 111138"/>
                <a:gd name="connsiteX19" fmla="*/ 51546 w 111138"/>
                <a:gd name="connsiteY19" fmla="*/ 86780 h 111138"/>
                <a:gd name="connsiteX20" fmla="*/ 52696 w 111138"/>
                <a:gd name="connsiteY20" fmla="*/ 86780 h 111138"/>
                <a:gd name="connsiteX21" fmla="*/ 58825 w 111138"/>
                <a:gd name="connsiteY21" fmla="*/ 86780 h 111138"/>
                <a:gd name="connsiteX22" fmla="*/ 59974 w 111138"/>
                <a:gd name="connsiteY22" fmla="*/ 86780 h 111138"/>
                <a:gd name="connsiteX23" fmla="*/ 61506 w 111138"/>
                <a:gd name="connsiteY23" fmla="*/ 86029 h 111138"/>
                <a:gd name="connsiteX24" fmla="*/ 61889 w 111138"/>
                <a:gd name="connsiteY24" fmla="*/ 84902 h 111138"/>
                <a:gd name="connsiteX25" fmla="*/ 62272 w 111138"/>
                <a:gd name="connsiteY25" fmla="*/ 83399 h 111138"/>
                <a:gd name="connsiteX26" fmla="*/ 62272 w 111138"/>
                <a:gd name="connsiteY26" fmla="*/ 64240 h 111138"/>
                <a:gd name="connsiteX27" fmla="*/ 81808 w 111138"/>
                <a:gd name="connsiteY27" fmla="*/ 64240 h 111138"/>
                <a:gd name="connsiteX28" fmla="*/ 83341 w 111138"/>
                <a:gd name="connsiteY28" fmla="*/ 63864 h 111138"/>
                <a:gd name="connsiteX29" fmla="*/ 84490 w 111138"/>
                <a:gd name="connsiteY29" fmla="*/ 63489 h 111138"/>
                <a:gd name="connsiteX30" fmla="*/ 84873 w 111138"/>
                <a:gd name="connsiteY30" fmla="*/ 62362 h 111138"/>
                <a:gd name="connsiteX31" fmla="*/ 85256 w 111138"/>
                <a:gd name="connsiteY31" fmla="*/ 60859 h 111138"/>
                <a:gd name="connsiteX32" fmla="*/ 85256 w 111138"/>
                <a:gd name="connsiteY32" fmla="*/ 54848 h 111138"/>
                <a:gd name="connsiteX33" fmla="*/ 84873 w 111138"/>
                <a:gd name="connsiteY33" fmla="*/ 53721 h 111138"/>
                <a:gd name="connsiteX34" fmla="*/ 84490 w 111138"/>
                <a:gd name="connsiteY34" fmla="*/ 52594 h 111138"/>
                <a:gd name="connsiteX35" fmla="*/ 83341 w 111138"/>
                <a:gd name="connsiteY35" fmla="*/ 52219 h 111138"/>
                <a:gd name="connsiteX36" fmla="*/ 81808 w 111138"/>
                <a:gd name="connsiteY36" fmla="*/ 51467 h 111138"/>
                <a:gd name="connsiteX37" fmla="*/ 62272 w 111138"/>
                <a:gd name="connsiteY37" fmla="*/ 51467 h 111138"/>
                <a:gd name="connsiteX38" fmla="*/ 62272 w 111138"/>
                <a:gd name="connsiteY38" fmla="*/ 32308 h 111138"/>
                <a:gd name="connsiteX39" fmla="*/ 61889 w 111138"/>
                <a:gd name="connsiteY39" fmla="*/ 30805 h 111138"/>
                <a:gd name="connsiteX40" fmla="*/ 61506 w 111138"/>
                <a:gd name="connsiteY40" fmla="*/ 30054 h 111138"/>
                <a:gd name="connsiteX41" fmla="*/ 59974 w 111138"/>
                <a:gd name="connsiteY41" fmla="*/ 28927 h 111138"/>
                <a:gd name="connsiteX42" fmla="*/ 58825 w 111138"/>
                <a:gd name="connsiteY42" fmla="*/ 28927 h 111138"/>
                <a:gd name="connsiteX43" fmla="*/ 52696 w 111138"/>
                <a:gd name="connsiteY43" fmla="*/ 28927 h 111138"/>
                <a:gd name="connsiteX44" fmla="*/ 55188 w 111138"/>
                <a:gd name="connsiteY44" fmla="*/ 0 h 111138"/>
                <a:gd name="connsiteX45" fmla="*/ 60136 w 111138"/>
                <a:gd name="connsiteY45" fmla="*/ 382 h 111138"/>
                <a:gd name="connsiteX46" fmla="*/ 65084 w 111138"/>
                <a:gd name="connsiteY46" fmla="*/ 764 h 111138"/>
                <a:gd name="connsiteX47" fmla="*/ 70032 w 111138"/>
                <a:gd name="connsiteY47" fmla="*/ 1910 h 111138"/>
                <a:gd name="connsiteX48" fmla="*/ 74600 w 111138"/>
                <a:gd name="connsiteY48" fmla="*/ 3437 h 111138"/>
                <a:gd name="connsiteX49" fmla="*/ 79167 w 111138"/>
                <a:gd name="connsiteY49" fmla="*/ 5347 h 111138"/>
                <a:gd name="connsiteX50" fmla="*/ 82973 w 111138"/>
                <a:gd name="connsiteY50" fmla="*/ 8020 h 111138"/>
                <a:gd name="connsiteX51" fmla="*/ 87540 w 111138"/>
                <a:gd name="connsiteY51" fmla="*/ 10312 h 111138"/>
                <a:gd name="connsiteX52" fmla="*/ 90966 w 111138"/>
                <a:gd name="connsiteY52" fmla="*/ 13367 h 111138"/>
                <a:gd name="connsiteX53" fmla="*/ 94391 w 111138"/>
                <a:gd name="connsiteY53" fmla="*/ 16423 h 111138"/>
                <a:gd name="connsiteX54" fmla="*/ 97436 w 111138"/>
                <a:gd name="connsiteY54" fmla="*/ 19860 h 111138"/>
                <a:gd name="connsiteX55" fmla="*/ 100481 w 111138"/>
                <a:gd name="connsiteY55" fmla="*/ 24061 h 111138"/>
                <a:gd name="connsiteX56" fmla="*/ 103145 w 111138"/>
                <a:gd name="connsiteY56" fmla="*/ 27880 h 111138"/>
                <a:gd name="connsiteX57" fmla="*/ 105429 w 111138"/>
                <a:gd name="connsiteY57" fmla="*/ 31699 h 111138"/>
                <a:gd name="connsiteX58" fmla="*/ 107332 w 111138"/>
                <a:gd name="connsiteY58" fmla="*/ 36282 h 111138"/>
                <a:gd name="connsiteX59" fmla="*/ 108854 w 111138"/>
                <a:gd name="connsiteY59" fmla="*/ 40865 h 111138"/>
                <a:gd name="connsiteX60" fmla="*/ 109996 w 111138"/>
                <a:gd name="connsiteY60" fmla="*/ 45830 h 111138"/>
                <a:gd name="connsiteX61" fmla="*/ 110377 w 111138"/>
                <a:gd name="connsiteY61" fmla="*/ 50795 h 111138"/>
                <a:gd name="connsiteX62" fmla="*/ 111138 w 111138"/>
                <a:gd name="connsiteY62" fmla="*/ 55760 h 111138"/>
                <a:gd name="connsiteX63" fmla="*/ 110377 w 111138"/>
                <a:gd name="connsiteY63" fmla="*/ 61107 h 111138"/>
                <a:gd name="connsiteX64" fmla="*/ 109616 w 111138"/>
                <a:gd name="connsiteY64" fmla="*/ 66836 h 111138"/>
                <a:gd name="connsiteX65" fmla="*/ 108474 w 111138"/>
                <a:gd name="connsiteY65" fmla="*/ 72182 h 111138"/>
                <a:gd name="connsiteX66" fmla="*/ 106571 w 111138"/>
                <a:gd name="connsiteY66" fmla="*/ 77147 h 111138"/>
                <a:gd name="connsiteX67" fmla="*/ 103906 w 111138"/>
                <a:gd name="connsiteY67" fmla="*/ 82112 h 111138"/>
                <a:gd name="connsiteX68" fmla="*/ 101623 w 111138"/>
                <a:gd name="connsiteY68" fmla="*/ 86695 h 111138"/>
                <a:gd name="connsiteX69" fmla="*/ 98197 w 111138"/>
                <a:gd name="connsiteY69" fmla="*/ 91278 h 111138"/>
                <a:gd name="connsiteX70" fmla="*/ 94391 w 111138"/>
                <a:gd name="connsiteY70" fmla="*/ 95098 h 111138"/>
                <a:gd name="connsiteX71" fmla="*/ 90585 w 111138"/>
                <a:gd name="connsiteY71" fmla="*/ 98535 h 111138"/>
                <a:gd name="connsiteX72" fmla="*/ 86018 w 111138"/>
                <a:gd name="connsiteY72" fmla="*/ 101590 h 111138"/>
                <a:gd name="connsiteX73" fmla="*/ 81831 w 111138"/>
                <a:gd name="connsiteY73" fmla="*/ 104645 h 111138"/>
                <a:gd name="connsiteX74" fmla="*/ 77264 w 111138"/>
                <a:gd name="connsiteY74" fmla="*/ 107319 h 111138"/>
                <a:gd name="connsiteX75" fmla="*/ 71555 w 111138"/>
                <a:gd name="connsiteY75" fmla="*/ 108847 h 111138"/>
                <a:gd name="connsiteX76" fmla="*/ 66607 w 111138"/>
                <a:gd name="connsiteY76" fmla="*/ 109992 h 111138"/>
                <a:gd name="connsiteX77" fmla="*/ 61278 w 111138"/>
                <a:gd name="connsiteY77" fmla="*/ 111138 h 111138"/>
                <a:gd name="connsiteX78" fmla="*/ 55188 w 111138"/>
                <a:gd name="connsiteY78" fmla="*/ 111138 h 111138"/>
                <a:gd name="connsiteX79" fmla="*/ 51002 w 111138"/>
                <a:gd name="connsiteY79" fmla="*/ 111138 h 111138"/>
                <a:gd name="connsiteX80" fmla="*/ 45673 w 111138"/>
                <a:gd name="connsiteY80" fmla="*/ 110756 h 111138"/>
                <a:gd name="connsiteX81" fmla="*/ 41487 w 111138"/>
                <a:gd name="connsiteY81" fmla="*/ 109610 h 111138"/>
                <a:gd name="connsiteX82" fmla="*/ 36919 w 111138"/>
                <a:gd name="connsiteY82" fmla="*/ 108083 h 111138"/>
                <a:gd name="connsiteX83" fmla="*/ 33113 w 111138"/>
                <a:gd name="connsiteY83" fmla="*/ 106555 h 111138"/>
                <a:gd name="connsiteX84" fmla="*/ 28546 w 111138"/>
                <a:gd name="connsiteY84" fmla="*/ 104645 h 111138"/>
                <a:gd name="connsiteX85" fmla="*/ 25120 w 111138"/>
                <a:gd name="connsiteY85" fmla="*/ 102354 h 111138"/>
                <a:gd name="connsiteX86" fmla="*/ 20934 w 111138"/>
                <a:gd name="connsiteY86" fmla="*/ 99681 h 111138"/>
                <a:gd name="connsiteX87" fmla="*/ 17889 w 111138"/>
                <a:gd name="connsiteY87" fmla="*/ 96625 h 111138"/>
                <a:gd name="connsiteX88" fmla="*/ 14463 w 111138"/>
                <a:gd name="connsiteY88" fmla="*/ 93188 h 111138"/>
                <a:gd name="connsiteX89" fmla="*/ 11418 w 111138"/>
                <a:gd name="connsiteY89" fmla="*/ 89751 h 111138"/>
                <a:gd name="connsiteX90" fmla="*/ 9135 w 111138"/>
                <a:gd name="connsiteY90" fmla="*/ 86313 h 111138"/>
                <a:gd name="connsiteX91" fmla="*/ 6470 w 111138"/>
                <a:gd name="connsiteY91" fmla="*/ 82112 h 111138"/>
                <a:gd name="connsiteX92" fmla="*/ 4567 w 111138"/>
                <a:gd name="connsiteY92" fmla="*/ 78293 h 111138"/>
                <a:gd name="connsiteX93" fmla="*/ 3045 w 111138"/>
                <a:gd name="connsiteY93" fmla="*/ 74092 h 111138"/>
                <a:gd name="connsiteX94" fmla="*/ 1523 w 111138"/>
                <a:gd name="connsiteY94" fmla="*/ 69891 h 111138"/>
                <a:gd name="connsiteX95" fmla="*/ 761 w 111138"/>
                <a:gd name="connsiteY95" fmla="*/ 62635 h 111138"/>
                <a:gd name="connsiteX96" fmla="*/ 0 w 111138"/>
                <a:gd name="connsiteY96" fmla="*/ 55760 h 111138"/>
                <a:gd name="connsiteX97" fmla="*/ 0 w 111138"/>
                <a:gd name="connsiteY97" fmla="*/ 49649 h 111138"/>
                <a:gd name="connsiteX98" fmla="*/ 1142 w 111138"/>
                <a:gd name="connsiteY98" fmla="*/ 44302 h 111138"/>
                <a:gd name="connsiteX99" fmla="*/ 2664 w 111138"/>
                <a:gd name="connsiteY99" fmla="*/ 39338 h 111138"/>
                <a:gd name="connsiteX100" fmla="*/ 4187 w 111138"/>
                <a:gd name="connsiteY100" fmla="*/ 33991 h 111138"/>
                <a:gd name="connsiteX101" fmla="*/ 6470 w 111138"/>
                <a:gd name="connsiteY101" fmla="*/ 29408 h 111138"/>
                <a:gd name="connsiteX102" fmla="*/ 9515 w 111138"/>
                <a:gd name="connsiteY102" fmla="*/ 24443 h 111138"/>
                <a:gd name="connsiteX103" fmla="*/ 12560 w 111138"/>
                <a:gd name="connsiteY103" fmla="*/ 20242 h 111138"/>
                <a:gd name="connsiteX104" fmla="*/ 15986 w 111138"/>
                <a:gd name="connsiteY104" fmla="*/ 16423 h 111138"/>
                <a:gd name="connsiteX105" fmla="*/ 20172 w 111138"/>
                <a:gd name="connsiteY105" fmla="*/ 12985 h 111138"/>
                <a:gd name="connsiteX106" fmla="*/ 24359 w 111138"/>
                <a:gd name="connsiteY106" fmla="*/ 9548 h 111138"/>
                <a:gd name="connsiteX107" fmla="*/ 28926 w 111138"/>
                <a:gd name="connsiteY107" fmla="*/ 6875 h 111138"/>
                <a:gd name="connsiteX108" fmla="*/ 33874 w 111138"/>
                <a:gd name="connsiteY108" fmla="*/ 4583 h 111138"/>
                <a:gd name="connsiteX109" fmla="*/ 38822 w 111138"/>
                <a:gd name="connsiteY109" fmla="*/ 2292 h 111138"/>
                <a:gd name="connsiteX110" fmla="*/ 44531 w 111138"/>
                <a:gd name="connsiteY110" fmla="*/ 1528 h 111138"/>
                <a:gd name="connsiteX111" fmla="*/ 49860 w 111138"/>
                <a:gd name="connsiteY111" fmla="*/ 382 h 111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11138" h="111138">
                  <a:moveTo>
                    <a:pt x="51546" y="28927"/>
                  </a:moveTo>
                  <a:lnTo>
                    <a:pt x="50397" y="30054"/>
                  </a:lnTo>
                  <a:lnTo>
                    <a:pt x="49248" y="30805"/>
                  </a:lnTo>
                  <a:lnTo>
                    <a:pt x="49248" y="32308"/>
                  </a:lnTo>
                  <a:lnTo>
                    <a:pt x="49248" y="51467"/>
                  </a:lnTo>
                  <a:lnTo>
                    <a:pt x="29329" y="51467"/>
                  </a:lnTo>
                  <a:lnTo>
                    <a:pt x="28179" y="52219"/>
                  </a:lnTo>
                  <a:lnTo>
                    <a:pt x="27030" y="52594"/>
                  </a:lnTo>
                  <a:lnTo>
                    <a:pt x="26264" y="53721"/>
                  </a:lnTo>
                  <a:lnTo>
                    <a:pt x="25881" y="54848"/>
                  </a:lnTo>
                  <a:lnTo>
                    <a:pt x="25881" y="60859"/>
                  </a:lnTo>
                  <a:lnTo>
                    <a:pt x="26264" y="62362"/>
                  </a:lnTo>
                  <a:lnTo>
                    <a:pt x="27030" y="63489"/>
                  </a:lnTo>
                  <a:lnTo>
                    <a:pt x="28179" y="63864"/>
                  </a:lnTo>
                  <a:lnTo>
                    <a:pt x="29329" y="64240"/>
                  </a:lnTo>
                  <a:lnTo>
                    <a:pt x="49248" y="64240"/>
                  </a:lnTo>
                  <a:lnTo>
                    <a:pt x="49248" y="83399"/>
                  </a:lnTo>
                  <a:lnTo>
                    <a:pt x="49248" y="84902"/>
                  </a:lnTo>
                  <a:lnTo>
                    <a:pt x="50397" y="86029"/>
                  </a:lnTo>
                  <a:lnTo>
                    <a:pt x="51546" y="86780"/>
                  </a:lnTo>
                  <a:lnTo>
                    <a:pt x="52696" y="86780"/>
                  </a:lnTo>
                  <a:lnTo>
                    <a:pt x="58825" y="86780"/>
                  </a:lnTo>
                  <a:lnTo>
                    <a:pt x="59974" y="86780"/>
                  </a:lnTo>
                  <a:lnTo>
                    <a:pt x="61506" y="86029"/>
                  </a:lnTo>
                  <a:lnTo>
                    <a:pt x="61889" y="84902"/>
                  </a:lnTo>
                  <a:lnTo>
                    <a:pt x="62272" y="83399"/>
                  </a:lnTo>
                  <a:lnTo>
                    <a:pt x="62272" y="64240"/>
                  </a:lnTo>
                  <a:lnTo>
                    <a:pt x="81808" y="64240"/>
                  </a:lnTo>
                  <a:lnTo>
                    <a:pt x="83341" y="63864"/>
                  </a:lnTo>
                  <a:lnTo>
                    <a:pt x="84490" y="63489"/>
                  </a:lnTo>
                  <a:lnTo>
                    <a:pt x="84873" y="62362"/>
                  </a:lnTo>
                  <a:lnTo>
                    <a:pt x="85256" y="60859"/>
                  </a:lnTo>
                  <a:lnTo>
                    <a:pt x="85256" y="54848"/>
                  </a:lnTo>
                  <a:lnTo>
                    <a:pt x="84873" y="53721"/>
                  </a:lnTo>
                  <a:lnTo>
                    <a:pt x="84490" y="52594"/>
                  </a:lnTo>
                  <a:lnTo>
                    <a:pt x="83341" y="52219"/>
                  </a:lnTo>
                  <a:lnTo>
                    <a:pt x="81808" y="51467"/>
                  </a:lnTo>
                  <a:lnTo>
                    <a:pt x="62272" y="51467"/>
                  </a:lnTo>
                  <a:lnTo>
                    <a:pt x="62272" y="32308"/>
                  </a:lnTo>
                  <a:lnTo>
                    <a:pt x="61889" y="30805"/>
                  </a:lnTo>
                  <a:lnTo>
                    <a:pt x="61506" y="30054"/>
                  </a:lnTo>
                  <a:lnTo>
                    <a:pt x="59974" y="28927"/>
                  </a:lnTo>
                  <a:lnTo>
                    <a:pt x="58825" y="28927"/>
                  </a:lnTo>
                  <a:lnTo>
                    <a:pt x="52696" y="28927"/>
                  </a:lnTo>
                  <a:close/>
                  <a:moveTo>
                    <a:pt x="55188" y="0"/>
                  </a:moveTo>
                  <a:lnTo>
                    <a:pt x="60136" y="382"/>
                  </a:lnTo>
                  <a:lnTo>
                    <a:pt x="65084" y="764"/>
                  </a:lnTo>
                  <a:lnTo>
                    <a:pt x="70032" y="1910"/>
                  </a:lnTo>
                  <a:lnTo>
                    <a:pt x="74600" y="3437"/>
                  </a:lnTo>
                  <a:lnTo>
                    <a:pt x="79167" y="5347"/>
                  </a:lnTo>
                  <a:lnTo>
                    <a:pt x="82973" y="8020"/>
                  </a:lnTo>
                  <a:lnTo>
                    <a:pt x="87540" y="10312"/>
                  </a:lnTo>
                  <a:lnTo>
                    <a:pt x="90966" y="13367"/>
                  </a:lnTo>
                  <a:lnTo>
                    <a:pt x="94391" y="16423"/>
                  </a:lnTo>
                  <a:lnTo>
                    <a:pt x="97436" y="19860"/>
                  </a:lnTo>
                  <a:lnTo>
                    <a:pt x="100481" y="24061"/>
                  </a:lnTo>
                  <a:lnTo>
                    <a:pt x="103145" y="27880"/>
                  </a:lnTo>
                  <a:lnTo>
                    <a:pt x="105429" y="31699"/>
                  </a:lnTo>
                  <a:lnTo>
                    <a:pt x="107332" y="36282"/>
                  </a:lnTo>
                  <a:lnTo>
                    <a:pt x="108854" y="40865"/>
                  </a:lnTo>
                  <a:lnTo>
                    <a:pt x="109996" y="45830"/>
                  </a:lnTo>
                  <a:lnTo>
                    <a:pt x="110377" y="50795"/>
                  </a:lnTo>
                  <a:lnTo>
                    <a:pt x="111138" y="55760"/>
                  </a:lnTo>
                  <a:lnTo>
                    <a:pt x="110377" y="61107"/>
                  </a:lnTo>
                  <a:lnTo>
                    <a:pt x="109616" y="66836"/>
                  </a:lnTo>
                  <a:lnTo>
                    <a:pt x="108474" y="72182"/>
                  </a:lnTo>
                  <a:lnTo>
                    <a:pt x="106571" y="77147"/>
                  </a:lnTo>
                  <a:lnTo>
                    <a:pt x="103906" y="82112"/>
                  </a:lnTo>
                  <a:lnTo>
                    <a:pt x="101623" y="86695"/>
                  </a:lnTo>
                  <a:lnTo>
                    <a:pt x="98197" y="91278"/>
                  </a:lnTo>
                  <a:lnTo>
                    <a:pt x="94391" y="95098"/>
                  </a:lnTo>
                  <a:lnTo>
                    <a:pt x="90585" y="98535"/>
                  </a:lnTo>
                  <a:lnTo>
                    <a:pt x="86018" y="101590"/>
                  </a:lnTo>
                  <a:lnTo>
                    <a:pt x="81831" y="104645"/>
                  </a:lnTo>
                  <a:lnTo>
                    <a:pt x="77264" y="107319"/>
                  </a:lnTo>
                  <a:lnTo>
                    <a:pt x="71555" y="108847"/>
                  </a:lnTo>
                  <a:lnTo>
                    <a:pt x="66607" y="109992"/>
                  </a:lnTo>
                  <a:lnTo>
                    <a:pt x="61278" y="111138"/>
                  </a:lnTo>
                  <a:lnTo>
                    <a:pt x="55188" y="111138"/>
                  </a:lnTo>
                  <a:lnTo>
                    <a:pt x="51002" y="111138"/>
                  </a:lnTo>
                  <a:lnTo>
                    <a:pt x="45673" y="110756"/>
                  </a:lnTo>
                  <a:lnTo>
                    <a:pt x="41487" y="109610"/>
                  </a:lnTo>
                  <a:lnTo>
                    <a:pt x="36919" y="108083"/>
                  </a:lnTo>
                  <a:lnTo>
                    <a:pt x="33113" y="106555"/>
                  </a:lnTo>
                  <a:lnTo>
                    <a:pt x="28546" y="104645"/>
                  </a:lnTo>
                  <a:lnTo>
                    <a:pt x="25120" y="102354"/>
                  </a:lnTo>
                  <a:lnTo>
                    <a:pt x="20934" y="99681"/>
                  </a:lnTo>
                  <a:lnTo>
                    <a:pt x="17889" y="96625"/>
                  </a:lnTo>
                  <a:lnTo>
                    <a:pt x="14463" y="93188"/>
                  </a:lnTo>
                  <a:lnTo>
                    <a:pt x="11418" y="89751"/>
                  </a:lnTo>
                  <a:lnTo>
                    <a:pt x="9135" y="86313"/>
                  </a:lnTo>
                  <a:lnTo>
                    <a:pt x="6470" y="82112"/>
                  </a:lnTo>
                  <a:lnTo>
                    <a:pt x="4567" y="78293"/>
                  </a:lnTo>
                  <a:lnTo>
                    <a:pt x="3045" y="74092"/>
                  </a:lnTo>
                  <a:lnTo>
                    <a:pt x="1523" y="69891"/>
                  </a:lnTo>
                  <a:lnTo>
                    <a:pt x="761" y="62635"/>
                  </a:lnTo>
                  <a:lnTo>
                    <a:pt x="0" y="55760"/>
                  </a:lnTo>
                  <a:lnTo>
                    <a:pt x="0" y="49649"/>
                  </a:lnTo>
                  <a:lnTo>
                    <a:pt x="1142" y="44302"/>
                  </a:lnTo>
                  <a:lnTo>
                    <a:pt x="2664" y="39338"/>
                  </a:lnTo>
                  <a:lnTo>
                    <a:pt x="4187" y="33991"/>
                  </a:lnTo>
                  <a:lnTo>
                    <a:pt x="6470" y="29408"/>
                  </a:lnTo>
                  <a:lnTo>
                    <a:pt x="9515" y="24443"/>
                  </a:lnTo>
                  <a:lnTo>
                    <a:pt x="12560" y="20242"/>
                  </a:lnTo>
                  <a:lnTo>
                    <a:pt x="15986" y="16423"/>
                  </a:lnTo>
                  <a:lnTo>
                    <a:pt x="20172" y="12985"/>
                  </a:lnTo>
                  <a:lnTo>
                    <a:pt x="24359" y="9548"/>
                  </a:lnTo>
                  <a:lnTo>
                    <a:pt x="28926" y="6875"/>
                  </a:lnTo>
                  <a:lnTo>
                    <a:pt x="33874" y="4583"/>
                  </a:lnTo>
                  <a:lnTo>
                    <a:pt x="38822" y="2292"/>
                  </a:lnTo>
                  <a:lnTo>
                    <a:pt x="44531" y="1528"/>
                  </a:lnTo>
                  <a:lnTo>
                    <a:pt x="49860" y="3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chemeClr val="bg1"/>
                </a:solidFill>
              </a:endParaRPr>
            </a:p>
          </p:txBody>
        </p:sp>
      </p:grpSp>
      <p:grpSp>
        <p:nvGrpSpPr>
          <p:cNvPr id="28" name="Group 27"/>
          <p:cNvGrpSpPr/>
          <p:nvPr/>
        </p:nvGrpSpPr>
        <p:grpSpPr>
          <a:xfrm>
            <a:off x="7062519" y="3461583"/>
            <a:ext cx="378479" cy="405273"/>
            <a:chOff x="1184233" y="1996518"/>
            <a:chExt cx="344072" cy="368430"/>
          </a:xfrm>
          <a:solidFill>
            <a:schemeClr val="bg1"/>
          </a:solidFill>
        </p:grpSpPr>
        <p:sp>
          <p:nvSpPr>
            <p:cNvPr id="29" name="Freeform 10964"/>
            <p:cNvSpPr>
              <a:spLocks noEditPoints="1"/>
            </p:cNvSpPr>
            <p:nvPr/>
          </p:nvSpPr>
          <p:spPr bwMode="auto">
            <a:xfrm>
              <a:off x="1184233" y="2036101"/>
              <a:ext cx="344072" cy="328847"/>
            </a:xfrm>
            <a:custGeom>
              <a:avLst/>
              <a:gdLst>
                <a:gd name="T0" fmla="*/ 739 w 904"/>
                <a:gd name="T1" fmla="*/ 0 h 864"/>
                <a:gd name="T2" fmla="*/ 739 w 904"/>
                <a:gd name="T3" fmla="*/ 73 h 864"/>
                <a:gd name="T4" fmla="*/ 615 w 904"/>
                <a:gd name="T5" fmla="*/ 73 h 864"/>
                <a:gd name="T6" fmla="*/ 615 w 904"/>
                <a:gd name="T7" fmla="*/ 0 h 864"/>
                <a:gd name="T8" fmla="*/ 283 w 904"/>
                <a:gd name="T9" fmla="*/ 0 h 864"/>
                <a:gd name="T10" fmla="*/ 283 w 904"/>
                <a:gd name="T11" fmla="*/ 73 h 864"/>
                <a:gd name="T12" fmla="*/ 159 w 904"/>
                <a:gd name="T13" fmla="*/ 73 h 864"/>
                <a:gd name="T14" fmla="*/ 159 w 904"/>
                <a:gd name="T15" fmla="*/ 0 h 864"/>
                <a:gd name="T16" fmla="*/ 0 w 904"/>
                <a:gd name="T17" fmla="*/ 0 h 864"/>
                <a:gd name="T18" fmla="*/ 0 w 904"/>
                <a:gd name="T19" fmla="*/ 111 h 864"/>
                <a:gd name="T20" fmla="*/ 0 w 904"/>
                <a:gd name="T21" fmla="*/ 864 h 864"/>
                <a:gd name="T22" fmla="*/ 560 w 904"/>
                <a:gd name="T23" fmla="*/ 864 h 864"/>
                <a:gd name="T24" fmla="*/ 904 w 904"/>
                <a:gd name="T25" fmla="*/ 545 h 864"/>
                <a:gd name="T26" fmla="*/ 904 w 904"/>
                <a:gd name="T27" fmla="*/ 111 h 864"/>
                <a:gd name="T28" fmla="*/ 904 w 904"/>
                <a:gd name="T29" fmla="*/ 0 h 864"/>
                <a:gd name="T30" fmla="*/ 739 w 904"/>
                <a:gd name="T31" fmla="*/ 0 h 864"/>
                <a:gd name="T32" fmla="*/ 836 w 904"/>
                <a:gd name="T33" fmla="*/ 528 h 864"/>
                <a:gd name="T34" fmla="*/ 548 w 904"/>
                <a:gd name="T35" fmla="*/ 528 h 864"/>
                <a:gd name="T36" fmla="*/ 548 w 904"/>
                <a:gd name="T37" fmla="*/ 808 h 864"/>
                <a:gd name="T38" fmla="*/ 70 w 904"/>
                <a:gd name="T39" fmla="*/ 808 h 864"/>
                <a:gd name="T40" fmla="*/ 70 w 904"/>
                <a:gd name="T41" fmla="*/ 167 h 864"/>
                <a:gd name="T42" fmla="*/ 836 w 904"/>
                <a:gd name="T43" fmla="*/ 167 h 864"/>
                <a:gd name="T44" fmla="*/ 836 w 904"/>
                <a:gd name="T45" fmla="*/ 52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4" h="864">
                  <a:moveTo>
                    <a:pt x="739" y="0"/>
                  </a:moveTo>
                  <a:lnTo>
                    <a:pt x="739" y="73"/>
                  </a:lnTo>
                  <a:lnTo>
                    <a:pt x="615" y="73"/>
                  </a:lnTo>
                  <a:lnTo>
                    <a:pt x="615" y="0"/>
                  </a:lnTo>
                  <a:lnTo>
                    <a:pt x="283" y="0"/>
                  </a:lnTo>
                  <a:lnTo>
                    <a:pt x="283" y="73"/>
                  </a:lnTo>
                  <a:lnTo>
                    <a:pt x="159" y="73"/>
                  </a:lnTo>
                  <a:lnTo>
                    <a:pt x="159" y="0"/>
                  </a:lnTo>
                  <a:lnTo>
                    <a:pt x="0" y="0"/>
                  </a:lnTo>
                  <a:lnTo>
                    <a:pt x="0" y="111"/>
                  </a:lnTo>
                  <a:lnTo>
                    <a:pt x="0" y="864"/>
                  </a:lnTo>
                  <a:lnTo>
                    <a:pt x="560" y="864"/>
                  </a:lnTo>
                  <a:lnTo>
                    <a:pt x="904" y="545"/>
                  </a:lnTo>
                  <a:lnTo>
                    <a:pt x="904" y="111"/>
                  </a:lnTo>
                  <a:lnTo>
                    <a:pt x="904" y="0"/>
                  </a:lnTo>
                  <a:lnTo>
                    <a:pt x="739" y="0"/>
                  </a:lnTo>
                  <a:close/>
                  <a:moveTo>
                    <a:pt x="836" y="528"/>
                  </a:moveTo>
                  <a:lnTo>
                    <a:pt x="548" y="528"/>
                  </a:lnTo>
                  <a:lnTo>
                    <a:pt x="548" y="808"/>
                  </a:lnTo>
                  <a:lnTo>
                    <a:pt x="70" y="808"/>
                  </a:lnTo>
                  <a:lnTo>
                    <a:pt x="70" y="167"/>
                  </a:lnTo>
                  <a:lnTo>
                    <a:pt x="836" y="167"/>
                  </a:lnTo>
                  <a:lnTo>
                    <a:pt x="836" y="5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0" name="Freeform 10965"/>
            <p:cNvSpPr>
              <a:spLocks/>
            </p:cNvSpPr>
            <p:nvPr/>
          </p:nvSpPr>
          <p:spPr bwMode="auto">
            <a:xfrm>
              <a:off x="1252743" y="1996518"/>
              <a:ext cx="33494" cy="60898"/>
            </a:xfrm>
            <a:custGeom>
              <a:avLst/>
              <a:gdLst>
                <a:gd name="T0" fmla="*/ 86 w 86"/>
                <a:gd name="T1" fmla="*/ 43 h 161"/>
                <a:gd name="T2" fmla="*/ 86 w 86"/>
                <a:gd name="T3" fmla="*/ 43 h 161"/>
                <a:gd name="T4" fmla="*/ 86 w 86"/>
                <a:gd name="T5" fmla="*/ 36 h 161"/>
                <a:gd name="T6" fmla="*/ 83 w 86"/>
                <a:gd name="T7" fmla="*/ 26 h 161"/>
                <a:gd name="T8" fmla="*/ 79 w 86"/>
                <a:gd name="T9" fmla="*/ 20 h 161"/>
                <a:gd name="T10" fmla="*/ 74 w 86"/>
                <a:gd name="T11" fmla="*/ 13 h 161"/>
                <a:gd name="T12" fmla="*/ 68 w 86"/>
                <a:gd name="T13" fmla="*/ 8 h 161"/>
                <a:gd name="T14" fmla="*/ 60 w 86"/>
                <a:gd name="T15" fmla="*/ 4 h 161"/>
                <a:gd name="T16" fmla="*/ 52 w 86"/>
                <a:gd name="T17" fmla="*/ 2 h 161"/>
                <a:gd name="T18" fmla="*/ 43 w 86"/>
                <a:gd name="T19" fmla="*/ 0 h 161"/>
                <a:gd name="T20" fmla="*/ 43 w 86"/>
                <a:gd name="T21" fmla="*/ 0 h 161"/>
                <a:gd name="T22" fmla="*/ 35 w 86"/>
                <a:gd name="T23" fmla="*/ 2 h 161"/>
                <a:gd name="T24" fmla="*/ 26 w 86"/>
                <a:gd name="T25" fmla="*/ 4 h 161"/>
                <a:gd name="T26" fmla="*/ 19 w 86"/>
                <a:gd name="T27" fmla="*/ 8 h 161"/>
                <a:gd name="T28" fmla="*/ 13 w 86"/>
                <a:gd name="T29" fmla="*/ 13 h 161"/>
                <a:gd name="T30" fmla="*/ 8 w 86"/>
                <a:gd name="T31" fmla="*/ 20 h 161"/>
                <a:gd name="T32" fmla="*/ 4 w 86"/>
                <a:gd name="T33" fmla="*/ 26 h 161"/>
                <a:gd name="T34" fmla="*/ 1 w 86"/>
                <a:gd name="T35" fmla="*/ 36 h 161"/>
                <a:gd name="T36" fmla="*/ 0 w 86"/>
                <a:gd name="T37" fmla="*/ 43 h 161"/>
                <a:gd name="T38" fmla="*/ 0 w 86"/>
                <a:gd name="T39" fmla="*/ 161 h 161"/>
                <a:gd name="T40" fmla="*/ 86 w 86"/>
                <a:gd name="T41" fmla="*/ 161 h 161"/>
                <a:gd name="T42" fmla="*/ 86 w 86"/>
                <a:gd name="T43" fmla="*/ 4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161">
                  <a:moveTo>
                    <a:pt x="86" y="43"/>
                  </a:moveTo>
                  <a:lnTo>
                    <a:pt x="86" y="43"/>
                  </a:lnTo>
                  <a:lnTo>
                    <a:pt x="86" y="36"/>
                  </a:lnTo>
                  <a:lnTo>
                    <a:pt x="83" y="26"/>
                  </a:lnTo>
                  <a:lnTo>
                    <a:pt x="79" y="20"/>
                  </a:lnTo>
                  <a:lnTo>
                    <a:pt x="74" y="13"/>
                  </a:lnTo>
                  <a:lnTo>
                    <a:pt x="68" y="8"/>
                  </a:lnTo>
                  <a:lnTo>
                    <a:pt x="60" y="4"/>
                  </a:lnTo>
                  <a:lnTo>
                    <a:pt x="52" y="2"/>
                  </a:lnTo>
                  <a:lnTo>
                    <a:pt x="43" y="0"/>
                  </a:lnTo>
                  <a:lnTo>
                    <a:pt x="43" y="0"/>
                  </a:lnTo>
                  <a:lnTo>
                    <a:pt x="35" y="2"/>
                  </a:lnTo>
                  <a:lnTo>
                    <a:pt x="26" y="4"/>
                  </a:lnTo>
                  <a:lnTo>
                    <a:pt x="19" y="8"/>
                  </a:lnTo>
                  <a:lnTo>
                    <a:pt x="13" y="13"/>
                  </a:lnTo>
                  <a:lnTo>
                    <a:pt x="8" y="20"/>
                  </a:lnTo>
                  <a:lnTo>
                    <a:pt x="4" y="26"/>
                  </a:lnTo>
                  <a:lnTo>
                    <a:pt x="1" y="36"/>
                  </a:lnTo>
                  <a:lnTo>
                    <a:pt x="0" y="43"/>
                  </a:lnTo>
                  <a:lnTo>
                    <a:pt x="0" y="161"/>
                  </a:lnTo>
                  <a:lnTo>
                    <a:pt x="86" y="161"/>
                  </a:lnTo>
                  <a:lnTo>
                    <a:pt x="8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1" name="Freeform 10966"/>
            <p:cNvSpPr>
              <a:spLocks/>
            </p:cNvSpPr>
            <p:nvPr/>
          </p:nvSpPr>
          <p:spPr bwMode="auto">
            <a:xfrm>
              <a:off x="1426301" y="1996518"/>
              <a:ext cx="31971" cy="60898"/>
            </a:xfrm>
            <a:custGeom>
              <a:avLst/>
              <a:gdLst>
                <a:gd name="T0" fmla="*/ 86 w 86"/>
                <a:gd name="T1" fmla="*/ 43 h 161"/>
                <a:gd name="T2" fmla="*/ 86 w 86"/>
                <a:gd name="T3" fmla="*/ 43 h 161"/>
                <a:gd name="T4" fmla="*/ 86 w 86"/>
                <a:gd name="T5" fmla="*/ 36 h 161"/>
                <a:gd name="T6" fmla="*/ 84 w 86"/>
                <a:gd name="T7" fmla="*/ 26 h 161"/>
                <a:gd name="T8" fmla="*/ 80 w 86"/>
                <a:gd name="T9" fmla="*/ 20 h 161"/>
                <a:gd name="T10" fmla="*/ 75 w 86"/>
                <a:gd name="T11" fmla="*/ 13 h 161"/>
                <a:gd name="T12" fmla="*/ 68 w 86"/>
                <a:gd name="T13" fmla="*/ 8 h 161"/>
                <a:gd name="T14" fmla="*/ 60 w 86"/>
                <a:gd name="T15" fmla="*/ 4 h 161"/>
                <a:gd name="T16" fmla="*/ 53 w 86"/>
                <a:gd name="T17" fmla="*/ 2 h 161"/>
                <a:gd name="T18" fmla="*/ 43 w 86"/>
                <a:gd name="T19" fmla="*/ 0 h 161"/>
                <a:gd name="T20" fmla="*/ 43 w 86"/>
                <a:gd name="T21" fmla="*/ 0 h 161"/>
                <a:gd name="T22" fmla="*/ 36 w 86"/>
                <a:gd name="T23" fmla="*/ 2 h 161"/>
                <a:gd name="T24" fmla="*/ 26 w 86"/>
                <a:gd name="T25" fmla="*/ 4 h 161"/>
                <a:gd name="T26" fmla="*/ 20 w 86"/>
                <a:gd name="T27" fmla="*/ 8 h 161"/>
                <a:gd name="T28" fmla="*/ 13 w 86"/>
                <a:gd name="T29" fmla="*/ 13 h 161"/>
                <a:gd name="T30" fmla="*/ 8 w 86"/>
                <a:gd name="T31" fmla="*/ 20 h 161"/>
                <a:gd name="T32" fmla="*/ 4 w 86"/>
                <a:gd name="T33" fmla="*/ 26 h 161"/>
                <a:gd name="T34" fmla="*/ 2 w 86"/>
                <a:gd name="T35" fmla="*/ 36 h 161"/>
                <a:gd name="T36" fmla="*/ 0 w 86"/>
                <a:gd name="T37" fmla="*/ 43 h 161"/>
                <a:gd name="T38" fmla="*/ 0 w 86"/>
                <a:gd name="T39" fmla="*/ 161 h 161"/>
                <a:gd name="T40" fmla="*/ 86 w 86"/>
                <a:gd name="T41" fmla="*/ 161 h 161"/>
                <a:gd name="T42" fmla="*/ 86 w 86"/>
                <a:gd name="T43" fmla="*/ 4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161">
                  <a:moveTo>
                    <a:pt x="86" y="43"/>
                  </a:moveTo>
                  <a:lnTo>
                    <a:pt x="86" y="43"/>
                  </a:lnTo>
                  <a:lnTo>
                    <a:pt x="86" y="36"/>
                  </a:lnTo>
                  <a:lnTo>
                    <a:pt x="84" y="26"/>
                  </a:lnTo>
                  <a:lnTo>
                    <a:pt x="80" y="20"/>
                  </a:lnTo>
                  <a:lnTo>
                    <a:pt x="75" y="13"/>
                  </a:lnTo>
                  <a:lnTo>
                    <a:pt x="68" y="8"/>
                  </a:lnTo>
                  <a:lnTo>
                    <a:pt x="60" y="4"/>
                  </a:lnTo>
                  <a:lnTo>
                    <a:pt x="53" y="2"/>
                  </a:lnTo>
                  <a:lnTo>
                    <a:pt x="43" y="0"/>
                  </a:lnTo>
                  <a:lnTo>
                    <a:pt x="43" y="0"/>
                  </a:lnTo>
                  <a:lnTo>
                    <a:pt x="36" y="2"/>
                  </a:lnTo>
                  <a:lnTo>
                    <a:pt x="26" y="4"/>
                  </a:lnTo>
                  <a:lnTo>
                    <a:pt x="20" y="8"/>
                  </a:lnTo>
                  <a:lnTo>
                    <a:pt x="13" y="13"/>
                  </a:lnTo>
                  <a:lnTo>
                    <a:pt x="8" y="20"/>
                  </a:lnTo>
                  <a:lnTo>
                    <a:pt x="4" y="26"/>
                  </a:lnTo>
                  <a:lnTo>
                    <a:pt x="2" y="36"/>
                  </a:lnTo>
                  <a:lnTo>
                    <a:pt x="0" y="43"/>
                  </a:lnTo>
                  <a:lnTo>
                    <a:pt x="0" y="161"/>
                  </a:lnTo>
                  <a:lnTo>
                    <a:pt x="86" y="161"/>
                  </a:lnTo>
                  <a:lnTo>
                    <a:pt x="8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2" name="Rectangle 10967"/>
            <p:cNvSpPr>
              <a:spLocks noChangeArrowheads="1"/>
            </p:cNvSpPr>
            <p:nvPr/>
          </p:nvSpPr>
          <p:spPr bwMode="auto">
            <a:xfrm>
              <a:off x="1245130" y="2138105"/>
              <a:ext cx="48718" cy="411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3" name="Rectangle 10968"/>
            <p:cNvSpPr>
              <a:spLocks noChangeArrowheads="1"/>
            </p:cNvSpPr>
            <p:nvPr/>
          </p:nvSpPr>
          <p:spPr bwMode="auto">
            <a:xfrm>
              <a:off x="1309073" y="2138105"/>
              <a:ext cx="47196" cy="411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4" name="Rectangle 10970"/>
            <p:cNvSpPr>
              <a:spLocks noChangeArrowheads="1"/>
            </p:cNvSpPr>
            <p:nvPr/>
          </p:nvSpPr>
          <p:spPr bwMode="auto">
            <a:xfrm>
              <a:off x="1371492" y="2138105"/>
              <a:ext cx="47196" cy="411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5" name="Rectangle 10971"/>
            <p:cNvSpPr>
              <a:spLocks noChangeArrowheads="1"/>
            </p:cNvSpPr>
            <p:nvPr/>
          </p:nvSpPr>
          <p:spPr bwMode="auto">
            <a:xfrm>
              <a:off x="1433913" y="2138105"/>
              <a:ext cx="48718" cy="411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6" name="Rectangle 10972"/>
            <p:cNvSpPr>
              <a:spLocks noChangeArrowheads="1"/>
            </p:cNvSpPr>
            <p:nvPr/>
          </p:nvSpPr>
          <p:spPr bwMode="auto">
            <a:xfrm>
              <a:off x="1245130" y="2211182"/>
              <a:ext cx="48718" cy="426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7" name="Rectangle 10973"/>
            <p:cNvSpPr>
              <a:spLocks noChangeArrowheads="1"/>
            </p:cNvSpPr>
            <p:nvPr/>
          </p:nvSpPr>
          <p:spPr bwMode="auto">
            <a:xfrm>
              <a:off x="1309072" y="2211182"/>
              <a:ext cx="47196" cy="426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38" name="Group 37"/>
          <p:cNvGrpSpPr/>
          <p:nvPr/>
        </p:nvGrpSpPr>
        <p:grpSpPr>
          <a:xfrm>
            <a:off x="2200290" y="3424253"/>
            <a:ext cx="516108" cy="476525"/>
            <a:chOff x="325575" y="448194"/>
            <a:chExt cx="516108" cy="476525"/>
          </a:xfrm>
          <a:solidFill>
            <a:schemeClr val="bg1"/>
          </a:solidFill>
        </p:grpSpPr>
        <p:sp>
          <p:nvSpPr>
            <p:cNvPr id="39" name="Freeform 10981"/>
            <p:cNvSpPr>
              <a:spLocks/>
            </p:cNvSpPr>
            <p:nvPr/>
          </p:nvSpPr>
          <p:spPr bwMode="auto">
            <a:xfrm>
              <a:off x="410832" y="697874"/>
              <a:ext cx="45673" cy="19792"/>
            </a:xfrm>
            <a:custGeom>
              <a:avLst/>
              <a:gdLst>
                <a:gd name="T0" fmla="*/ 10 w 123"/>
                <a:gd name="T1" fmla="*/ 30 h 51"/>
                <a:gd name="T2" fmla="*/ 112 w 123"/>
                <a:gd name="T3" fmla="*/ 30 h 51"/>
                <a:gd name="T4" fmla="*/ 112 w 123"/>
                <a:gd name="T5" fmla="*/ 51 h 51"/>
                <a:gd name="T6" fmla="*/ 123 w 123"/>
                <a:gd name="T7" fmla="*/ 51 h 51"/>
                <a:gd name="T8" fmla="*/ 123 w 123"/>
                <a:gd name="T9" fmla="*/ 23 h 51"/>
                <a:gd name="T10" fmla="*/ 123 w 123"/>
                <a:gd name="T11" fmla="*/ 0 h 51"/>
                <a:gd name="T12" fmla="*/ 0 w 123"/>
                <a:gd name="T13" fmla="*/ 0 h 51"/>
                <a:gd name="T14" fmla="*/ 0 w 123"/>
                <a:gd name="T15" fmla="*/ 23 h 51"/>
                <a:gd name="T16" fmla="*/ 0 w 123"/>
                <a:gd name="T17" fmla="*/ 30 h 51"/>
                <a:gd name="T18" fmla="*/ 0 w 123"/>
                <a:gd name="T19" fmla="*/ 51 h 51"/>
                <a:gd name="T20" fmla="*/ 10 w 123"/>
                <a:gd name="T21" fmla="*/ 51 h 51"/>
                <a:gd name="T22" fmla="*/ 10 w 123"/>
                <a:gd name="T23" fmla="*/ 3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51">
                  <a:moveTo>
                    <a:pt x="10" y="30"/>
                  </a:moveTo>
                  <a:lnTo>
                    <a:pt x="112" y="30"/>
                  </a:lnTo>
                  <a:lnTo>
                    <a:pt x="112" y="51"/>
                  </a:lnTo>
                  <a:lnTo>
                    <a:pt x="123" y="51"/>
                  </a:lnTo>
                  <a:lnTo>
                    <a:pt x="123" y="23"/>
                  </a:lnTo>
                  <a:lnTo>
                    <a:pt x="123" y="0"/>
                  </a:lnTo>
                  <a:lnTo>
                    <a:pt x="0" y="0"/>
                  </a:lnTo>
                  <a:lnTo>
                    <a:pt x="0" y="23"/>
                  </a:lnTo>
                  <a:lnTo>
                    <a:pt x="0" y="30"/>
                  </a:lnTo>
                  <a:lnTo>
                    <a:pt x="0" y="51"/>
                  </a:lnTo>
                  <a:lnTo>
                    <a:pt x="10" y="51"/>
                  </a:lnTo>
                  <a:lnTo>
                    <a:pt x="1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0982"/>
            <p:cNvSpPr>
              <a:spLocks/>
            </p:cNvSpPr>
            <p:nvPr/>
          </p:nvSpPr>
          <p:spPr bwMode="auto">
            <a:xfrm>
              <a:off x="410832" y="767907"/>
              <a:ext cx="45673" cy="19792"/>
            </a:xfrm>
            <a:custGeom>
              <a:avLst/>
              <a:gdLst>
                <a:gd name="T0" fmla="*/ 10 w 123"/>
                <a:gd name="T1" fmla="*/ 31 h 51"/>
                <a:gd name="T2" fmla="*/ 112 w 123"/>
                <a:gd name="T3" fmla="*/ 31 h 51"/>
                <a:gd name="T4" fmla="*/ 112 w 123"/>
                <a:gd name="T5" fmla="*/ 51 h 51"/>
                <a:gd name="T6" fmla="*/ 123 w 123"/>
                <a:gd name="T7" fmla="*/ 51 h 51"/>
                <a:gd name="T8" fmla="*/ 123 w 123"/>
                <a:gd name="T9" fmla="*/ 25 h 51"/>
                <a:gd name="T10" fmla="*/ 123 w 123"/>
                <a:gd name="T11" fmla="*/ 0 h 51"/>
                <a:gd name="T12" fmla="*/ 0 w 123"/>
                <a:gd name="T13" fmla="*/ 0 h 51"/>
                <a:gd name="T14" fmla="*/ 0 w 123"/>
                <a:gd name="T15" fmla="*/ 25 h 51"/>
                <a:gd name="T16" fmla="*/ 0 w 123"/>
                <a:gd name="T17" fmla="*/ 31 h 51"/>
                <a:gd name="T18" fmla="*/ 0 w 123"/>
                <a:gd name="T19" fmla="*/ 51 h 51"/>
                <a:gd name="T20" fmla="*/ 10 w 123"/>
                <a:gd name="T21" fmla="*/ 51 h 51"/>
                <a:gd name="T22" fmla="*/ 10 w 123"/>
                <a:gd name="T23"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51">
                  <a:moveTo>
                    <a:pt x="10" y="31"/>
                  </a:moveTo>
                  <a:lnTo>
                    <a:pt x="112" y="31"/>
                  </a:lnTo>
                  <a:lnTo>
                    <a:pt x="112" y="51"/>
                  </a:lnTo>
                  <a:lnTo>
                    <a:pt x="123" y="51"/>
                  </a:lnTo>
                  <a:lnTo>
                    <a:pt x="123" y="25"/>
                  </a:lnTo>
                  <a:lnTo>
                    <a:pt x="123" y="0"/>
                  </a:lnTo>
                  <a:lnTo>
                    <a:pt x="0" y="0"/>
                  </a:lnTo>
                  <a:lnTo>
                    <a:pt x="0" y="25"/>
                  </a:lnTo>
                  <a:lnTo>
                    <a:pt x="0" y="31"/>
                  </a:lnTo>
                  <a:lnTo>
                    <a:pt x="0" y="51"/>
                  </a:lnTo>
                  <a:lnTo>
                    <a:pt x="10" y="51"/>
                  </a:lnTo>
                  <a:lnTo>
                    <a:pt x="1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0983"/>
            <p:cNvSpPr>
              <a:spLocks/>
            </p:cNvSpPr>
            <p:nvPr/>
          </p:nvSpPr>
          <p:spPr bwMode="auto">
            <a:xfrm>
              <a:off x="410832" y="836417"/>
              <a:ext cx="45673" cy="19792"/>
            </a:xfrm>
            <a:custGeom>
              <a:avLst/>
              <a:gdLst>
                <a:gd name="T0" fmla="*/ 10 w 123"/>
                <a:gd name="T1" fmla="*/ 32 h 51"/>
                <a:gd name="T2" fmla="*/ 112 w 123"/>
                <a:gd name="T3" fmla="*/ 32 h 51"/>
                <a:gd name="T4" fmla="*/ 112 w 123"/>
                <a:gd name="T5" fmla="*/ 51 h 51"/>
                <a:gd name="T6" fmla="*/ 123 w 123"/>
                <a:gd name="T7" fmla="*/ 51 h 51"/>
                <a:gd name="T8" fmla="*/ 123 w 123"/>
                <a:gd name="T9" fmla="*/ 25 h 51"/>
                <a:gd name="T10" fmla="*/ 123 w 123"/>
                <a:gd name="T11" fmla="*/ 0 h 51"/>
                <a:gd name="T12" fmla="*/ 0 w 123"/>
                <a:gd name="T13" fmla="*/ 0 h 51"/>
                <a:gd name="T14" fmla="*/ 0 w 123"/>
                <a:gd name="T15" fmla="*/ 25 h 51"/>
                <a:gd name="T16" fmla="*/ 0 w 123"/>
                <a:gd name="T17" fmla="*/ 32 h 51"/>
                <a:gd name="T18" fmla="*/ 0 w 123"/>
                <a:gd name="T19" fmla="*/ 51 h 51"/>
                <a:gd name="T20" fmla="*/ 10 w 123"/>
                <a:gd name="T21" fmla="*/ 51 h 51"/>
                <a:gd name="T22" fmla="*/ 10 w 123"/>
                <a:gd name="T23"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51">
                  <a:moveTo>
                    <a:pt x="10" y="32"/>
                  </a:moveTo>
                  <a:lnTo>
                    <a:pt x="112" y="32"/>
                  </a:lnTo>
                  <a:lnTo>
                    <a:pt x="112" y="51"/>
                  </a:lnTo>
                  <a:lnTo>
                    <a:pt x="123" y="51"/>
                  </a:lnTo>
                  <a:lnTo>
                    <a:pt x="123" y="25"/>
                  </a:lnTo>
                  <a:lnTo>
                    <a:pt x="123" y="0"/>
                  </a:lnTo>
                  <a:lnTo>
                    <a:pt x="0" y="0"/>
                  </a:lnTo>
                  <a:lnTo>
                    <a:pt x="0" y="25"/>
                  </a:lnTo>
                  <a:lnTo>
                    <a:pt x="0" y="32"/>
                  </a:lnTo>
                  <a:lnTo>
                    <a:pt x="0" y="51"/>
                  </a:lnTo>
                  <a:lnTo>
                    <a:pt x="10" y="51"/>
                  </a:lnTo>
                  <a:lnTo>
                    <a:pt x="1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0984"/>
            <p:cNvSpPr>
              <a:spLocks noEditPoints="1"/>
            </p:cNvSpPr>
            <p:nvPr/>
          </p:nvSpPr>
          <p:spPr bwMode="auto">
            <a:xfrm>
              <a:off x="349934" y="641544"/>
              <a:ext cx="168991" cy="278607"/>
            </a:xfrm>
            <a:custGeom>
              <a:avLst/>
              <a:gdLst>
                <a:gd name="T0" fmla="*/ 441 w 443"/>
                <a:gd name="T1" fmla="*/ 708 h 733"/>
                <a:gd name="T2" fmla="*/ 441 w 443"/>
                <a:gd name="T3" fmla="*/ 0 h 733"/>
                <a:gd name="T4" fmla="*/ 0 w 443"/>
                <a:gd name="T5" fmla="*/ 0 h 733"/>
                <a:gd name="T6" fmla="*/ 0 w 443"/>
                <a:gd name="T7" fmla="*/ 708 h 733"/>
                <a:gd name="T8" fmla="*/ 1 w 443"/>
                <a:gd name="T9" fmla="*/ 708 h 733"/>
                <a:gd name="T10" fmla="*/ 1 w 443"/>
                <a:gd name="T11" fmla="*/ 733 h 733"/>
                <a:gd name="T12" fmla="*/ 46 w 443"/>
                <a:gd name="T13" fmla="*/ 733 h 733"/>
                <a:gd name="T14" fmla="*/ 71 w 443"/>
                <a:gd name="T15" fmla="*/ 720 h 733"/>
                <a:gd name="T16" fmla="*/ 71 w 443"/>
                <a:gd name="T17" fmla="*/ 708 h 733"/>
                <a:gd name="T18" fmla="*/ 373 w 443"/>
                <a:gd name="T19" fmla="*/ 708 h 733"/>
                <a:gd name="T20" fmla="*/ 373 w 443"/>
                <a:gd name="T21" fmla="*/ 720 h 733"/>
                <a:gd name="T22" fmla="*/ 400 w 443"/>
                <a:gd name="T23" fmla="*/ 733 h 733"/>
                <a:gd name="T24" fmla="*/ 443 w 443"/>
                <a:gd name="T25" fmla="*/ 733 h 733"/>
                <a:gd name="T26" fmla="*/ 443 w 443"/>
                <a:gd name="T27" fmla="*/ 708 h 733"/>
                <a:gd name="T28" fmla="*/ 441 w 443"/>
                <a:gd name="T29" fmla="*/ 708 h 733"/>
                <a:gd name="T30" fmla="*/ 46 w 443"/>
                <a:gd name="T31" fmla="*/ 101 h 733"/>
                <a:gd name="T32" fmla="*/ 393 w 443"/>
                <a:gd name="T33" fmla="*/ 101 h 733"/>
                <a:gd name="T34" fmla="*/ 393 w 443"/>
                <a:gd name="T35" fmla="*/ 244 h 733"/>
                <a:gd name="T36" fmla="*/ 46 w 443"/>
                <a:gd name="T37" fmla="*/ 244 h 733"/>
                <a:gd name="T38" fmla="*/ 46 w 443"/>
                <a:gd name="T39" fmla="*/ 101 h 733"/>
                <a:gd name="T40" fmla="*/ 46 w 443"/>
                <a:gd name="T41" fmla="*/ 286 h 733"/>
                <a:gd name="T42" fmla="*/ 393 w 443"/>
                <a:gd name="T43" fmla="*/ 286 h 733"/>
                <a:gd name="T44" fmla="*/ 393 w 443"/>
                <a:gd name="T45" fmla="*/ 430 h 733"/>
                <a:gd name="T46" fmla="*/ 46 w 443"/>
                <a:gd name="T47" fmla="*/ 430 h 733"/>
                <a:gd name="T48" fmla="*/ 46 w 443"/>
                <a:gd name="T49" fmla="*/ 286 h 733"/>
                <a:gd name="T50" fmla="*/ 46 w 443"/>
                <a:gd name="T51" fmla="*/ 611 h 733"/>
                <a:gd name="T52" fmla="*/ 46 w 443"/>
                <a:gd name="T53" fmla="*/ 468 h 733"/>
                <a:gd name="T54" fmla="*/ 393 w 443"/>
                <a:gd name="T55" fmla="*/ 468 h 733"/>
                <a:gd name="T56" fmla="*/ 393 w 443"/>
                <a:gd name="T57" fmla="*/ 611 h 733"/>
                <a:gd name="T58" fmla="*/ 46 w 443"/>
                <a:gd name="T59" fmla="*/ 611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3" h="733">
                  <a:moveTo>
                    <a:pt x="441" y="708"/>
                  </a:moveTo>
                  <a:lnTo>
                    <a:pt x="441" y="0"/>
                  </a:lnTo>
                  <a:lnTo>
                    <a:pt x="0" y="0"/>
                  </a:lnTo>
                  <a:lnTo>
                    <a:pt x="0" y="708"/>
                  </a:lnTo>
                  <a:lnTo>
                    <a:pt x="1" y="708"/>
                  </a:lnTo>
                  <a:lnTo>
                    <a:pt x="1" y="733"/>
                  </a:lnTo>
                  <a:lnTo>
                    <a:pt x="46" y="733"/>
                  </a:lnTo>
                  <a:lnTo>
                    <a:pt x="71" y="720"/>
                  </a:lnTo>
                  <a:lnTo>
                    <a:pt x="71" y="708"/>
                  </a:lnTo>
                  <a:lnTo>
                    <a:pt x="373" y="708"/>
                  </a:lnTo>
                  <a:lnTo>
                    <a:pt x="373" y="720"/>
                  </a:lnTo>
                  <a:lnTo>
                    <a:pt x="400" y="733"/>
                  </a:lnTo>
                  <a:lnTo>
                    <a:pt x="443" y="733"/>
                  </a:lnTo>
                  <a:lnTo>
                    <a:pt x="443" y="708"/>
                  </a:lnTo>
                  <a:lnTo>
                    <a:pt x="441" y="708"/>
                  </a:lnTo>
                  <a:close/>
                  <a:moveTo>
                    <a:pt x="46" y="101"/>
                  </a:moveTo>
                  <a:lnTo>
                    <a:pt x="393" y="101"/>
                  </a:lnTo>
                  <a:lnTo>
                    <a:pt x="393" y="244"/>
                  </a:lnTo>
                  <a:lnTo>
                    <a:pt x="46" y="244"/>
                  </a:lnTo>
                  <a:lnTo>
                    <a:pt x="46" y="101"/>
                  </a:lnTo>
                  <a:close/>
                  <a:moveTo>
                    <a:pt x="46" y="286"/>
                  </a:moveTo>
                  <a:lnTo>
                    <a:pt x="393" y="286"/>
                  </a:lnTo>
                  <a:lnTo>
                    <a:pt x="393" y="430"/>
                  </a:lnTo>
                  <a:lnTo>
                    <a:pt x="46" y="430"/>
                  </a:lnTo>
                  <a:lnTo>
                    <a:pt x="46" y="286"/>
                  </a:lnTo>
                  <a:close/>
                  <a:moveTo>
                    <a:pt x="46" y="611"/>
                  </a:moveTo>
                  <a:lnTo>
                    <a:pt x="46" y="468"/>
                  </a:lnTo>
                  <a:lnTo>
                    <a:pt x="393" y="468"/>
                  </a:lnTo>
                  <a:lnTo>
                    <a:pt x="393" y="611"/>
                  </a:lnTo>
                  <a:lnTo>
                    <a:pt x="46" y="6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10985"/>
            <p:cNvSpPr>
              <a:spLocks noChangeArrowheads="1"/>
            </p:cNvSpPr>
            <p:nvPr/>
          </p:nvSpPr>
          <p:spPr bwMode="auto">
            <a:xfrm>
              <a:off x="433668" y="580646"/>
              <a:ext cx="82212" cy="152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0986"/>
            <p:cNvSpPr>
              <a:spLocks/>
            </p:cNvSpPr>
            <p:nvPr/>
          </p:nvSpPr>
          <p:spPr bwMode="auto">
            <a:xfrm>
              <a:off x="325575" y="605006"/>
              <a:ext cx="516108" cy="319713"/>
            </a:xfrm>
            <a:custGeom>
              <a:avLst/>
              <a:gdLst>
                <a:gd name="T0" fmla="*/ 0 w 1354"/>
                <a:gd name="T1" fmla="*/ 0 h 840"/>
                <a:gd name="T2" fmla="*/ 0 w 1354"/>
                <a:gd name="T3" fmla="*/ 35 h 840"/>
                <a:gd name="T4" fmla="*/ 0 w 1354"/>
                <a:gd name="T5" fmla="*/ 52 h 840"/>
                <a:gd name="T6" fmla="*/ 0 w 1354"/>
                <a:gd name="T7" fmla="*/ 59 h 840"/>
                <a:gd name="T8" fmla="*/ 99 w 1354"/>
                <a:gd name="T9" fmla="*/ 68 h 840"/>
                <a:gd name="T10" fmla="*/ 1182 w 1354"/>
                <a:gd name="T11" fmla="*/ 68 h 840"/>
                <a:gd name="T12" fmla="*/ 1182 w 1354"/>
                <a:gd name="T13" fmla="*/ 840 h 840"/>
                <a:gd name="T14" fmla="*/ 1243 w 1354"/>
                <a:gd name="T15" fmla="*/ 840 h 840"/>
                <a:gd name="T16" fmla="*/ 1243 w 1354"/>
                <a:gd name="T17" fmla="*/ 68 h 840"/>
                <a:gd name="T18" fmla="*/ 1252 w 1354"/>
                <a:gd name="T19" fmla="*/ 68 h 840"/>
                <a:gd name="T20" fmla="*/ 1354 w 1354"/>
                <a:gd name="T21" fmla="*/ 57 h 840"/>
                <a:gd name="T22" fmla="*/ 1354 w 1354"/>
                <a:gd name="T23" fmla="*/ 52 h 840"/>
                <a:gd name="T24" fmla="*/ 1354 w 1354"/>
                <a:gd name="T25" fmla="*/ 35 h 840"/>
                <a:gd name="T26" fmla="*/ 1354 w 1354"/>
                <a:gd name="T27" fmla="*/ 0 h 840"/>
                <a:gd name="T28" fmla="*/ 0 w 1354"/>
                <a:gd name="T29" fmla="*/ 0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4" h="840">
                  <a:moveTo>
                    <a:pt x="0" y="0"/>
                  </a:moveTo>
                  <a:lnTo>
                    <a:pt x="0" y="35"/>
                  </a:lnTo>
                  <a:lnTo>
                    <a:pt x="0" y="52"/>
                  </a:lnTo>
                  <a:lnTo>
                    <a:pt x="0" y="59"/>
                  </a:lnTo>
                  <a:lnTo>
                    <a:pt x="99" y="68"/>
                  </a:lnTo>
                  <a:lnTo>
                    <a:pt x="1182" y="68"/>
                  </a:lnTo>
                  <a:lnTo>
                    <a:pt x="1182" y="840"/>
                  </a:lnTo>
                  <a:lnTo>
                    <a:pt x="1243" y="840"/>
                  </a:lnTo>
                  <a:lnTo>
                    <a:pt x="1243" y="68"/>
                  </a:lnTo>
                  <a:lnTo>
                    <a:pt x="1252" y="68"/>
                  </a:lnTo>
                  <a:lnTo>
                    <a:pt x="1354" y="57"/>
                  </a:lnTo>
                  <a:lnTo>
                    <a:pt x="1354" y="52"/>
                  </a:lnTo>
                  <a:lnTo>
                    <a:pt x="1354" y="35"/>
                  </a:lnTo>
                  <a:lnTo>
                    <a:pt x="135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0987"/>
            <p:cNvSpPr>
              <a:spLocks/>
            </p:cNvSpPr>
            <p:nvPr/>
          </p:nvSpPr>
          <p:spPr bwMode="auto">
            <a:xfrm>
              <a:off x="508268" y="461896"/>
              <a:ext cx="117228" cy="27404"/>
            </a:xfrm>
            <a:custGeom>
              <a:avLst/>
              <a:gdLst>
                <a:gd name="T0" fmla="*/ 251 w 307"/>
                <a:gd name="T1" fmla="*/ 0 h 72"/>
                <a:gd name="T2" fmla="*/ 70 w 307"/>
                <a:gd name="T3" fmla="*/ 0 h 72"/>
                <a:gd name="T4" fmla="*/ 0 w 307"/>
                <a:gd name="T5" fmla="*/ 72 h 72"/>
                <a:gd name="T6" fmla="*/ 307 w 307"/>
                <a:gd name="T7" fmla="*/ 72 h 72"/>
                <a:gd name="T8" fmla="*/ 251 w 307"/>
                <a:gd name="T9" fmla="*/ 0 h 72"/>
              </a:gdLst>
              <a:ahLst/>
              <a:cxnLst>
                <a:cxn ang="0">
                  <a:pos x="T0" y="T1"/>
                </a:cxn>
                <a:cxn ang="0">
                  <a:pos x="T2" y="T3"/>
                </a:cxn>
                <a:cxn ang="0">
                  <a:pos x="T4" y="T5"/>
                </a:cxn>
                <a:cxn ang="0">
                  <a:pos x="T6" y="T7"/>
                </a:cxn>
                <a:cxn ang="0">
                  <a:pos x="T8" y="T9"/>
                </a:cxn>
              </a:cxnLst>
              <a:rect l="0" t="0" r="r" b="b"/>
              <a:pathLst>
                <a:path w="307" h="72">
                  <a:moveTo>
                    <a:pt x="251" y="0"/>
                  </a:moveTo>
                  <a:lnTo>
                    <a:pt x="70" y="0"/>
                  </a:lnTo>
                  <a:lnTo>
                    <a:pt x="0" y="72"/>
                  </a:lnTo>
                  <a:lnTo>
                    <a:pt x="307" y="72"/>
                  </a:lnTo>
                  <a:lnTo>
                    <a:pt x="2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0988"/>
            <p:cNvSpPr>
              <a:spLocks/>
            </p:cNvSpPr>
            <p:nvPr/>
          </p:nvSpPr>
          <p:spPr bwMode="auto">
            <a:xfrm>
              <a:off x="451938" y="448194"/>
              <a:ext cx="153767" cy="132452"/>
            </a:xfrm>
            <a:custGeom>
              <a:avLst/>
              <a:gdLst>
                <a:gd name="T0" fmla="*/ 204 w 402"/>
                <a:gd name="T1" fmla="*/ 25 h 345"/>
                <a:gd name="T2" fmla="*/ 402 w 402"/>
                <a:gd name="T3" fmla="*/ 25 h 345"/>
                <a:gd name="T4" fmla="*/ 402 w 402"/>
                <a:gd name="T5" fmla="*/ 0 h 345"/>
                <a:gd name="T6" fmla="*/ 191 w 402"/>
                <a:gd name="T7" fmla="*/ 0 h 345"/>
                <a:gd name="T8" fmla="*/ 191 w 402"/>
                <a:gd name="T9" fmla="*/ 2 h 345"/>
                <a:gd name="T10" fmla="*/ 38 w 402"/>
                <a:gd name="T11" fmla="*/ 153 h 345"/>
                <a:gd name="T12" fmla="*/ 0 w 402"/>
                <a:gd name="T13" fmla="*/ 153 h 345"/>
                <a:gd name="T14" fmla="*/ 0 w 402"/>
                <a:gd name="T15" fmla="*/ 182 h 345"/>
                <a:gd name="T16" fmla="*/ 0 w 402"/>
                <a:gd name="T17" fmla="*/ 267 h 345"/>
                <a:gd name="T18" fmla="*/ 0 w 402"/>
                <a:gd name="T19" fmla="*/ 345 h 345"/>
                <a:gd name="T20" fmla="*/ 18 w 402"/>
                <a:gd name="T21" fmla="*/ 345 h 345"/>
                <a:gd name="T22" fmla="*/ 18 w 402"/>
                <a:gd name="T23" fmla="*/ 267 h 345"/>
                <a:gd name="T24" fmla="*/ 59 w 402"/>
                <a:gd name="T25" fmla="*/ 267 h 345"/>
                <a:gd name="T26" fmla="*/ 59 w 402"/>
                <a:gd name="T27" fmla="*/ 345 h 345"/>
                <a:gd name="T28" fmla="*/ 77 w 402"/>
                <a:gd name="T29" fmla="*/ 345 h 345"/>
                <a:gd name="T30" fmla="*/ 77 w 402"/>
                <a:gd name="T31" fmla="*/ 153 h 345"/>
                <a:gd name="T32" fmla="*/ 77 w 402"/>
                <a:gd name="T33" fmla="*/ 153 h 345"/>
                <a:gd name="T34" fmla="*/ 204 w 402"/>
                <a:gd name="T35" fmla="*/ 25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2" h="345">
                  <a:moveTo>
                    <a:pt x="204" y="25"/>
                  </a:moveTo>
                  <a:lnTo>
                    <a:pt x="402" y="25"/>
                  </a:lnTo>
                  <a:lnTo>
                    <a:pt x="402" y="0"/>
                  </a:lnTo>
                  <a:lnTo>
                    <a:pt x="191" y="0"/>
                  </a:lnTo>
                  <a:lnTo>
                    <a:pt x="191" y="2"/>
                  </a:lnTo>
                  <a:lnTo>
                    <a:pt x="38" y="153"/>
                  </a:lnTo>
                  <a:lnTo>
                    <a:pt x="0" y="153"/>
                  </a:lnTo>
                  <a:lnTo>
                    <a:pt x="0" y="182"/>
                  </a:lnTo>
                  <a:lnTo>
                    <a:pt x="0" y="267"/>
                  </a:lnTo>
                  <a:lnTo>
                    <a:pt x="0" y="345"/>
                  </a:lnTo>
                  <a:lnTo>
                    <a:pt x="18" y="345"/>
                  </a:lnTo>
                  <a:lnTo>
                    <a:pt x="18" y="267"/>
                  </a:lnTo>
                  <a:lnTo>
                    <a:pt x="59" y="267"/>
                  </a:lnTo>
                  <a:lnTo>
                    <a:pt x="59" y="345"/>
                  </a:lnTo>
                  <a:lnTo>
                    <a:pt x="77" y="345"/>
                  </a:lnTo>
                  <a:lnTo>
                    <a:pt x="77" y="153"/>
                  </a:lnTo>
                  <a:lnTo>
                    <a:pt x="77" y="153"/>
                  </a:lnTo>
                  <a:lnTo>
                    <a:pt x="20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80382991"/>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Placeholder 24"/>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t="33618" b="33618"/>
          <a:stretch>
            <a:fillRect/>
          </a:stretch>
        </p:blipFill>
        <p:spPr/>
      </p:pic>
      <p:sp>
        <p:nvSpPr>
          <p:cNvPr id="2" name="Rectangle 1"/>
          <p:cNvSpPr/>
          <p:nvPr/>
        </p:nvSpPr>
        <p:spPr>
          <a:xfrm>
            <a:off x="2023" y="6664283"/>
            <a:ext cx="12189983" cy="206419"/>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
          <p:cNvSpPr/>
          <p:nvPr/>
        </p:nvSpPr>
        <p:spPr>
          <a:xfrm>
            <a:off x="5056966" y="6530678"/>
            <a:ext cx="2078068" cy="222924"/>
          </a:xfrm>
          <a:prstGeom prst="roundRect">
            <a:avLst>
              <a:gd name="adj" fmla="val 50000"/>
            </a:avLst>
          </a:prstGeom>
          <a:solidFill>
            <a:srgbClr val="018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effectLst>
                <a:outerShdw blurRad="63500" sx="102000" sy="102000" algn="ctr" rotWithShape="0">
                  <a:prstClr val="black">
                    <a:alpha val="40000"/>
                  </a:prstClr>
                </a:outerShdw>
              </a:effectLst>
              <a:latin typeface="+mj-lt"/>
            </a:endParaRPr>
          </a:p>
        </p:txBody>
      </p:sp>
      <p:sp>
        <p:nvSpPr>
          <p:cNvPr id="4" name="Date Placeholder 1"/>
          <p:cNvSpPr txBox="1">
            <a:spLocks/>
          </p:cNvSpPr>
          <p:nvPr>
            <p:custDataLst>
              <p:tags r:id="rId1"/>
            </p:custDataLst>
          </p:nvPr>
        </p:nvSpPr>
        <p:spPr>
          <a:xfrm>
            <a:off x="5006809" y="6498189"/>
            <a:ext cx="1530941"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Segoe UI" panose="020B0502040204020203" pitchFamily="34" charset="0"/>
                <a:ea typeface="Open Sans Light" panose="020B0306030504020204" pitchFamily="34" charset="0"/>
                <a:cs typeface="Segoe UI" panose="020B0502040204020203" pitchFamily="34" charset="0"/>
              </a:rPr>
              <a:t>www.yourcompanyname.com</a:t>
            </a:r>
          </a:p>
        </p:txBody>
      </p:sp>
      <p:cxnSp>
        <p:nvCxnSpPr>
          <p:cNvPr id="5" name="Straight Connector 4"/>
          <p:cNvCxnSpPr/>
          <p:nvPr/>
        </p:nvCxnSpPr>
        <p:spPr>
          <a:xfrm>
            <a:off x="6512721" y="6567488"/>
            <a:ext cx="0" cy="154781"/>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6665393" y="6505535"/>
            <a:ext cx="335348" cy="261610"/>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06</a:t>
            </a:r>
          </a:p>
        </p:txBody>
      </p:sp>
      <p:sp>
        <p:nvSpPr>
          <p:cNvPr id="7" name="Freeform: Shape 4">
            <a:extLst>
              <a:ext uri="{FF2B5EF4-FFF2-40B4-BE49-F238E27FC236}">
                <a16:creationId xmlns:a16="http://schemas.microsoft.com/office/drawing/2014/main" id="{BE46D0D1-A5D1-4F14-A37D-3E6DC02246DA}"/>
              </a:ext>
            </a:extLst>
          </p:cNvPr>
          <p:cNvSpPr/>
          <p:nvPr/>
        </p:nvSpPr>
        <p:spPr>
          <a:xfrm flipH="1">
            <a:off x="5230580" y="624934"/>
            <a:ext cx="6594166" cy="5610360"/>
          </a:xfrm>
          <a:custGeom>
            <a:avLst/>
            <a:gdLst>
              <a:gd name="connsiteX0" fmla="*/ 0 w 15953520"/>
              <a:gd name="connsiteY0" fmla="*/ 0 h 12344400"/>
              <a:gd name="connsiteX1" fmla="*/ 4618892 w 15953520"/>
              <a:gd name="connsiteY1" fmla="*/ 0 h 12344400"/>
              <a:gd name="connsiteX2" fmla="*/ 6551612 w 15953520"/>
              <a:gd name="connsiteY2" fmla="*/ 0 h 12344400"/>
              <a:gd name="connsiteX3" fmla="*/ 6749720 w 15953520"/>
              <a:gd name="connsiteY3" fmla="*/ 0 h 12344400"/>
              <a:gd name="connsiteX4" fmla="*/ 7637808 w 15953520"/>
              <a:gd name="connsiteY4" fmla="*/ 0 h 12344400"/>
              <a:gd name="connsiteX5" fmla="*/ 9435695 w 15953520"/>
              <a:gd name="connsiteY5" fmla="*/ 0 h 12344400"/>
              <a:gd name="connsiteX6" fmla="*/ 10501110 w 15953520"/>
              <a:gd name="connsiteY6" fmla="*/ 0 h 12344400"/>
              <a:gd name="connsiteX7" fmla="*/ 12541848 w 15953520"/>
              <a:gd name="connsiteY7" fmla="*/ 0 h 12344400"/>
              <a:gd name="connsiteX8" fmla="*/ 15953520 w 15953520"/>
              <a:gd name="connsiteY8" fmla="*/ 5105398 h 12344400"/>
              <a:gd name="connsiteX9" fmla="*/ 11116072 w 15953520"/>
              <a:gd name="connsiteY9" fmla="*/ 12344400 h 12344400"/>
              <a:gd name="connsiteX10" fmla="*/ 10501110 w 15953520"/>
              <a:gd name="connsiteY10" fmla="*/ 12344400 h 12344400"/>
              <a:gd name="connsiteX11" fmla="*/ 9435695 w 15953520"/>
              <a:gd name="connsiteY11" fmla="*/ 12344400 h 12344400"/>
              <a:gd name="connsiteX12" fmla="*/ 9063586 w 15953520"/>
              <a:gd name="connsiteY12" fmla="*/ 12344400 h 12344400"/>
              <a:gd name="connsiteX13" fmla="*/ 6749720 w 15953520"/>
              <a:gd name="connsiteY13" fmla="*/ 12344400 h 12344400"/>
              <a:gd name="connsiteX14" fmla="*/ 6551612 w 15953520"/>
              <a:gd name="connsiteY14" fmla="*/ 12344400 h 12344400"/>
              <a:gd name="connsiteX15" fmla="*/ 4618892 w 15953520"/>
              <a:gd name="connsiteY15" fmla="*/ 12344400 h 12344400"/>
              <a:gd name="connsiteX16" fmla="*/ 0 w 15953520"/>
              <a:gd name="connsiteY16" fmla="*/ 12344400 h 123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953520" h="12344400">
                <a:moveTo>
                  <a:pt x="0" y="0"/>
                </a:moveTo>
                <a:lnTo>
                  <a:pt x="4618892" y="0"/>
                </a:lnTo>
                <a:lnTo>
                  <a:pt x="6551612" y="0"/>
                </a:lnTo>
                <a:lnTo>
                  <a:pt x="6749720" y="0"/>
                </a:lnTo>
                <a:lnTo>
                  <a:pt x="7637808" y="0"/>
                </a:lnTo>
                <a:lnTo>
                  <a:pt x="9435695" y="0"/>
                </a:lnTo>
                <a:lnTo>
                  <a:pt x="10501110" y="0"/>
                </a:lnTo>
                <a:lnTo>
                  <a:pt x="12541848" y="0"/>
                </a:lnTo>
                <a:lnTo>
                  <a:pt x="15953520" y="5105398"/>
                </a:lnTo>
                <a:lnTo>
                  <a:pt x="11116072" y="12344400"/>
                </a:lnTo>
                <a:lnTo>
                  <a:pt x="10501110" y="12344400"/>
                </a:lnTo>
                <a:lnTo>
                  <a:pt x="9435695" y="12344400"/>
                </a:lnTo>
                <a:lnTo>
                  <a:pt x="9063586" y="12344400"/>
                </a:lnTo>
                <a:lnTo>
                  <a:pt x="6749720" y="12344400"/>
                </a:lnTo>
                <a:lnTo>
                  <a:pt x="6551612" y="12344400"/>
                </a:lnTo>
                <a:lnTo>
                  <a:pt x="4618892" y="12344400"/>
                </a:lnTo>
                <a:lnTo>
                  <a:pt x="0" y="12344400"/>
                </a:lnTo>
                <a:close/>
              </a:path>
            </a:pathLst>
          </a:cu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8" name="Freeform: Shape 11">
            <a:extLst>
              <a:ext uri="{FF2B5EF4-FFF2-40B4-BE49-F238E27FC236}">
                <a16:creationId xmlns:a16="http://schemas.microsoft.com/office/drawing/2014/main" id="{2181C612-8963-496B-86A5-3E676DFB4887}"/>
              </a:ext>
            </a:extLst>
          </p:cNvPr>
          <p:cNvSpPr/>
          <p:nvPr/>
        </p:nvSpPr>
        <p:spPr>
          <a:xfrm flipH="1">
            <a:off x="3834510" y="624934"/>
            <a:ext cx="4679875" cy="5610360"/>
          </a:xfrm>
          <a:custGeom>
            <a:avLst/>
            <a:gdLst>
              <a:gd name="connsiteX0" fmla="*/ 7209041 w 9360968"/>
              <a:gd name="connsiteY0" fmla="*/ 8325651 h 12344400"/>
              <a:gd name="connsiteX1" fmla="*/ 2685521 w 9360968"/>
              <a:gd name="connsiteY1" fmla="*/ 8325651 h 12344400"/>
              <a:gd name="connsiteX2" fmla="*/ 0 w 9360968"/>
              <a:gd name="connsiteY2" fmla="*/ 12344400 h 12344400"/>
              <a:gd name="connsiteX3" fmla="*/ 157168 w 9360968"/>
              <a:gd name="connsiteY3" fmla="*/ 12344400 h 12344400"/>
              <a:gd name="connsiteX4" fmla="*/ 2471032 w 9360968"/>
              <a:gd name="connsiteY4" fmla="*/ 12344400 h 12344400"/>
              <a:gd name="connsiteX5" fmla="*/ 2843142 w 9360968"/>
              <a:gd name="connsiteY5" fmla="*/ 12344400 h 12344400"/>
              <a:gd name="connsiteX6" fmla="*/ 3908556 w 9360968"/>
              <a:gd name="connsiteY6" fmla="*/ 12344400 h 12344400"/>
              <a:gd name="connsiteX7" fmla="*/ 4523520 w 9360968"/>
              <a:gd name="connsiteY7" fmla="*/ 12344400 h 12344400"/>
              <a:gd name="connsiteX8" fmla="*/ 8762145 w 9360968"/>
              <a:gd name="connsiteY8" fmla="*/ 4209289 h 12344400"/>
              <a:gd name="connsiteX9" fmla="*/ 4238625 w 9360968"/>
              <a:gd name="connsiteY9" fmla="*/ 4209289 h 12344400"/>
              <a:gd name="connsiteX10" fmla="*/ 4837448 w 9360968"/>
              <a:gd name="connsiteY10" fmla="*/ 5105398 h 12344400"/>
              <a:gd name="connsiteX11" fmla="*/ 2840268 w 9360968"/>
              <a:gd name="connsiteY11" fmla="*/ 8094079 h 12344400"/>
              <a:gd name="connsiteX12" fmla="*/ 7363788 w 9360968"/>
              <a:gd name="connsiteY12" fmla="*/ 8094079 h 12344400"/>
              <a:gd name="connsiteX13" fmla="*/ 9360968 w 9360968"/>
              <a:gd name="connsiteY13" fmla="*/ 5105398 h 12344400"/>
              <a:gd name="connsiteX14" fmla="*/ 5949296 w 9360968"/>
              <a:gd name="connsiteY14" fmla="*/ 0 h 12344400"/>
              <a:gd name="connsiteX15" fmla="*/ 3908556 w 9360968"/>
              <a:gd name="connsiteY15" fmla="*/ 0 h 12344400"/>
              <a:gd name="connsiteX16" fmla="*/ 2843142 w 9360968"/>
              <a:gd name="connsiteY16" fmla="*/ 0 h 12344400"/>
              <a:gd name="connsiteX17" fmla="*/ 1425776 w 9360968"/>
              <a:gd name="connsiteY17" fmla="*/ 0 h 12344400"/>
              <a:gd name="connsiteX18" fmla="*/ 4083877 w 9360968"/>
              <a:gd name="connsiteY18" fmla="*/ 3977717 h 12344400"/>
              <a:gd name="connsiteX19" fmla="*/ 8607397 w 9360968"/>
              <a:gd name="connsiteY19" fmla="*/ 3977717 h 123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60968" h="12344400">
                <a:moveTo>
                  <a:pt x="7209041" y="8325651"/>
                </a:moveTo>
                <a:lnTo>
                  <a:pt x="2685521" y="8325651"/>
                </a:lnTo>
                <a:lnTo>
                  <a:pt x="0" y="12344400"/>
                </a:lnTo>
                <a:lnTo>
                  <a:pt x="157168" y="12344400"/>
                </a:lnTo>
                <a:lnTo>
                  <a:pt x="2471032" y="12344400"/>
                </a:lnTo>
                <a:lnTo>
                  <a:pt x="2843142" y="12344400"/>
                </a:lnTo>
                <a:lnTo>
                  <a:pt x="3908556" y="12344400"/>
                </a:lnTo>
                <a:lnTo>
                  <a:pt x="4523520" y="12344400"/>
                </a:lnTo>
                <a:close/>
                <a:moveTo>
                  <a:pt x="8762145" y="4209289"/>
                </a:moveTo>
                <a:lnTo>
                  <a:pt x="4238625" y="4209289"/>
                </a:lnTo>
                <a:lnTo>
                  <a:pt x="4837448" y="5105398"/>
                </a:lnTo>
                <a:lnTo>
                  <a:pt x="2840268" y="8094079"/>
                </a:lnTo>
                <a:lnTo>
                  <a:pt x="7363788" y="8094079"/>
                </a:lnTo>
                <a:lnTo>
                  <a:pt x="9360968" y="5105398"/>
                </a:lnTo>
                <a:close/>
                <a:moveTo>
                  <a:pt x="5949296" y="0"/>
                </a:moveTo>
                <a:lnTo>
                  <a:pt x="3908556" y="0"/>
                </a:lnTo>
                <a:lnTo>
                  <a:pt x="2843142" y="0"/>
                </a:lnTo>
                <a:lnTo>
                  <a:pt x="1425776" y="0"/>
                </a:lnTo>
                <a:lnTo>
                  <a:pt x="4083877" y="3977717"/>
                </a:lnTo>
                <a:lnTo>
                  <a:pt x="8607397" y="3977717"/>
                </a:lnTo>
                <a:close/>
              </a:path>
            </a:pathLst>
          </a:custGeom>
          <a:solidFill>
            <a:schemeClr val="bg1"/>
          </a:solidFill>
          <a:ln>
            <a:noFill/>
          </a:ln>
          <a:effectLst>
            <a:outerShdw blurRad="1270000" dist="317500" algn="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9" name="Title 11"/>
          <p:cNvSpPr txBox="1">
            <a:spLocks/>
          </p:cNvSpPr>
          <p:nvPr/>
        </p:nvSpPr>
        <p:spPr>
          <a:xfrm>
            <a:off x="8154365" y="789617"/>
            <a:ext cx="3441450"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en-US" sz="3600" b="1" spc="-150" dirty="0">
                <a:solidFill>
                  <a:srgbClr val="01678C"/>
                </a:solidFill>
                <a:latin typeface="Montserrat" panose="00000500000000000000" pitchFamily="2" charset="0"/>
                <a:ea typeface="Roboto" panose="02000000000000000000" pitchFamily="2" charset="0"/>
                <a:cs typeface="Times New Roman" panose="02020603050405020304" pitchFamily="18" charset="0"/>
              </a:rPr>
              <a:t>What</a:t>
            </a:r>
            <a:r>
              <a:rPr lang="en-US" sz="3600" b="1" spc="-150" dirty="0">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rPr>
              <a:t> </a:t>
            </a:r>
            <a:r>
              <a:rPr lang="en-US" sz="3600" spc="-150" dirty="0">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rPr>
              <a:t>We Do</a:t>
            </a:r>
          </a:p>
        </p:txBody>
      </p:sp>
      <p:sp>
        <p:nvSpPr>
          <p:cNvPr id="10" name="Title 11"/>
          <p:cNvSpPr txBox="1">
            <a:spLocks/>
          </p:cNvSpPr>
          <p:nvPr/>
        </p:nvSpPr>
        <p:spPr>
          <a:xfrm>
            <a:off x="8160654" y="1421321"/>
            <a:ext cx="3435161" cy="192764"/>
          </a:xfrm>
          <a:prstGeom prst="rect">
            <a:avLst/>
          </a:prstGeom>
        </p:spPr>
        <p:txBody>
          <a:bodyPr vert="horz"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en-US" sz="1100" dirty="0">
                <a:solidFill>
                  <a:schemeClr val="tx1">
                    <a:lumMod val="85000"/>
                    <a:lumOff val="15000"/>
                  </a:schemeClr>
                </a:solidFill>
                <a:ea typeface="Roboto" panose="02000000000000000000" pitchFamily="2" charset="0"/>
                <a:cs typeface="Open Sans Light" panose="020B0306030504020204" pitchFamily="34" charset="0"/>
              </a:rPr>
              <a:t>Insert Your Creative Idea </a:t>
            </a:r>
          </a:p>
        </p:txBody>
      </p:sp>
      <p:sp>
        <p:nvSpPr>
          <p:cNvPr id="11" name="TextBox 10"/>
          <p:cNvSpPr txBox="1"/>
          <p:nvPr/>
        </p:nvSpPr>
        <p:spPr>
          <a:xfrm>
            <a:off x="6054004" y="691533"/>
            <a:ext cx="997389" cy="590803"/>
          </a:xfrm>
          <a:prstGeom prst="rect">
            <a:avLst/>
          </a:prstGeom>
        </p:spPr>
        <p:txBody>
          <a:bodyPr vert="horz" wrap="square" lIns="91416" tIns="45708" rIns="91416" bIns="45708" rtlCol="0" anchor="ctr">
            <a:noAutofit/>
          </a:bodyPr>
          <a:lstStyle>
            <a:defPPr>
              <a:defRPr lang="en-US"/>
            </a:defPPr>
            <a:lvl1pPr algn="r">
              <a:lnSpc>
                <a:spcPct val="90000"/>
              </a:lnSpc>
              <a:spcBef>
                <a:spcPct val="0"/>
              </a:spcBef>
              <a:buNone/>
              <a:defRPr sz="3600" b="1" spc="-150">
                <a:solidFill>
                  <a:schemeClr val="accent1"/>
                </a:solidFill>
                <a:latin typeface="Montserrat" panose="00000500000000000000" pitchFamily="2" charset="0"/>
                <a:ea typeface="Roboto" panose="02000000000000000000" pitchFamily="2" charset="0"/>
                <a:cs typeface="Times New Roman" panose="02020603050405020304" pitchFamily="18" charset="0"/>
              </a:defRPr>
            </a:lvl1pPr>
          </a:lstStyle>
          <a:p>
            <a:r>
              <a:rPr lang="en-US" sz="2800" dirty="0">
                <a:solidFill>
                  <a:schemeClr val="tx1">
                    <a:lumMod val="85000"/>
                    <a:lumOff val="15000"/>
                  </a:schemeClr>
                </a:solidFill>
              </a:rPr>
              <a:t>50%</a:t>
            </a:r>
          </a:p>
        </p:txBody>
      </p:sp>
      <p:sp>
        <p:nvSpPr>
          <p:cNvPr id="12" name="TextBox 11"/>
          <p:cNvSpPr txBox="1"/>
          <p:nvPr/>
        </p:nvSpPr>
        <p:spPr>
          <a:xfrm>
            <a:off x="4228827" y="2646626"/>
            <a:ext cx="997389" cy="590803"/>
          </a:xfrm>
          <a:prstGeom prst="rect">
            <a:avLst/>
          </a:prstGeom>
        </p:spPr>
        <p:txBody>
          <a:bodyPr vert="horz" wrap="square" lIns="91416" tIns="45708" rIns="91416" bIns="45708" rtlCol="0" anchor="ctr">
            <a:noAutofit/>
          </a:bodyPr>
          <a:lstStyle>
            <a:defPPr>
              <a:defRPr lang="en-US"/>
            </a:defPPr>
            <a:lvl1pPr algn="r">
              <a:lnSpc>
                <a:spcPct val="90000"/>
              </a:lnSpc>
              <a:spcBef>
                <a:spcPct val="0"/>
              </a:spcBef>
              <a:buNone/>
              <a:defRPr sz="3600" b="1" spc="-150">
                <a:solidFill>
                  <a:schemeClr val="accent1"/>
                </a:solidFill>
                <a:latin typeface="Montserrat" panose="00000500000000000000" pitchFamily="2" charset="0"/>
                <a:ea typeface="Roboto" panose="02000000000000000000" pitchFamily="2" charset="0"/>
                <a:cs typeface="Times New Roman" panose="02020603050405020304" pitchFamily="18" charset="0"/>
              </a:defRPr>
            </a:lvl1pPr>
          </a:lstStyle>
          <a:p>
            <a:r>
              <a:rPr lang="en-US" sz="2800" dirty="0">
                <a:solidFill>
                  <a:schemeClr val="tx1">
                    <a:lumMod val="85000"/>
                    <a:lumOff val="15000"/>
                  </a:schemeClr>
                </a:solidFill>
              </a:rPr>
              <a:t>78%</a:t>
            </a:r>
          </a:p>
        </p:txBody>
      </p:sp>
      <p:sp>
        <p:nvSpPr>
          <p:cNvPr id="13" name="TextBox 12"/>
          <p:cNvSpPr txBox="1"/>
          <p:nvPr/>
        </p:nvSpPr>
        <p:spPr>
          <a:xfrm>
            <a:off x="5675752" y="4561112"/>
            <a:ext cx="997389" cy="590803"/>
          </a:xfrm>
          <a:prstGeom prst="rect">
            <a:avLst/>
          </a:prstGeom>
        </p:spPr>
        <p:txBody>
          <a:bodyPr vert="horz" wrap="square" lIns="91416" tIns="45708" rIns="91416" bIns="45708" rtlCol="0" anchor="ctr">
            <a:noAutofit/>
          </a:bodyPr>
          <a:lstStyle>
            <a:defPPr>
              <a:defRPr lang="en-US"/>
            </a:defPPr>
            <a:lvl1pPr algn="r">
              <a:lnSpc>
                <a:spcPct val="90000"/>
              </a:lnSpc>
              <a:spcBef>
                <a:spcPct val="0"/>
              </a:spcBef>
              <a:buNone/>
              <a:defRPr sz="3600" b="1" spc="-150">
                <a:solidFill>
                  <a:schemeClr val="accent1"/>
                </a:solidFill>
                <a:latin typeface="Montserrat" panose="00000500000000000000" pitchFamily="2" charset="0"/>
                <a:ea typeface="Roboto" panose="02000000000000000000" pitchFamily="2" charset="0"/>
                <a:cs typeface="Times New Roman" panose="02020603050405020304" pitchFamily="18" charset="0"/>
              </a:defRPr>
            </a:lvl1pPr>
          </a:lstStyle>
          <a:p>
            <a:r>
              <a:rPr lang="en-US" sz="2800" dirty="0">
                <a:solidFill>
                  <a:schemeClr val="tx1">
                    <a:lumMod val="85000"/>
                    <a:lumOff val="15000"/>
                  </a:schemeClr>
                </a:solidFill>
              </a:rPr>
              <a:t>36%</a:t>
            </a:r>
          </a:p>
        </p:txBody>
      </p:sp>
      <p:sp>
        <p:nvSpPr>
          <p:cNvPr id="14" name="Rectangle 13"/>
          <p:cNvSpPr/>
          <p:nvPr/>
        </p:nvSpPr>
        <p:spPr>
          <a:xfrm>
            <a:off x="5018540" y="1525595"/>
            <a:ext cx="1579425" cy="553998"/>
          </a:xfrm>
          <a:prstGeom prst="rect">
            <a:avLst/>
          </a:prstGeom>
        </p:spPr>
        <p:txBody>
          <a:bodyPr wrap="square">
            <a:spAutoFit/>
          </a:bodyPr>
          <a:lstStyle/>
          <a:p>
            <a:pPr>
              <a:buClr>
                <a:srgbClr val="E24848"/>
              </a:buClr>
            </a:pPr>
            <a:r>
              <a:rPr lang="en-US" sz="1000" noProof="1">
                <a:solidFill>
                  <a:schemeClr val="tx1">
                    <a:lumMod val="85000"/>
                    <a:lumOff val="15000"/>
                  </a:schemeClr>
                </a:solidFill>
                <a:latin typeface="Montserrat" panose="00000500000000000000" pitchFamily="50" charset="0"/>
                <a:ea typeface="Open Sans Light" panose="020B0306030504020204" pitchFamily="34" charset="0"/>
                <a:cs typeface="Open Sans Light" panose="020B0306030504020204" pitchFamily="34" charset="0"/>
              </a:rPr>
              <a:t>Lorem ipsum dolor sit amet, consectetur adipiscing elit.</a:t>
            </a:r>
            <a:endParaRPr lang="en-US" sz="1000" noProof="1">
              <a:solidFill>
                <a:schemeClr val="tx1">
                  <a:lumMod val="50000"/>
                  <a:lumOff val="50000"/>
                </a:schemeClr>
              </a:solidFill>
              <a:latin typeface="+mj-lt"/>
              <a:ea typeface="Open Sans Light" panose="020B0306030504020204" pitchFamily="34" charset="0"/>
              <a:cs typeface="Open Sans Light" panose="020B0306030504020204" pitchFamily="34" charset="0"/>
            </a:endParaRPr>
          </a:p>
        </p:txBody>
      </p:sp>
      <p:sp>
        <p:nvSpPr>
          <p:cNvPr id="15" name="Rectangle 14"/>
          <p:cNvSpPr/>
          <p:nvPr/>
        </p:nvSpPr>
        <p:spPr>
          <a:xfrm>
            <a:off x="4727522" y="3430114"/>
            <a:ext cx="1579425" cy="553998"/>
          </a:xfrm>
          <a:prstGeom prst="rect">
            <a:avLst/>
          </a:prstGeom>
        </p:spPr>
        <p:txBody>
          <a:bodyPr wrap="square">
            <a:spAutoFit/>
          </a:bodyPr>
          <a:lstStyle/>
          <a:p>
            <a:pPr>
              <a:buClr>
                <a:srgbClr val="E24848"/>
              </a:buClr>
            </a:pPr>
            <a:r>
              <a:rPr lang="en-US" sz="1000" noProof="1">
                <a:solidFill>
                  <a:schemeClr val="tx1">
                    <a:lumMod val="85000"/>
                    <a:lumOff val="15000"/>
                  </a:schemeClr>
                </a:solidFill>
                <a:latin typeface="Montserrat" panose="00000500000000000000" pitchFamily="50" charset="0"/>
                <a:ea typeface="Open Sans Light" panose="020B0306030504020204" pitchFamily="34" charset="0"/>
                <a:cs typeface="Open Sans Light" panose="020B0306030504020204" pitchFamily="34" charset="0"/>
              </a:rPr>
              <a:t>Lorem ipsum dolor sit amet, consectetur adipiscing elit.</a:t>
            </a:r>
            <a:endParaRPr lang="en-US" sz="1000" noProof="1">
              <a:solidFill>
                <a:schemeClr val="tx1">
                  <a:lumMod val="50000"/>
                  <a:lumOff val="50000"/>
                </a:schemeClr>
              </a:solidFill>
              <a:latin typeface="+mj-lt"/>
              <a:ea typeface="Open Sans Light" panose="020B0306030504020204" pitchFamily="34" charset="0"/>
              <a:cs typeface="Open Sans Light" panose="020B0306030504020204" pitchFamily="34" charset="0"/>
            </a:endParaRPr>
          </a:p>
        </p:txBody>
      </p:sp>
      <p:sp>
        <p:nvSpPr>
          <p:cNvPr id="16" name="Rectangle 15"/>
          <p:cNvSpPr/>
          <p:nvPr/>
        </p:nvSpPr>
        <p:spPr>
          <a:xfrm>
            <a:off x="6015929" y="5201687"/>
            <a:ext cx="1579425" cy="553998"/>
          </a:xfrm>
          <a:prstGeom prst="rect">
            <a:avLst/>
          </a:prstGeom>
        </p:spPr>
        <p:txBody>
          <a:bodyPr wrap="square">
            <a:spAutoFit/>
          </a:bodyPr>
          <a:lstStyle/>
          <a:p>
            <a:pPr>
              <a:buClr>
                <a:srgbClr val="E24848"/>
              </a:buClr>
            </a:pPr>
            <a:r>
              <a:rPr lang="en-US" sz="1000" noProof="1">
                <a:solidFill>
                  <a:schemeClr val="tx1">
                    <a:lumMod val="85000"/>
                    <a:lumOff val="15000"/>
                  </a:schemeClr>
                </a:solidFill>
                <a:latin typeface="Montserrat" panose="00000500000000000000" pitchFamily="50" charset="0"/>
                <a:ea typeface="Open Sans Light" panose="020B0306030504020204" pitchFamily="34" charset="0"/>
                <a:cs typeface="Open Sans Light" panose="020B0306030504020204" pitchFamily="34" charset="0"/>
              </a:rPr>
              <a:t>Lorem ipsum dolor sit amet, consectetur adipiscing elit.</a:t>
            </a:r>
            <a:endParaRPr lang="en-US" sz="1000" noProof="1">
              <a:solidFill>
                <a:schemeClr val="tx1">
                  <a:lumMod val="50000"/>
                  <a:lumOff val="50000"/>
                </a:schemeClr>
              </a:solidFill>
              <a:latin typeface="+mj-lt"/>
              <a:ea typeface="Open Sans Light" panose="020B0306030504020204" pitchFamily="34" charset="0"/>
              <a:cs typeface="Open Sans Light" panose="020B0306030504020204" pitchFamily="34" charset="0"/>
            </a:endParaRPr>
          </a:p>
        </p:txBody>
      </p:sp>
      <p:sp>
        <p:nvSpPr>
          <p:cNvPr id="17" name="TextBox 16"/>
          <p:cNvSpPr txBox="1"/>
          <p:nvPr/>
        </p:nvSpPr>
        <p:spPr>
          <a:xfrm>
            <a:off x="5054223" y="1260859"/>
            <a:ext cx="1718586" cy="286214"/>
          </a:xfrm>
          <a:prstGeom prst="rect">
            <a:avLst/>
          </a:prstGeom>
        </p:spPr>
        <p:txBody>
          <a:bodyPr vert="horz" wrap="square" lIns="91416" tIns="45708" rIns="91416" bIns="45708" rtlCol="0" anchor="ctr">
            <a:noAutofit/>
          </a:bodyPr>
          <a:lstStyle>
            <a:defPPr>
              <a:defRPr lang="en-US"/>
            </a:defPPr>
            <a:lvl1pPr algn="ctr">
              <a:lnSpc>
                <a:spcPct val="90000"/>
              </a:lnSpc>
              <a:spcBef>
                <a:spcPct val="0"/>
              </a:spcBef>
              <a:defRPr sz="1400" b="1">
                <a:solidFill>
                  <a:schemeClr val="tx1">
                    <a:lumMod val="75000"/>
                    <a:lumOff val="25000"/>
                  </a:schemeClr>
                </a:solidFill>
                <a:latin typeface="Montserrat" panose="00000500000000000000" pitchFamily="2" charset="0"/>
                <a:ea typeface="Roboto" panose="02000000000000000000" pitchFamily="2" charset="0"/>
                <a:cs typeface="Times New Roman" panose="02020603050405020304" pitchFamily="18" charset="0"/>
              </a:defRPr>
            </a:lvl1pPr>
          </a:lstStyle>
          <a:p>
            <a:pPr algn="l"/>
            <a:r>
              <a:rPr lang="id-ID" dirty="0"/>
              <a:t>Mission</a:t>
            </a:r>
            <a:endParaRPr lang="en-US" dirty="0"/>
          </a:p>
        </p:txBody>
      </p:sp>
      <p:sp>
        <p:nvSpPr>
          <p:cNvPr id="18" name="TextBox 17"/>
          <p:cNvSpPr txBox="1"/>
          <p:nvPr/>
        </p:nvSpPr>
        <p:spPr>
          <a:xfrm>
            <a:off x="4727521" y="3134712"/>
            <a:ext cx="1718586" cy="286214"/>
          </a:xfrm>
          <a:prstGeom prst="rect">
            <a:avLst/>
          </a:prstGeom>
        </p:spPr>
        <p:txBody>
          <a:bodyPr vert="horz" wrap="square" lIns="91416" tIns="45708" rIns="91416" bIns="45708" rtlCol="0" anchor="ctr">
            <a:noAutofit/>
          </a:bodyPr>
          <a:lstStyle>
            <a:defPPr>
              <a:defRPr lang="en-US"/>
            </a:defPPr>
            <a:lvl1pPr algn="ctr">
              <a:lnSpc>
                <a:spcPct val="90000"/>
              </a:lnSpc>
              <a:spcBef>
                <a:spcPct val="0"/>
              </a:spcBef>
              <a:defRPr sz="1400" b="1">
                <a:solidFill>
                  <a:schemeClr val="tx1">
                    <a:lumMod val="75000"/>
                    <a:lumOff val="25000"/>
                  </a:schemeClr>
                </a:solidFill>
                <a:latin typeface="Montserrat" panose="00000500000000000000" pitchFamily="2" charset="0"/>
                <a:ea typeface="Roboto" panose="02000000000000000000" pitchFamily="2" charset="0"/>
                <a:cs typeface="Times New Roman" panose="02020603050405020304" pitchFamily="18" charset="0"/>
              </a:defRPr>
            </a:lvl1pPr>
          </a:lstStyle>
          <a:p>
            <a:pPr algn="l"/>
            <a:r>
              <a:rPr lang="id-ID" dirty="0"/>
              <a:t>Mission</a:t>
            </a:r>
            <a:endParaRPr lang="en-US" dirty="0"/>
          </a:p>
        </p:txBody>
      </p:sp>
      <p:sp>
        <p:nvSpPr>
          <p:cNvPr id="19" name="TextBox 18"/>
          <p:cNvSpPr txBox="1"/>
          <p:nvPr/>
        </p:nvSpPr>
        <p:spPr>
          <a:xfrm>
            <a:off x="5971645" y="5009466"/>
            <a:ext cx="1718586" cy="286214"/>
          </a:xfrm>
          <a:prstGeom prst="rect">
            <a:avLst/>
          </a:prstGeom>
        </p:spPr>
        <p:txBody>
          <a:bodyPr vert="horz" wrap="square" lIns="91416" tIns="45708" rIns="91416" bIns="45708" rtlCol="0" anchor="ctr">
            <a:noAutofit/>
          </a:bodyPr>
          <a:lstStyle>
            <a:defPPr>
              <a:defRPr lang="en-US"/>
            </a:defPPr>
            <a:lvl1pPr algn="ctr">
              <a:lnSpc>
                <a:spcPct val="90000"/>
              </a:lnSpc>
              <a:spcBef>
                <a:spcPct val="0"/>
              </a:spcBef>
              <a:defRPr sz="1400" b="1">
                <a:solidFill>
                  <a:schemeClr val="tx1">
                    <a:lumMod val="75000"/>
                    <a:lumOff val="25000"/>
                  </a:schemeClr>
                </a:solidFill>
                <a:latin typeface="Montserrat" panose="00000500000000000000" pitchFamily="2" charset="0"/>
                <a:ea typeface="Roboto" panose="02000000000000000000" pitchFamily="2" charset="0"/>
                <a:cs typeface="Times New Roman" panose="02020603050405020304" pitchFamily="18" charset="0"/>
              </a:defRPr>
            </a:lvl1pPr>
          </a:lstStyle>
          <a:p>
            <a:pPr algn="l"/>
            <a:r>
              <a:rPr lang="id-ID" dirty="0"/>
              <a:t>Mission</a:t>
            </a:r>
            <a:endParaRPr lang="en-US" dirty="0"/>
          </a:p>
        </p:txBody>
      </p:sp>
      <p:sp>
        <p:nvSpPr>
          <p:cNvPr id="20" name="Rectangle 19"/>
          <p:cNvSpPr/>
          <p:nvPr/>
        </p:nvSpPr>
        <p:spPr>
          <a:xfrm>
            <a:off x="8302170" y="1952787"/>
            <a:ext cx="3293645" cy="1569660"/>
          </a:xfrm>
          <a:prstGeom prst="rect">
            <a:avLst/>
          </a:prstGeom>
        </p:spPr>
        <p:txBody>
          <a:bodyPr wrap="square">
            <a:spAutoFit/>
          </a:bodyPr>
          <a:lstStyle/>
          <a:p>
            <a:pPr algn="r">
              <a:buClr>
                <a:srgbClr val="E24848"/>
              </a:buClr>
              <a:defRPr/>
            </a:pPr>
            <a:r>
              <a:rPr lang="en-US" sz="1200" noProof="1">
                <a:solidFill>
                  <a:schemeClr val="tx1">
                    <a:lumMod val="85000"/>
                    <a:lumOff val="15000"/>
                  </a:schemeClr>
                </a:solidFill>
                <a:latin typeface="Montserrat" panose="00000500000000000000" pitchFamily="50" charset="0"/>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Nam auctor metus vitae quam gravida, ac vehicula elit mollis. </a:t>
            </a:r>
          </a:p>
        </p:txBody>
      </p:sp>
    </p:spTree>
    <p:extLst>
      <p:ext uri="{BB962C8B-B14F-4D97-AF65-F5344CB8AC3E}">
        <p14:creationId xmlns:p14="http://schemas.microsoft.com/office/powerpoint/2010/main" val="1182423667"/>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23" y="6664283"/>
            <a:ext cx="12189983" cy="206419"/>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
          <p:cNvSpPr/>
          <p:nvPr/>
        </p:nvSpPr>
        <p:spPr>
          <a:xfrm>
            <a:off x="5056966" y="6530678"/>
            <a:ext cx="2078068" cy="222924"/>
          </a:xfrm>
          <a:prstGeom prst="roundRect">
            <a:avLst>
              <a:gd name="adj" fmla="val 50000"/>
            </a:avLst>
          </a:prstGeom>
          <a:solidFill>
            <a:srgbClr val="018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effectLst>
                <a:outerShdw blurRad="63500" sx="102000" sy="102000" algn="ctr" rotWithShape="0">
                  <a:prstClr val="black">
                    <a:alpha val="40000"/>
                  </a:prstClr>
                </a:outerShdw>
              </a:effectLst>
              <a:latin typeface="+mj-lt"/>
            </a:endParaRPr>
          </a:p>
        </p:txBody>
      </p:sp>
      <p:sp>
        <p:nvSpPr>
          <p:cNvPr id="4" name="Date Placeholder 1"/>
          <p:cNvSpPr txBox="1">
            <a:spLocks/>
          </p:cNvSpPr>
          <p:nvPr>
            <p:custDataLst>
              <p:tags r:id="rId1"/>
            </p:custDataLst>
          </p:nvPr>
        </p:nvSpPr>
        <p:spPr>
          <a:xfrm>
            <a:off x="5006809" y="6498189"/>
            <a:ext cx="1530941"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Segoe UI" panose="020B0502040204020203" pitchFamily="34" charset="0"/>
                <a:ea typeface="Open Sans Light" panose="020B0306030504020204" pitchFamily="34" charset="0"/>
                <a:cs typeface="Segoe UI" panose="020B0502040204020203" pitchFamily="34" charset="0"/>
              </a:rPr>
              <a:t>www.yourcompanyname.com</a:t>
            </a:r>
          </a:p>
        </p:txBody>
      </p:sp>
      <p:cxnSp>
        <p:nvCxnSpPr>
          <p:cNvPr id="5" name="Straight Connector 4"/>
          <p:cNvCxnSpPr/>
          <p:nvPr/>
        </p:nvCxnSpPr>
        <p:spPr>
          <a:xfrm>
            <a:off x="6512721" y="6567488"/>
            <a:ext cx="0" cy="154781"/>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6665393" y="6505535"/>
            <a:ext cx="335348" cy="261610"/>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07</a:t>
            </a:r>
          </a:p>
        </p:txBody>
      </p:sp>
      <p:sp>
        <p:nvSpPr>
          <p:cNvPr id="7" name="Title 1"/>
          <p:cNvSpPr txBox="1">
            <a:spLocks/>
          </p:cNvSpPr>
          <p:nvPr/>
        </p:nvSpPr>
        <p:spPr>
          <a:xfrm>
            <a:off x="3304010" y="2120591"/>
            <a:ext cx="3270761" cy="338554"/>
          </a:xfrm>
          <a:prstGeom prst="rect">
            <a:avLst/>
          </a:prstGeom>
          <a:noFill/>
        </p:spPr>
        <p:txBody>
          <a:bodyPr wrap="square">
            <a:spAutoFit/>
          </a:bodyPr>
          <a:lstStyle>
            <a:defPPr>
              <a:defRPr lang="en-US"/>
            </a:defPPr>
            <a:lvl1pPr>
              <a:defRPr sz="1600" b="1">
                <a:solidFill>
                  <a:schemeClr val="tx1">
                    <a:lumMod val="85000"/>
                    <a:lumOff val="15000"/>
                  </a:schemeClr>
                </a:solidFill>
                <a:latin typeface="Raleway" panose="020B0503030101060003" pitchFamily="34" charset="0"/>
                <a:ea typeface="Roboto Light" panose="02000000000000000000" pitchFamily="2" charset="0"/>
                <a:cs typeface="Open Sans" panose="020B0606030504020204" pitchFamily="34" charset="0"/>
              </a:defRPr>
            </a:lvl1pPr>
          </a:lstStyle>
          <a:p>
            <a:r>
              <a:rPr lang="en-US" dirty="0">
                <a:solidFill>
                  <a:srgbClr val="01678C"/>
                </a:solidFill>
                <a:latin typeface="Montserrat" panose="00000500000000000000" pitchFamily="2" charset="0"/>
              </a:rPr>
              <a:t>Graphic</a:t>
            </a:r>
            <a:r>
              <a:rPr lang="en-US" dirty="0">
                <a:latin typeface="Montserrat" panose="00000500000000000000" pitchFamily="2" charset="0"/>
              </a:rPr>
              <a:t> </a:t>
            </a:r>
            <a:r>
              <a:rPr lang="en-US" b="0" dirty="0">
                <a:latin typeface="Montserrat" panose="00000500000000000000" pitchFamily="2" charset="0"/>
              </a:rPr>
              <a:t>Design</a:t>
            </a:r>
          </a:p>
        </p:txBody>
      </p:sp>
      <p:sp>
        <p:nvSpPr>
          <p:cNvPr id="8" name="Rectangle 7"/>
          <p:cNvSpPr/>
          <p:nvPr/>
        </p:nvSpPr>
        <p:spPr>
          <a:xfrm>
            <a:off x="3304010" y="2470640"/>
            <a:ext cx="7291419" cy="646331"/>
          </a:xfrm>
          <a:prstGeom prst="rect">
            <a:avLst/>
          </a:prstGeom>
        </p:spPr>
        <p:txBody>
          <a:bodyPr wrap="square">
            <a:spAutoFit/>
          </a:bodyPr>
          <a:lstStyle/>
          <a:p>
            <a:pPr>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A wonderful serenity has taken possession of my entire soul, like these sweet mornings of spring which I enjoy with my whole heart.</a:t>
            </a:r>
          </a:p>
        </p:txBody>
      </p:sp>
      <p:sp>
        <p:nvSpPr>
          <p:cNvPr id="9" name="Title 1"/>
          <p:cNvSpPr txBox="1">
            <a:spLocks/>
          </p:cNvSpPr>
          <p:nvPr/>
        </p:nvSpPr>
        <p:spPr>
          <a:xfrm>
            <a:off x="3304010" y="3494926"/>
            <a:ext cx="3270761" cy="338554"/>
          </a:xfrm>
          <a:prstGeom prst="rect">
            <a:avLst/>
          </a:prstGeom>
          <a:noFill/>
        </p:spPr>
        <p:txBody>
          <a:bodyPr wrap="square">
            <a:spAutoFit/>
          </a:bodyPr>
          <a:lstStyle>
            <a:defPPr>
              <a:defRPr lang="en-US"/>
            </a:defPPr>
            <a:lvl1pPr>
              <a:defRPr sz="1600" b="1">
                <a:solidFill>
                  <a:schemeClr val="tx1">
                    <a:lumMod val="85000"/>
                    <a:lumOff val="15000"/>
                  </a:schemeClr>
                </a:solidFill>
                <a:latin typeface="Raleway" panose="020B0503030101060003" pitchFamily="34" charset="0"/>
                <a:ea typeface="Roboto Light" panose="02000000000000000000" pitchFamily="2" charset="0"/>
                <a:cs typeface="Open Sans" panose="020B0606030504020204" pitchFamily="34" charset="0"/>
              </a:defRPr>
            </a:lvl1pPr>
          </a:lstStyle>
          <a:p>
            <a:r>
              <a:rPr lang="en-US" dirty="0">
                <a:solidFill>
                  <a:srgbClr val="01678C"/>
                </a:solidFill>
                <a:latin typeface="Montserrat" panose="00000500000000000000" pitchFamily="2" charset="0"/>
              </a:rPr>
              <a:t>Branding</a:t>
            </a:r>
          </a:p>
        </p:txBody>
      </p:sp>
      <p:sp>
        <p:nvSpPr>
          <p:cNvPr id="10" name="Rectangle 9"/>
          <p:cNvSpPr/>
          <p:nvPr/>
        </p:nvSpPr>
        <p:spPr>
          <a:xfrm>
            <a:off x="3304010" y="3844975"/>
            <a:ext cx="7291419" cy="646331"/>
          </a:xfrm>
          <a:prstGeom prst="rect">
            <a:avLst/>
          </a:prstGeom>
        </p:spPr>
        <p:txBody>
          <a:bodyPr wrap="square">
            <a:spAutoFit/>
          </a:bodyPr>
          <a:lstStyle/>
          <a:p>
            <a:pPr>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A wonderful serenity has taken possession of my entire soul, like these sweet mornings of spring which I enjoy with my whole heart.</a:t>
            </a:r>
          </a:p>
        </p:txBody>
      </p:sp>
      <p:sp>
        <p:nvSpPr>
          <p:cNvPr id="11" name="Title 1"/>
          <p:cNvSpPr txBox="1">
            <a:spLocks/>
          </p:cNvSpPr>
          <p:nvPr/>
        </p:nvSpPr>
        <p:spPr>
          <a:xfrm>
            <a:off x="3304010" y="4825968"/>
            <a:ext cx="3270761" cy="338554"/>
          </a:xfrm>
          <a:prstGeom prst="rect">
            <a:avLst/>
          </a:prstGeom>
          <a:noFill/>
        </p:spPr>
        <p:txBody>
          <a:bodyPr wrap="square">
            <a:spAutoFit/>
          </a:bodyPr>
          <a:lstStyle>
            <a:defPPr>
              <a:defRPr lang="en-US"/>
            </a:defPPr>
            <a:lvl1pPr>
              <a:defRPr sz="1600" b="1">
                <a:solidFill>
                  <a:schemeClr val="tx1">
                    <a:lumMod val="85000"/>
                    <a:lumOff val="15000"/>
                  </a:schemeClr>
                </a:solidFill>
                <a:latin typeface="Raleway" panose="020B0503030101060003" pitchFamily="34" charset="0"/>
                <a:ea typeface="Roboto Light" panose="02000000000000000000" pitchFamily="2" charset="0"/>
                <a:cs typeface="Open Sans" panose="020B0606030504020204" pitchFamily="34" charset="0"/>
              </a:defRPr>
            </a:lvl1pPr>
          </a:lstStyle>
          <a:p>
            <a:r>
              <a:rPr lang="en-US" dirty="0">
                <a:solidFill>
                  <a:srgbClr val="01678C"/>
                </a:solidFill>
                <a:latin typeface="Montserrat" panose="00000500000000000000" pitchFamily="2" charset="0"/>
              </a:rPr>
              <a:t>Marketing</a:t>
            </a:r>
          </a:p>
        </p:txBody>
      </p:sp>
      <p:sp>
        <p:nvSpPr>
          <p:cNvPr id="12" name="Rectangle 11"/>
          <p:cNvSpPr/>
          <p:nvPr/>
        </p:nvSpPr>
        <p:spPr>
          <a:xfrm>
            <a:off x="3304010" y="5176017"/>
            <a:ext cx="7291419" cy="646331"/>
          </a:xfrm>
          <a:prstGeom prst="rect">
            <a:avLst/>
          </a:prstGeom>
        </p:spPr>
        <p:txBody>
          <a:bodyPr wrap="square">
            <a:spAutoFit/>
          </a:bodyPr>
          <a:lstStyle/>
          <a:p>
            <a:pPr>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A wonderful serenity has taken possession of my entire soul, like these sweet mornings of spring which I enjoy with my whole heart.</a:t>
            </a:r>
          </a:p>
        </p:txBody>
      </p:sp>
      <p:sp>
        <p:nvSpPr>
          <p:cNvPr id="13" name="Rectangle 12"/>
          <p:cNvSpPr/>
          <p:nvPr/>
        </p:nvSpPr>
        <p:spPr>
          <a:xfrm>
            <a:off x="1770744" y="2209424"/>
            <a:ext cx="841828" cy="795034"/>
          </a:xfrm>
          <a:prstGeom prst="rect">
            <a:avLst/>
          </a:prstGeom>
          <a:noFill/>
          <a:ln w="57150">
            <a:solidFill>
              <a:srgbClr val="0167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1770744" y="3541143"/>
            <a:ext cx="841828" cy="795034"/>
          </a:xfrm>
          <a:prstGeom prst="rect">
            <a:avLst/>
          </a:prstGeom>
          <a:noFill/>
          <a:ln w="57150">
            <a:solidFill>
              <a:srgbClr val="0167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1770744" y="4872862"/>
            <a:ext cx="841828" cy="795034"/>
          </a:xfrm>
          <a:prstGeom prst="rect">
            <a:avLst/>
          </a:prstGeom>
          <a:noFill/>
          <a:ln w="57150">
            <a:solidFill>
              <a:srgbClr val="0167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258"/>
          <p:cNvSpPr>
            <a:spLocks noEditPoints="1"/>
          </p:cNvSpPr>
          <p:nvPr/>
        </p:nvSpPr>
        <p:spPr bwMode="auto">
          <a:xfrm>
            <a:off x="1965091" y="2369728"/>
            <a:ext cx="453134" cy="453134"/>
          </a:xfrm>
          <a:custGeom>
            <a:avLst/>
            <a:gdLst>
              <a:gd name="T0" fmla="*/ 393 w 883"/>
              <a:gd name="T1" fmla="*/ 555 h 883"/>
              <a:gd name="T2" fmla="*/ 346 w 883"/>
              <a:gd name="T3" fmla="*/ 520 h 883"/>
              <a:gd name="T4" fmla="*/ 321 w 883"/>
              <a:gd name="T5" fmla="*/ 466 h 883"/>
              <a:gd name="T6" fmla="*/ 323 w 883"/>
              <a:gd name="T7" fmla="*/ 404 h 883"/>
              <a:gd name="T8" fmla="*/ 354 w 883"/>
              <a:gd name="T9" fmla="*/ 354 h 883"/>
              <a:gd name="T10" fmla="*/ 404 w 883"/>
              <a:gd name="T11" fmla="*/ 323 h 883"/>
              <a:gd name="T12" fmla="*/ 467 w 883"/>
              <a:gd name="T13" fmla="*/ 320 h 883"/>
              <a:gd name="T14" fmla="*/ 520 w 883"/>
              <a:gd name="T15" fmla="*/ 346 h 883"/>
              <a:gd name="T16" fmla="*/ 555 w 883"/>
              <a:gd name="T17" fmla="*/ 393 h 883"/>
              <a:gd name="T18" fmla="*/ 564 w 883"/>
              <a:gd name="T19" fmla="*/ 454 h 883"/>
              <a:gd name="T20" fmla="*/ 543 w 883"/>
              <a:gd name="T21" fmla="*/ 510 h 883"/>
              <a:gd name="T22" fmla="*/ 500 w 883"/>
              <a:gd name="T23" fmla="*/ 550 h 883"/>
              <a:gd name="T24" fmla="*/ 441 w 883"/>
              <a:gd name="T25" fmla="*/ 565 h 883"/>
              <a:gd name="T26" fmla="*/ 328 w 883"/>
              <a:gd name="T27" fmla="*/ 102 h 883"/>
              <a:gd name="T28" fmla="*/ 67 w 883"/>
              <a:gd name="T29" fmla="*/ 191 h 883"/>
              <a:gd name="T30" fmla="*/ 98 w 883"/>
              <a:gd name="T31" fmla="*/ 353 h 883"/>
              <a:gd name="T32" fmla="*/ 118 w 883"/>
              <a:gd name="T33" fmla="*/ 575 h 883"/>
              <a:gd name="T34" fmla="*/ 266 w 883"/>
              <a:gd name="T35" fmla="*/ 741 h 883"/>
              <a:gd name="T36" fmla="*/ 353 w 883"/>
              <a:gd name="T37" fmla="*/ 883 h 883"/>
              <a:gd name="T38" fmla="*/ 596 w 883"/>
              <a:gd name="T39" fmla="*/ 752 h 883"/>
              <a:gd name="T40" fmla="*/ 754 w 883"/>
              <a:gd name="T41" fmla="*/ 597 h 883"/>
              <a:gd name="T42" fmla="*/ 883 w 883"/>
              <a:gd name="T43" fmla="*/ 353 h 883"/>
              <a:gd name="T44" fmla="*/ 748 w 883"/>
              <a:gd name="T45" fmla="*/ 260 h 883"/>
              <a:gd name="T46" fmla="*/ 578 w 883"/>
              <a:gd name="T47" fmla="*/ 110 h 883"/>
              <a:gd name="T48" fmla="*/ 457 w 883"/>
              <a:gd name="T49" fmla="*/ 600 h 883"/>
              <a:gd name="T50" fmla="*/ 530 w 883"/>
              <a:gd name="T51" fmla="*/ 573 h 883"/>
              <a:gd name="T52" fmla="*/ 581 w 883"/>
              <a:gd name="T53" fmla="*/ 516 h 883"/>
              <a:gd name="T54" fmla="*/ 600 w 883"/>
              <a:gd name="T55" fmla="*/ 441 h 883"/>
              <a:gd name="T56" fmla="*/ 581 w 883"/>
              <a:gd name="T57" fmla="*/ 365 h 883"/>
              <a:gd name="T58" fmla="*/ 530 w 883"/>
              <a:gd name="T59" fmla="*/ 310 h 883"/>
              <a:gd name="T60" fmla="*/ 457 w 883"/>
              <a:gd name="T61" fmla="*/ 283 h 883"/>
              <a:gd name="T62" fmla="*/ 379 w 883"/>
              <a:gd name="T63" fmla="*/ 295 h 883"/>
              <a:gd name="T64" fmla="*/ 319 w 883"/>
              <a:gd name="T65" fmla="*/ 340 h 883"/>
              <a:gd name="T66" fmla="*/ 286 w 883"/>
              <a:gd name="T67" fmla="*/ 410 h 883"/>
              <a:gd name="T68" fmla="*/ 290 w 883"/>
              <a:gd name="T69" fmla="*/ 488 h 883"/>
              <a:gd name="T70" fmla="*/ 329 w 883"/>
              <a:gd name="T71" fmla="*/ 553 h 883"/>
              <a:gd name="T72" fmla="*/ 394 w 883"/>
              <a:gd name="T73" fmla="*/ 593 h 883"/>
              <a:gd name="T74" fmla="*/ 494 w 883"/>
              <a:gd name="T75" fmla="*/ 36 h 883"/>
              <a:gd name="T76" fmla="*/ 564 w 883"/>
              <a:gd name="T77" fmla="*/ 143 h 883"/>
              <a:gd name="T78" fmla="*/ 690 w 883"/>
              <a:gd name="T79" fmla="*/ 117 h 883"/>
              <a:gd name="T80" fmla="*/ 727 w 883"/>
              <a:gd name="T81" fmla="*/ 297 h 883"/>
              <a:gd name="T82" fmla="*/ 784 w 883"/>
              <a:gd name="T83" fmla="*/ 388 h 883"/>
              <a:gd name="T84" fmla="*/ 746 w 883"/>
              <a:gd name="T85" fmla="*/ 520 h 883"/>
              <a:gd name="T86" fmla="*/ 698 w 883"/>
              <a:gd name="T87" fmla="*/ 623 h 883"/>
              <a:gd name="T88" fmla="*/ 622 w 883"/>
              <a:gd name="T89" fmla="*/ 697 h 883"/>
              <a:gd name="T90" fmla="*/ 521 w 883"/>
              <a:gd name="T91" fmla="*/ 742 h 883"/>
              <a:gd name="T92" fmla="*/ 389 w 883"/>
              <a:gd name="T93" fmla="*/ 777 h 883"/>
              <a:gd name="T94" fmla="*/ 302 w 883"/>
              <a:gd name="T95" fmla="*/ 721 h 883"/>
              <a:gd name="T96" fmla="*/ 117 w 883"/>
              <a:gd name="T97" fmla="*/ 690 h 883"/>
              <a:gd name="T98" fmla="*/ 150 w 883"/>
              <a:gd name="T99" fmla="*/ 561 h 883"/>
              <a:gd name="T100" fmla="*/ 36 w 883"/>
              <a:gd name="T101" fmla="*/ 494 h 883"/>
              <a:gd name="T102" fmla="*/ 139 w 883"/>
              <a:gd name="T103" fmla="*/ 339 h 883"/>
              <a:gd name="T104" fmla="*/ 160 w 883"/>
              <a:gd name="T105" fmla="*/ 236 h 883"/>
              <a:gd name="T106" fmla="*/ 277 w 883"/>
              <a:gd name="T107" fmla="*/ 164 h 883"/>
              <a:gd name="T108" fmla="*/ 389 w 883"/>
              <a:gd name="T109" fmla="*/ 121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3" h="883">
                <a:moveTo>
                  <a:pt x="441" y="565"/>
                </a:moveTo>
                <a:lnTo>
                  <a:pt x="429" y="564"/>
                </a:lnTo>
                <a:lnTo>
                  <a:pt x="416" y="562"/>
                </a:lnTo>
                <a:lnTo>
                  <a:pt x="404" y="560"/>
                </a:lnTo>
                <a:lnTo>
                  <a:pt x="393" y="555"/>
                </a:lnTo>
                <a:lnTo>
                  <a:pt x="382" y="550"/>
                </a:lnTo>
                <a:lnTo>
                  <a:pt x="373" y="543"/>
                </a:lnTo>
                <a:lnTo>
                  <a:pt x="363" y="537"/>
                </a:lnTo>
                <a:lnTo>
                  <a:pt x="354" y="528"/>
                </a:lnTo>
                <a:lnTo>
                  <a:pt x="346" y="520"/>
                </a:lnTo>
                <a:lnTo>
                  <a:pt x="339" y="510"/>
                </a:lnTo>
                <a:lnTo>
                  <a:pt x="333" y="500"/>
                </a:lnTo>
                <a:lnTo>
                  <a:pt x="327" y="489"/>
                </a:lnTo>
                <a:lnTo>
                  <a:pt x="323" y="478"/>
                </a:lnTo>
                <a:lnTo>
                  <a:pt x="321" y="466"/>
                </a:lnTo>
                <a:lnTo>
                  <a:pt x="319" y="454"/>
                </a:lnTo>
                <a:lnTo>
                  <a:pt x="318" y="441"/>
                </a:lnTo>
                <a:lnTo>
                  <a:pt x="319" y="429"/>
                </a:lnTo>
                <a:lnTo>
                  <a:pt x="321" y="416"/>
                </a:lnTo>
                <a:lnTo>
                  <a:pt x="323" y="404"/>
                </a:lnTo>
                <a:lnTo>
                  <a:pt x="327" y="393"/>
                </a:lnTo>
                <a:lnTo>
                  <a:pt x="333" y="383"/>
                </a:lnTo>
                <a:lnTo>
                  <a:pt x="339" y="372"/>
                </a:lnTo>
                <a:lnTo>
                  <a:pt x="346" y="363"/>
                </a:lnTo>
                <a:lnTo>
                  <a:pt x="354" y="354"/>
                </a:lnTo>
                <a:lnTo>
                  <a:pt x="363" y="346"/>
                </a:lnTo>
                <a:lnTo>
                  <a:pt x="373" y="339"/>
                </a:lnTo>
                <a:lnTo>
                  <a:pt x="382" y="333"/>
                </a:lnTo>
                <a:lnTo>
                  <a:pt x="393" y="327"/>
                </a:lnTo>
                <a:lnTo>
                  <a:pt x="404" y="323"/>
                </a:lnTo>
                <a:lnTo>
                  <a:pt x="416" y="320"/>
                </a:lnTo>
                <a:lnTo>
                  <a:pt x="429" y="319"/>
                </a:lnTo>
                <a:lnTo>
                  <a:pt x="441" y="318"/>
                </a:lnTo>
                <a:lnTo>
                  <a:pt x="454" y="319"/>
                </a:lnTo>
                <a:lnTo>
                  <a:pt x="467" y="320"/>
                </a:lnTo>
                <a:lnTo>
                  <a:pt x="477" y="323"/>
                </a:lnTo>
                <a:lnTo>
                  <a:pt x="489" y="327"/>
                </a:lnTo>
                <a:lnTo>
                  <a:pt x="500" y="333"/>
                </a:lnTo>
                <a:lnTo>
                  <a:pt x="510" y="339"/>
                </a:lnTo>
                <a:lnTo>
                  <a:pt x="520" y="346"/>
                </a:lnTo>
                <a:lnTo>
                  <a:pt x="528" y="354"/>
                </a:lnTo>
                <a:lnTo>
                  <a:pt x="537" y="363"/>
                </a:lnTo>
                <a:lnTo>
                  <a:pt x="543" y="372"/>
                </a:lnTo>
                <a:lnTo>
                  <a:pt x="550" y="383"/>
                </a:lnTo>
                <a:lnTo>
                  <a:pt x="555" y="393"/>
                </a:lnTo>
                <a:lnTo>
                  <a:pt x="560" y="404"/>
                </a:lnTo>
                <a:lnTo>
                  <a:pt x="562" y="416"/>
                </a:lnTo>
                <a:lnTo>
                  <a:pt x="564" y="429"/>
                </a:lnTo>
                <a:lnTo>
                  <a:pt x="565" y="441"/>
                </a:lnTo>
                <a:lnTo>
                  <a:pt x="564" y="454"/>
                </a:lnTo>
                <a:lnTo>
                  <a:pt x="562" y="466"/>
                </a:lnTo>
                <a:lnTo>
                  <a:pt x="560" y="478"/>
                </a:lnTo>
                <a:lnTo>
                  <a:pt x="555" y="489"/>
                </a:lnTo>
                <a:lnTo>
                  <a:pt x="550" y="500"/>
                </a:lnTo>
                <a:lnTo>
                  <a:pt x="543" y="510"/>
                </a:lnTo>
                <a:lnTo>
                  <a:pt x="537" y="520"/>
                </a:lnTo>
                <a:lnTo>
                  <a:pt x="528" y="528"/>
                </a:lnTo>
                <a:lnTo>
                  <a:pt x="520" y="537"/>
                </a:lnTo>
                <a:lnTo>
                  <a:pt x="510" y="543"/>
                </a:lnTo>
                <a:lnTo>
                  <a:pt x="500" y="550"/>
                </a:lnTo>
                <a:lnTo>
                  <a:pt x="489" y="555"/>
                </a:lnTo>
                <a:lnTo>
                  <a:pt x="477" y="560"/>
                </a:lnTo>
                <a:lnTo>
                  <a:pt x="467" y="562"/>
                </a:lnTo>
                <a:lnTo>
                  <a:pt x="454" y="564"/>
                </a:lnTo>
                <a:lnTo>
                  <a:pt x="441" y="565"/>
                </a:lnTo>
                <a:lnTo>
                  <a:pt x="441" y="565"/>
                </a:lnTo>
                <a:close/>
                <a:moveTo>
                  <a:pt x="529" y="0"/>
                </a:moveTo>
                <a:lnTo>
                  <a:pt x="353" y="0"/>
                </a:lnTo>
                <a:lnTo>
                  <a:pt x="353" y="94"/>
                </a:lnTo>
                <a:lnTo>
                  <a:pt x="328" y="102"/>
                </a:lnTo>
                <a:lnTo>
                  <a:pt x="305" y="110"/>
                </a:lnTo>
                <a:lnTo>
                  <a:pt x="281" y="121"/>
                </a:lnTo>
                <a:lnTo>
                  <a:pt x="259" y="134"/>
                </a:lnTo>
                <a:lnTo>
                  <a:pt x="192" y="67"/>
                </a:lnTo>
                <a:lnTo>
                  <a:pt x="67" y="191"/>
                </a:lnTo>
                <a:lnTo>
                  <a:pt x="135" y="260"/>
                </a:lnTo>
                <a:lnTo>
                  <a:pt x="124" y="282"/>
                </a:lnTo>
                <a:lnTo>
                  <a:pt x="113" y="305"/>
                </a:lnTo>
                <a:lnTo>
                  <a:pt x="106" y="329"/>
                </a:lnTo>
                <a:lnTo>
                  <a:pt x="98" y="353"/>
                </a:lnTo>
                <a:lnTo>
                  <a:pt x="0" y="353"/>
                </a:lnTo>
                <a:lnTo>
                  <a:pt x="0" y="529"/>
                </a:lnTo>
                <a:lnTo>
                  <a:pt x="102" y="529"/>
                </a:lnTo>
                <a:lnTo>
                  <a:pt x="109" y="553"/>
                </a:lnTo>
                <a:lnTo>
                  <a:pt x="118" y="575"/>
                </a:lnTo>
                <a:lnTo>
                  <a:pt x="129" y="597"/>
                </a:lnTo>
                <a:lnTo>
                  <a:pt x="139" y="618"/>
                </a:lnTo>
                <a:lnTo>
                  <a:pt x="67" y="690"/>
                </a:lnTo>
                <a:lnTo>
                  <a:pt x="192" y="816"/>
                </a:lnTo>
                <a:lnTo>
                  <a:pt x="266" y="741"/>
                </a:lnTo>
                <a:lnTo>
                  <a:pt x="286" y="752"/>
                </a:lnTo>
                <a:lnTo>
                  <a:pt x="308" y="762"/>
                </a:lnTo>
                <a:lnTo>
                  <a:pt x="331" y="770"/>
                </a:lnTo>
                <a:lnTo>
                  <a:pt x="353" y="777"/>
                </a:lnTo>
                <a:lnTo>
                  <a:pt x="353" y="883"/>
                </a:lnTo>
                <a:lnTo>
                  <a:pt x="529" y="883"/>
                </a:lnTo>
                <a:lnTo>
                  <a:pt x="529" y="777"/>
                </a:lnTo>
                <a:lnTo>
                  <a:pt x="552" y="770"/>
                </a:lnTo>
                <a:lnTo>
                  <a:pt x="575" y="762"/>
                </a:lnTo>
                <a:lnTo>
                  <a:pt x="596" y="752"/>
                </a:lnTo>
                <a:lnTo>
                  <a:pt x="617" y="741"/>
                </a:lnTo>
                <a:lnTo>
                  <a:pt x="690" y="816"/>
                </a:lnTo>
                <a:lnTo>
                  <a:pt x="816" y="690"/>
                </a:lnTo>
                <a:lnTo>
                  <a:pt x="743" y="618"/>
                </a:lnTo>
                <a:lnTo>
                  <a:pt x="754" y="597"/>
                </a:lnTo>
                <a:lnTo>
                  <a:pt x="765" y="575"/>
                </a:lnTo>
                <a:lnTo>
                  <a:pt x="773" y="553"/>
                </a:lnTo>
                <a:lnTo>
                  <a:pt x="781" y="529"/>
                </a:lnTo>
                <a:lnTo>
                  <a:pt x="883" y="529"/>
                </a:lnTo>
                <a:lnTo>
                  <a:pt x="883" y="353"/>
                </a:lnTo>
                <a:lnTo>
                  <a:pt x="784" y="353"/>
                </a:lnTo>
                <a:lnTo>
                  <a:pt x="777" y="329"/>
                </a:lnTo>
                <a:lnTo>
                  <a:pt x="769" y="305"/>
                </a:lnTo>
                <a:lnTo>
                  <a:pt x="758" y="282"/>
                </a:lnTo>
                <a:lnTo>
                  <a:pt x="748" y="260"/>
                </a:lnTo>
                <a:lnTo>
                  <a:pt x="816" y="191"/>
                </a:lnTo>
                <a:lnTo>
                  <a:pt x="690" y="67"/>
                </a:lnTo>
                <a:lnTo>
                  <a:pt x="623" y="134"/>
                </a:lnTo>
                <a:lnTo>
                  <a:pt x="602" y="121"/>
                </a:lnTo>
                <a:lnTo>
                  <a:pt x="578" y="110"/>
                </a:lnTo>
                <a:lnTo>
                  <a:pt x="554" y="102"/>
                </a:lnTo>
                <a:lnTo>
                  <a:pt x="529" y="94"/>
                </a:lnTo>
                <a:lnTo>
                  <a:pt x="529" y="0"/>
                </a:lnTo>
                <a:close/>
                <a:moveTo>
                  <a:pt x="441" y="600"/>
                </a:moveTo>
                <a:lnTo>
                  <a:pt x="457" y="600"/>
                </a:lnTo>
                <a:lnTo>
                  <a:pt x="473" y="596"/>
                </a:lnTo>
                <a:lnTo>
                  <a:pt x="488" y="593"/>
                </a:lnTo>
                <a:lnTo>
                  <a:pt x="503" y="588"/>
                </a:lnTo>
                <a:lnTo>
                  <a:pt x="516" y="581"/>
                </a:lnTo>
                <a:lnTo>
                  <a:pt x="530" y="573"/>
                </a:lnTo>
                <a:lnTo>
                  <a:pt x="542" y="564"/>
                </a:lnTo>
                <a:lnTo>
                  <a:pt x="553" y="553"/>
                </a:lnTo>
                <a:lnTo>
                  <a:pt x="564" y="542"/>
                </a:lnTo>
                <a:lnTo>
                  <a:pt x="573" y="529"/>
                </a:lnTo>
                <a:lnTo>
                  <a:pt x="581" y="516"/>
                </a:lnTo>
                <a:lnTo>
                  <a:pt x="588" y="503"/>
                </a:lnTo>
                <a:lnTo>
                  <a:pt x="593" y="488"/>
                </a:lnTo>
                <a:lnTo>
                  <a:pt x="596" y="473"/>
                </a:lnTo>
                <a:lnTo>
                  <a:pt x="600" y="457"/>
                </a:lnTo>
                <a:lnTo>
                  <a:pt x="600" y="441"/>
                </a:lnTo>
                <a:lnTo>
                  <a:pt x="600" y="425"/>
                </a:lnTo>
                <a:lnTo>
                  <a:pt x="596" y="410"/>
                </a:lnTo>
                <a:lnTo>
                  <a:pt x="593" y="394"/>
                </a:lnTo>
                <a:lnTo>
                  <a:pt x="588" y="379"/>
                </a:lnTo>
                <a:lnTo>
                  <a:pt x="581" y="365"/>
                </a:lnTo>
                <a:lnTo>
                  <a:pt x="573" y="352"/>
                </a:lnTo>
                <a:lnTo>
                  <a:pt x="564" y="340"/>
                </a:lnTo>
                <a:lnTo>
                  <a:pt x="553" y="329"/>
                </a:lnTo>
                <a:lnTo>
                  <a:pt x="542" y="319"/>
                </a:lnTo>
                <a:lnTo>
                  <a:pt x="530" y="310"/>
                </a:lnTo>
                <a:lnTo>
                  <a:pt x="516" y="302"/>
                </a:lnTo>
                <a:lnTo>
                  <a:pt x="503" y="295"/>
                </a:lnTo>
                <a:lnTo>
                  <a:pt x="488" y="290"/>
                </a:lnTo>
                <a:lnTo>
                  <a:pt x="473" y="285"/>
                </a:lnTo>
                <a:lnTo>
                  <a:pt x="457" y="283"/>
                </a:lnTo>
                <a:lnTo>
                  <a:pt x="441" y="282"/>
                </a:lnTo>
                <a:lnTo>
                  <a:pt x="425" y="283"/>
                </a:lnTo>
                <a:lnTo>
                  <a:pt x="409" y="285"/>
                </a:lnTo>
                <a:lnTo>
                  <a:pt x="394" y="290"/>
                </a:lnTo>
                <a:lnTo>
                  <a:pt x="379" y="295"/>
                </a:lnTo>
                <a:lnTo>
                  <a:pt x="366" y="302"/>
                </a:lnTo>
                <a:lnTo>
                  <a:pt x="352" y="310"/>
                </a:lnTo>
                <a:lnTo>
                  <a:pt x="340" y="319"/>
                </a:lnTo>
                <a:lnTo>
                  <a:pt x="329" y="329"/>
                </a:lnTo>
                <a:lnTo>
                  <a:pt x="319" y="340"/>
                </a:lnTo>
                <a:lnTo>
                  <a:pt x="310" y="352"/>
                </a:lnTo>
                <a:lnTo>
                  <a:pt x="301" y="365"/>
                </a:lnTo>
                <a:lnTo>
                  <a:pt x="295" y="379"/>
                </a:lnTo>
                <a:lnTo>
                  <a:pt x="290" y="394"/>
                </a:lnTo>
                <a:lnTo>
                  <a:pt x="286" y="410"/>
                </a:lnTo>
                <a:lnTo>
                  <a:pt x="283" y="425"/>
                </a:lnTo>
                <a:lnTo>
                  <a:pt x="283" y="441"/>
                </a:lnTo>
                <a:lnTo>
                  <a:pt x="283" y="457"/>
                </a:lnTo>
                <a:lnTo>
                  <a:pt x="286" y="473"/>
                </a:lnTo>
                <a:lnTo>
                  <a:pt x="290" y="488"/>
                </a:lnTo>
                <a:lnTo>
                  <a:pt x="295" y="503"/>
                </a:lnTo>
                <a:lnTo>
                  <a:pt x="301" y="516"/>
                </a:lnTo>
                <a:lnTo>
                  <a:pt x="310" y="529"/>
                </a:lnTo>
                <a:lnTo>
                  <a:pt x="319" y="542"/>
                </a:lnTo>
                <a:lnTo>
                  <a:pt x="329" y="553"/>
                </a:lnTo>
                <a:lnTo>
                  <a:pt x="340" y="564"/>
                </a:lnTo>
                <a:lnTo>
                  <a:pt x="352" y="573"/>
                </a:lnTo>
                <a:lnTo>
                  <a:pt x="366" y="581"/>
                </a:lnTo>
                <a:lnTo>
                  <a:pt x="379" y="588"/>
                </a:lnTo>
                <a:lnTo>
                  <a:pt x="394" y="593"/>
                </a:lnTo>
                <a:lnTo>
                  <a:pt x="409" y="596"/>
                </a:lnTo>
                <a:lnTo>
                  <a:pt x="425" y="600"/>
                </a:lnTo>
                <a:lnTo>
                  <a:pt x="441" y="600"/>
                </a:lnTo>
                <a:lnTo>
                  <a:pt x="441" y="600"/>
                </a:lnTo>
                <a:close/>
                <a:moveTo>
                  <a:pt x="494" y="36"/>
                </a:moveTo>
                <a:lnTo>
                  <a:pt x="494" y="94"/>
                </a:lnTo>
                <a:lnTo>
                  <a:pt x="494" y="121"/>
                </a:lnTo>
                <a:lnTo>
                  <a:pt x="521" y="129"/>
                </a:lnTo>
                <a:lnTo>
                  <a:pt x="542" y="135"/>
                </a:lnTo>
                <a:lnTo>
                  <a:pt x="564" y="143"/>
                </a:lnTo>
                <a:lnTo>
                  <a:pt x="585" y="152"/>
                </a:lnTo>
                <a:lnTo>
                  <a:pt x="606" y="164"/>
                </a:lnTo>
                <a:lnTo>
                  <a:pt x="629" y="178"/>
                </a:lnTo>
                <a:lnTo>
                  <a:pt x="649" y="159"/>
                </a:lnTo>
                <a:lnTo>
                  <a:pt x="690" y="117"/>
                </a:lnTo>
                <a:lnTo>
                  <a:pt x="766" y="191"/>
                </a:lnTo>
                <a:lnTo>
                  <a:pt x="723" y="236"/>
                </a:lnTo>
                <a:lnTo>
                  <a:pt x="703" y="254"/>
                </a:lnTo>
                <a:lnTo>
                  <a:pt x="716" y="278"/>
                </a:lnTo>
                <a:lnTo>
                  <a:pt x="727" y="297"/>
                </a:lnTo>
                <a:lnTo>
                  <a:pt x="736" y="318"/>
                </a:lnTo>
                <a:lnTo>
                  <a:pt x="743" y="339"/>
                </a:lnTo>
                <a:lnTo>
                  <a:pt x="750" y="361"/>
                </a:lnTo>
                <a:lnTo>
                  <a:pt x="756" y="388"/>
                </a:lnTo>
                <a:lnTo>
                  <a:pt x="784" y="388"/>
                </a:lnTo>
                <a:lnTo>
                  <a:pt x="847" y="388"/>
                </a:lnTo>
                <a:lnTo>
                  <a:pt x="847" y="494"/>
                </a:lnTo>
                <a:lnTo>
                  <a:pt x="781" y="494"/>
                </a:lnTo>
                <a:lnTo>
                  <a:pt x="754" y="494"/>
                </a:lnTo>
                <a:lnTo>
                  <a:pt x="746" y="520"/>
                </a:lnTo>
                <a:lnTo>
                  <a:pt x="740" y="540"/>
                </a:lnTo>
                <a:lnTo>
                  <a:pt x="732" y="561"/>
                </a:lnTo>
                <a:lnTo>
                  <a:pt x="724" y="580"/>
                </a:lnTo>
                <a:lnTo>
                  <a:pt x="713" y="600"/>
                </a:lnTo>
                <a:lnTo>
                  <a:pt x="698" y="623"/>
                </a:lnTo>
                <a:lnTo>
                  <a:pt x="717" y="643"/>
                </a:lnTo>
                <a:lnTo>
                  <a:pt x="766" y="690"/>
                </a:lnTo>
                <a:lnTo>
                  <a:pt x="690" y="766"/>
                </a:lnTo>
                <a:lnTo>
                  <a:pt x="642" y="716"/>
                </a:lnTo>
                <a:lnTo>
                  <a:pt x="622" y="697"/>
                </a:lnTo>
                <a:lnTo>
                  <a:pt x="600" y="711"/>
                </a:lnTo>
                <a:lnTo>
                  <a:pt x="580" y="721"/>
                </a:lnTo>
                <a:lnTo>
                  <a:pt x="561" y="729"/>
                </a:lnTo>
                <a:lnTo>
                  <a:pt x="541" y="737"/>
                </a:lnTo>
                <a:lnTo>
                  <a:pt x="521" y="742"/>
                </a:lnTo>
                <a:lnTo>
                  <a:pt x="494" y="749"/>
                </a:lnTo>
                <a:lnTo>
                  <a:pt x="494" y="777"/>
                </a:lnTo>
                <a:lnTo>
                  <a:pt x="494" y="847"/>
                </a:lnTo>
                <a:lnTo>
                  <a:pt x="389" y="847"/>
                </a:lnTo>
                <a:lnTo>
                  <a:pt x="389" y="777"/>
                </a:lnTo>
                <a:lnTo>
                  <a:pt x="389" y="749"/>
                </a:lnTo>
                <a:lnTo>
                  <a:pt x="362" y="742"/>
                </a:lnTo>
                <a:lnTo>
                  <a:pt x="341" y="737"/>
                </a:lnTo>
                <a:lnTo>
                  <a:pt x="322" y="729"/>
                </a:lnTo>
                <a:lnTo>
                  <a:pt x="302" y="721"/>
                </a:lnTo>
                <a:lnTo>
                  <a:pt x="283" y="711"/>
                </a:lnTo>
                <a:lnTo>
                  <a:pt x="260" y="697"/>
                </a:lnTo>
                <a:lnTo>
                  <a:pt x="241" y="716"/>
                </a:lnTo>
                <a:lnTo>
                  <a:pt x="192" y="766"/>
                </a:lnTo>
                <a:lnTo>
                  <a:pt x="117" y="690"/>
                </a:lnTo>
                <a:lnTo>
                  <a:pt x="165" y="643"/>
                </a:lnTo>
                <a:lnTo>
                  <a:pt x="185" y="623"/>
                </a:lnTo>
                <a:lnTo>
                  <a:pt x="170" y="600"/>
                </a:lnTo>
                <a:lnTo>
                  <a:pt x="159" y="580"/>
                </a:lnTo>
                <a:lnTo>
                  <a:pt x="150" y="561"/>
                </a:lnTo>
                <a:lnTo>
                  <a:pt x="143" y="540"/>
                </a:lnTo>
                <a:lnTo>
                  <a:pt x="135" y="520"/>
                </a:lnTo>
                <a:lnTo>
                  <a:pt x="129" y="494"/>
                </a:lnTo>
                <a:lnTo>
                  <a:pt x="102" y="494"/>
                </a:lnTo>
                <a:lnTo>
                  <a:pt x="36" y="494"/>
                </a:lnTo>
                <a:lnTo>
                  <a:pt x="36" y="388"/>
                </a:lnTo>
                <a:lnTo>
                  <a:pt x="98" y="388"/>
                </a:lnTo>
                <a:lnTo>
                  <a:pt x="126" y="388"/>
                </a:lnTo>
                <a:lnTo>
                  <a:pt x="133" y="361"/>
                </a:lnTo>
                <a:lnTo>
                  <a:pt x="139" y="339"/>
                </a:lnTo>
                <a:lnTo>
                  <a:pt x="147" y="318"/>
                </a:lnTo>
                <a:lnTo>
                  <a:pt x="156" y="297"/>
                </a:lnTo>
                <a:lnTo>
                  <a:pt x="166" y="278"/>
                </a:lnTo>
                <a:lnTo>
                  <a:pt x="179" y="254"/>
                </a:lnTo>
                <a:lnTo>
                  <a:pt x="160" y="236"/>
                </a:lnTo>
                <a:lnTo>
                  <a:pt x="117" y="191"/>
                </a:lnTo>
                <a:lnTo>
                  <a:pt x="192" y="117"/>
                </a:lnTo>
                <a:lnTo>
                  <a:pt x="233" y="159"/>
                </a:lnTo>
                <a:lnTo>
                  <a:pt x="254" y="178"/>
                </a:lnTo>
                <a:lnTo>
                  <a:pt x="277" y="164"/>
                </a:lnTo>
                <a:lnTo>
                  <a:pt x="297" y="152"/>
                </a:lnTo>
                <a:lnTo>
                  <a:pt x="318" y="143"/>
                </a:lnTo>
                <a:lnTo>
                  <a:pt x="339" y="135"/>
                </a:lnTo>
                <a:lnTo>
                  <a:pt x="362" y="129"/>
                </a:lnTo>
                <a:lnTo>
                  <a:pt x="389" y="121"/>
                </a:lnTo>
                <a:lnTo>
                  <a:pt x="389" y="94"/>
                </a:lnTo>
                <a:lnTo>
                  <a:pt x="389" y="36"/>
                </a:lnTo>
                <a:lnTo>
                  <a:pt x="494" y="36"/>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76"/>
          <p:cNvSpPr>
            <a:spLocks noEditPoints="1"/>
          </p:cNvSpPr>
          <p:nvPr/>
        </p:nvSpPr>
        <p:spPr bwMode="auto">
          <a:xfrm>
            <a:off x="1971242" y="3665621"/>
            <a:ext cx="440832" cy="414176"/>
          </a:xfrm>
          <a:custGeom>
            <a:avLst/>
            <a:gdLst>
              <a:gd name="T0" fmla="*/ 773 w 860"/>
              <a:gd name="T1" fmla="*/ 591 h 809"/>
              <a:gd name="T2" fmla="*/ 791 w 860"/>
              <a:gd name="T3" fmla="*/ 616 h 809"/>
              <a:gd name="T4" fmla="*/ 787 w 860"/>
              <a:gd name="T5" fmla="*/ 651 h 809"/>
              <a:gd name="T6" fmla="*/ 768 w 860"/>
              <a:gd name="T7" fmla="*/ 665 h 809"/>
              <a:gd name="T8" fmla="*/ 740 w 860"/>
              <a:gd name="T9" fmla="*/ 700 h 809"/>
              <a:gd name="T10" fmla="*/ 758 w 860"/>
              <a:gd name="T11" fmla="*/ 729 h 809"/>
              <a:gd name="T12" fmla="*/ 754 w 860"/>
              <a:gd name="T13" fmla="*/ 756 h 809"/>
              <a:gd name="T14" fmla="*/ 732 w 860"/>
              <a:gd name="T15" fmla="*/ 773 h 809"/>
              <a:gd name="T16" fmla="*/ 296 w 860"/>
              <a:gd name="T17" fmla="*/ 775 h 809"/>
              <a:gd name="T18" fmla="*/ 249 w 860"/>
              <a:gd name="T19" fmla="*/ 752 h 809"/>
              <a:gd name="T20" fmla="*/ 219 w 860"/>
              <a:gd name="T21" fmla="*/ 445 h 809"/>
              <a:gd name="T22" fmla="*/ 354 w 860"/>
              <a:gd name="T23" fmla="*/ 289 h 809"/>
              <a:gd name="T24" fmla="*/ 410 w 860"/>
              <a:gd name="T25" fmla="*/ 215 h 809"/>
              <a:gd name="T26" fmla="*/ 421 w 860"/>
              <a:gd name="T27" fmla="*/ 79 h 809"/>
              <a:gd name="T28" fmla="*/ 441 w 860"/>
              <a:gd name="T29" fmla="*/ 40 h 809"/>
              <a:gd name="T30" fmla="*/ 478 w 860"/>
              <a:gd name="T31" fmla="*/ 36 h 809"/>
              <a:gd name="T32" fmla="*/ 504 w 860"/>
              <a:gd name="T33" fmla="*/ 68 h 809"/>
              <a:gd name="T34" fmla="*/ 496 w 860"/>
              <a:gd name="T35" fmla="*/ 302 h 809"/>
              <a:gd name="T36" fmla="*/ 792 w 860"/>
              <a:gd name="T37" fmla="*/ 342 h 809"/>
              <a:gd name="T38" fmla="*/ 813 w 860"/>
              <a:gd name="T39" fmla="*/ 357 h 809"/>
              <a:gd name="T40" fmla="*/ 825 w 860"/>
              <a:gd name="T41" fmla="*/ 381 h 809"/>
              <a:gd name="T42" fmla="*/ 819 w 860"/>
              <a:gd name="T43" fmla="*/ 420 h 809"/>
              <a:gd name="T44" fmla="*/ 787 w 860"/>
              <a:gd name="T45" fmla="*/ 439 h 809"/>
              <a:gd name="T46" fmla="*/ 793 w 860"/>
              <a:gd name="T47" fmla="*/ 471 h 809"/>
              <a:gd name="T48" fmla="*/ 811 w 860"/>
              <a:gd name="T49" fmla="*/ 477 h 809"/>
              <a:gd name="T50" fmla="*/ 826 w 860"/>
              <a:gd name="T51" fmla="*/ 505 h 809"/>
              <a:gd name="T52" fmla="*/ 818 w 860"/>
              <a:gd name="T53" fmla="*/ 541 h 809"/>
              <a:gd name="T54" fmla="*/ 33 w 860"/>
              <a:gd name="T55" fmla="*/ 776 h 809"/>
              <a:gd name="T56" fmla="*/ 186 w 860"/>
              <a:gd name="T57" fmla="*/ 728 h 809"/>
              <a:gd name="T58" fmla="*/ 846 w 860"/>
              <a:gd name="T59" fmla="*/ 442 h 809"/>
              <a:gd name="T60" fmla="*/ 860 w 860"/>
              <a:gd name="T61" fmla="*/ 402 h 809"/>
              <a:gd name="T62" fmla="*/ 853 w 860"/>
              <a:gd name="T63" fmla="*/ 357 h 809"/>
              <a:gd name="T64" fmla="*/ 827 w 860"/>
              <a:gd name="T65" fmla="*/ 323 h 809"/>
              <a:gd name="T66" fmla="*/ 786 w 860"/>
              <a:gd name="T67" fmla="*/ 305 h 809"/>
              <a:gd name="T68" fmla="*/ 537 w 860"/>
              <a:gd name="T69" fmla="*/ 288 h 809"/>
              <a:gd name="T70" fmla="*/ 538 w 860"/>
              <a:gd name="T71" fmla="*/ 61 h 809"/>
              <a:gd name="T72" fmla="*/ 520 w 860"/>
              <a:gd name="T73" fmla="*/ 25 h 809"/>
              <a:gd name="T74" fmla="*/ 491 w 860"/>
              <a:gd name="T75" fmla="*/ 5 h 809"/>
              <a:gd name="T76" fmla="*/ 457 w 860"/>
              <a:gd name="T77" fmla="*/ 0 h 809"/>
              <a:gd name="T78" fmla="*/ 423 w 860"/>
              <a:gd name="T79" fmla="*/ 11 h 809"/>
              <a:gd name="T80" fmla="*/ 397 w 860"/>
              <a:gd name="T81" fmla="*/ 38 h 809"/>
              <a:gd name="T82" fmla="*/ 388 w 860"/>
              <a:gd name="T83" fmla="*/ 79 h 809"/>
              <a:gd name="T84" fmla="*/ 380 w 860"/>
              <a:gd name="T85" fmla="*/ 199 h 809"/>
              <a:gd name="T86" fmla="*/ 339 w 860"/>
              <a:gd name="T87" fmla="*/ 254 h 809"/>
              <a:gd name="T88" fmla="*/ 219 w 860"/>
              <a:gd name="T89" fmla="*/ 396 h 809"/>
              <a:gd name="T90" fmla="*/ 219 w 860"/>
              <a:gd name="T91" fmla="*/ 769 h 809"/>
              <a:gd name="T92" fmla="*/ 267 w 860"/>
              <a:gd name="T93" fmla="*/ 802 h 809"/>
              <a:gd name="T94" fmla="*/ 717 w 860"/>
              <a:gd name="T95" fmla="*/ 809 h 809"/>
              <a:gd name="T96" fmla="*/ 757 w 860"/>
              <a:gd name="T97" fmla="*/ 797 h 809"/>
              <a:gd name="T98" fmla="*/ 783 w 860"/>
              <a:gd name="T99" fmla="*/ 773 h 809"/>
              <a:gd name="T100" fmla="*/ 793 w 860"/>
              <a:gd name="T101" fmla="*/ 735 h 809"/>
              <a:gd name="T102" fmla="*/ 792 w 860"/>
              <a:gd name="T103" fmla="*/ 692 h 809"/>
              <a:gd name="T104" fmla="*/ 823 w 860"/>
              <a:gd name="T105" fmla="*/ 653 h 809"/>
              <a:gd name="T106" fmla="*/ 820 w 860"/>
              <a:gd name="T107" fmla="*/ 597 h 809"/>
              <a:gd name="T108" fmla="*/ 848 w 860"/>
              <a:gd name="T109" fmla="*/ 557 h 809"/>
              <a:gd name="T110" fmla="*/ 859 w 860"/>
              <a:gd name="T111" fmla="*/ 496 h 809"/>
              <a:gd name="T112" fmla="*/ 845 w 860"/>
              <a:gd name="T113" fmla="*/ 462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60" h="809">
                <a:moveTo>
                  <a:pt x="793" y="557"/>
                </a:moveTo>
                <a:lnTo>
                  <a:pt x="716" y="557"/>
                </a:lnTo>
                <a:lnTo>
                  <a:pt x="716" y="590"/>
                </a:lnTo>
                <a:lnTo>
                  <a:pt x="768" y="590"/>
                </a:lnTo>
                <a:lnTo>
                  <a:pt x="773" y="591"/>
                </a:lnTo>
                <a:lnTo>
                  <a:pt x="778" y="594"/>
                </a:lnTo>
                <a:lnTo>
                  <a:pt x="782" y="598"/>
                </a:lnTo>
                <a:lnTo>
                  <a:pt x="785" y="603"/>
                </a:lnTo>
                <a:lnTo>
                  <a:pt x="788" y="609"/>
                </a:lnTo>
                <a:lnTo>
                  <a:pt x="791" y="616"/>
                </a:lnTo>
                <a:lnTo>
                  <a:pt x="792" y="624"/>
                </a:lnTo>
                <a:lnTo>
                  <a:pt x="793" y="631"/>
                </a:lnTo>
                <a:lnTo>
                  <a:pt x="792" y="638"/>
                </a:lnTo>
                <a:lnTo>
                  <a:pt x="791" y="644"/>
                </a:lnTo>
                <a:lnTo>
                  <a:pt x="787" y="651"/>
                </a:lnTo>
                <a:lnTo>
                  <a:pt x="784" y="655"/>
                </a:lnTo>
                <a:lnTo>
                  <a:pt x="781" y="659"/>
                </a:lnTo>
                <a:lnTo>
                  <a:pt x="776" y="662"/>
                </a:lnTo>
                <a:lnTo>
                  <a:pt x="772" y="663"/>
                </a:lnTo>
                <a:lnTo>
                  <a:pt x="768" y="665"/>
                </a:lnTo>
                <a:lnTo>
                  <a:pt x="681" y="665"/>
                </a:lnTo>
                <a:lnTo>
                  <a:pt x="681" y="698"/>
                </a:lnTo>
                <a:lnTo>
                  <a:pt x="730" y="698"/>
                </a:lnTo>
                <a:lnTo>
                  <a:pt x="735" y="698"/>
                </a:lnTo>
                <a:lnTo>
                  <a:pt x="740" y="700"/>
                </a:lnTo>
                <a:lnTo>
                  <a:pt x="743" y="701"/>
                </a:lnTo>
                <a:lnTo>
                  <a:pt x="746" y="703"/>
                </a:lnTo>
                <a:lnTo>
                  <a:pt x="752" y="710"/>
                </a:lnTo>
                <a:lnTo>
                  <a:pt x="755" y="716"/>
                </a:lnTo>
                <a:lnTo>
                  <a:pt x="758" y="729"/>
                </a:lnTo>
                <a:lnTo>
                  <a:pt x="759" y="735"/>
                </a:lnTo>
                <a:lnTo>
                  <a:pt x="758" y="741"/>
                </a:lnTo>
                <a:lnTo>
                  <a:pt x="757" y="747"/>
                </a:lnTo>
                <a:lnTo>
                  <a:pt x="756" y="752"/>
                </a:lnTo>
                <a:lnTo>
                  <a:pt x="754" y="756"/>
                </a:lnTo>
                <a:lnTo>
                  <a:pt x="751" y="761"/>
                </a:lnTo>
                <a:lnTo>
                  <a:pt x="747" y="764"/>
                </a:lnTo>
                <a:lnTo>
                  <a:pt x="744" y="766"/>
                </a:lnTo>
                <a:lnTo>
                  <a:pt x="741" y="768"/>
                </a:lnTo>
                <a:lnTo>
                  <a:pt x="732" y="773"/>
                </a:lnTo>
                <a:lnTo>
                  <a:pt x="724" y="775"/>
                </a:lnTo>
                <a:lnTo>
                  <a:pt x="716" y="776"/>
                </a:lnTo>
                <a:lnTo>
                  <a:pt x="708" y="776"/>
                </a:lnTo>
                <a:lnTo>
                  <a:pt x="303" y="776"/>
                </a:lnTo>
                <a:lnTo>
                  <a:pt x="296" y="775"/>
                </a:lnTo>
                <a:lnTo>
                  <a:pt x="288" y="774"/>
                </a:lnTo>
                <a:lnTo>
                  <a:pt x="281" y="771"/>
                </a:lnTo>
                <a:lnTo>
                  <a:pt x="274" y="768"/>
                </a:lnTo>
                <a:lnTo>
                  <a:pt x="261" y="761"/>
                </a:lnTo>
                <a:lnTo>
                  <a:pt x="249" y="752"/>
                </a:lnTo>
                <a:lnTo>
                  <a:pt x="239" y="742"/>
                </a:lnTo>
                <a:lnTo>
                  <a:pt x="230" y="733"/>
                </a:lnTo>
                <a:lnTo>
                  <a:pt x="223" y="724"/>
                </a:lnTo>
                <a:lnTo>
                  <a:pt x="219" y="717"/>
                </a:lnTo>
                <a:lnTo>
                  <a:pt x="219" y="445"/>
                </a:lnTo>
                <a:lnTo>
                  <a:pt x="243" y="419"/>
                </a:lnTo>
                <a:lnTo>
                  <a:pt x="271" y="388"/>
                </a:lnTo>
                <a:lnTo>
                  <a:pt x="300" y="355"/>
                </a:lnTo>
                <a:lnTo>
                  <a:pt x="328" y="320"/>
                </a:lnTo>
                <a:lnTo>
                  <a:pt x="354" y="289"/>
                </a:lnTo>
                <a:lnTo>
                  <a:pt x="376" y="262"/>
                </a:lnTo>
                <a:lnTo>
                  <a:pt x="391" y="243"/>
                </a:lnTo>
                <a:lnTo>
                  <a:pt x="398" y="235"/>
                </a:lnTo>
                <a:lnTo>
                  <a:pt x="402" y="229"/>
                </a:lnTo>
                <a:lnTo>
                  <a:pt x="410" y="215"/>
                </a:lnTo>
                <a:lnTo>
                  <a:pt x="415" y="204"/>
                </a:lnTo>
                <a:lnTo>
                  <a:pt x="418" y="193"/>
                </a:lnTo>
                <a:lnTo>
                  <a:pt x="420" y="180"/>
                </a:lnTo>
                <a:lnTo>
                  <a:pt x="421" y="165"/>
                </a:lnTo>
                <a:lnTo>
                  <a:pt x="421" y="79"/>
                </a:lnTo>
                <a:lnTo>
                  <a:pt x="422" y="68"/>
                </a:lnTo>
                <a:lnTo>
                  <a:pt x="425" y="59"/>
                </a:lnTo>
                <a:lnTo>
                  <a:pt x="429" y="51"/>
                </a:lnTo>
                <a:lnTo>
                  <a:pt x="434" y="45"/>
                </a:lnTo>
                <a:lnTo>
                  <a:pt x="441" y="40"/>
                </a:lnTo>
                <a:lnTo>
                  <a:pt x="448" y="36"/>
                </a:lnTo>
                <a:lnTo>
                  <a:pt x="456" y="35"/>
                </a:lnTo>
                <a:lnTo>
                  <a:pt x="463" y="34"/>
                </a:lnTo>
                <a:lnTo>
                  <a:pt x="471" y="35"/>
                </a:lnTo>
                <a:lnTo>
                  <a:pt x="478" y="36"/>
                </a:lnTo>
                <a:lnTo>
                  <a:pt x="486" y="40"/>
                </a:lnTo>
                <a:lnTo>
                  <a:pt x="492" y="45"/>
                </a:lnTo>
                <a:lnTo>
                  <a:pt x="498" y="51"/>
                </a:lnTo>
                <a:lnTo>
                  <a:pt x="502" y="59"/>
                </a:lnTo>
                <a:lnTo>
                  <a:pt x="504" y="68"/>
                </a:lnTo>
                <a:lnTo>
                  <a:pt x="505" y="79"/>
                </a:lnTo>
                <a:lnTo>
                  <a:pt x="505" y="273"/>
                </a:lnTo>
                <a:lnTo>
                  <a:pt x="504" y="280"/>
                </a:lnTo>
                <a:lnTo>
                  <a:pt x="501" y="291"/>
                </a:lnTo>
                <a:lnTo>
                  <a:pt x="496" y="302"/>
                </a:lnTo>
                <a:lnTo>
                  <a:pt x="490" y="312"/>
                </a:lnTo>
                <a:lnTo>
                  <a:pt x="477" y="337"/>
                </a:lnTo>
                <a:lnTo>
                  <a:pt x="768" y="337"/>
                </a:lnTo>
                <a:lnTo>
                  <a:pt x="780" y="338"/>
                </a:lnTo>
                <a:lnTo>
                  <a:pt x="792" y="342"/>
                </a:lnTo>
                <a:lnTo>
                  <a:pt x="797" y="344"/>
                </a:lnTo>
                <a:lnTo>
                  <a:pt x="801" y="346"/>
                </a:lnTo>
                <a:lnTo>
                  <a:pt x="806" y="349"/>
                </a:lnTo>
                <a:lnTo>
                  <a:pt x="810" y="352"/>
                </a:lnTo>
                <a:lnTo>
                  <a:pt x="813" y="357"/>
                </a:lnTo>
                <a:lnTo>
                  <a:pt x="816" y="361"/>
                </a:lnTo>
                <a:lnTo>
                  <a:pt x="820" y="365"/>
                </a:lnTo>
                <a:lnTo>
                  <a:pt x="822" y="370"/>
                </a:lnTo>
                <a:lnTo>
                  <a:pt x="824" y="375"/>
                </a:lnTo>
                <a:lnTo>
                  <a:pt x="825" y="381"/>
                </a:lnTo>
                <a:lnTo>
                  <a:pt x="826" y="386"/>
                </a:lnTo>
                <a:lnTo>
                  <a:pt x="826" y="392"/>
                </a:lnTo>
                <a:lnTo>
                  <a:pt x="825" y="403"/>
                </a:lnTo>
                <a:lnTo>
                  <a:pt x="823" y="413"/>
                </a:lnTo>
                <a:lnTo>
                  <a:pt x="819" y="420"/>
                </a:lnTo>
                <a:lnTo>
                  <a:pt x="814" y="427"/>
                </a:lnTo>
                <a:lnTo>
                  <a:pt x="808" y="432"/>
                </a:lnTo>
                <a:lnTo>
                  <a:pt x="801" y="436"/>
                </a:lnTo>
                <a:lnTo>
                  <a:pt x="795" y="438"/>
                </a:lnTo>
                <a:lnTo>
                  <a:pt x="787" y="439"/>
                </a:lnTo>
                <a:lnTo>
                  <a:pt x="716" y="439"/>
                </a:lnTo>
                <a:lnTo>
                  <a:pt x="716" y="472"/>
                </a:lnTo>
                <a:lnTo>
                  <a:pt x="787" y="472"/>
                </a:lnTo>
                <a:lnTo>
                  <a:pt x="791" y="472"/>
                </a:lnTo>
                <a:lnTo>
                  <a:pt x="793" y="471"/>
                </a:lnTo>
                <a:lnTo>
                  <a:pt x="793" y="472"/>
                </a:lnTo>
                <a:lnTo>
                  <a:pt x="798" y="472"/>
                </a:lnTo>
                <a:lnTo>
                  <a:pt x="803" y="473"/>
                </a:lnTo>
                <a:lnTo>
                  <a:pt x="807" y="474"/>
                </a:lnTo>
                <a:lnTo>
                  <a:pt x="811" y="477"/>
                </a:lnTo>
                <a:lnTo>
                  <a:pt x="816" y="481"/>
                </a:lnTo>
                <a:lnTo>
                  <a:pt x="821" y="486"/>
                </a:lnTo>
                <a:lnTo>
                  <a:pt x="824" y="493"/>
                </a:lnTo>
                <a:lnTo>
                  <a:pt x="825" y="499"/>
                </a:lnTo>
                <a:lnTo>
                  <a:pt x="826" y="505"/>
                </a:lnTo>
                <a:lnTo>
                  <a:pt x="826" y="510"/>
                </a:lnTo>
                <a:lnTo>
                  <a:pt x="825" y="519"/>
                </a:lnTo>
                <a:lnTo>
                  <a:pt x="824" y="526"/>
                </a:lnTo>
                <a:lnTo>
                  <a:pt x="821" y="535"/>
                </a:lnTo>
                <a:lnTo>
                  <a:pt x="818" y="541"/>
                </a:lnTo>
                <a:lnTo>
                  <a:pt x="812" y="548"/>
                </a:lnTo>
                <a:lnTo>
                  <a:pt x="807" y="552"/>
                </a:lnTo>
                <a:lnTo>
                  <a:pt x="800" y="555"/>
                </a:lnTo>
                <a:lnTo>
                  <a:pt x="793" y="557"/>
                </a:lnTo>
                <a:close/>
                <a:moveTo>
                  <a:pt x="33" y="776"/>
                </a:moveTo>
                <a:lnTo>
                  <a:pt x="33" y="405"/>
                </a:lnTo>
                <a:lnTo>
                  <a:pt x="186" y="405"/>
                </a:lnTo>
                <a:lnTo>
                  <a:pt x="186" y="721"/>
                </a:lnTo>
                <a:lnTo>
                  <a:pt x="183" y="725"/>
                </a:lnTo>
                <a:lnTo>
                  <a:pt x="186" y="728"/>
                </a:lnTo>
                <a:lnTo>
                  <a:pt x="186" y="776"/>
                </a:lnTo>
                <a:lnTo>
                  <a:pt x="33" y="776"/>
                </a:lnTo>
                <a:close/>
                <a:moveTo>
                  <a:pt x="836" y="453"/>
                </a:moveTo>
                <a:lnTo>
                  <a:pt x="841" y="447"/>
                </a:lnTo>
                <a:lnTo>
                  <a:pt x="846" y="442"/>
                </a:lnTo>
                <a:lnTo>
                  <a:pt x="850" y="435"/>
                </a:lnTo>
                <a:lnTo>
                  <a:pt x="853" y="428"/>
                </a:lnTo>
                <a:lnTo>
                  <a:pt x="856" y="419"/>
                </a:lnTo>
                <a:lnTo>
                  <a:pt x="859" y="411"/>
                </a:lnTo>
                <a:lnTo>
                  <a:pt x="860" y="402"/>
                </a:lnTo>
                <a:lnTo>
                  <a:pt x="860" y="392"/>
                </a:lnTo>
                <a:lnTo>
                  <a:pt x="860" y="383"/>
                </a:lnTo>
                <a:lnTo>
                  <a:pt x="858" y="374"/>
                </a:lnTo>
                <a:lnTo>
                  <a:pt x="855" y="365"/>
                </a:lnTo>
                <a:lnTo>
                  <a:pt x="853" y="357"/>
                </a:lnTo>
                <a:lnTo>
                  <a:pt x="849" y="349"/>
                </a:lnTo>
                <a:lnTo>
                  <a:pt x="845" y="342"/>
                </a:lnTo>
                <a:lnTo>
                  <a:pt x="839" y="335"/>
                </a:lnTo>
                <a:lnTo>
                  <a:pt x="834" y="329"/>
                </a:lnTo>
                <a:lnTo>
                  <a:pt x="827" y="323"/>
                </a:lnTo>
                <a:lnTo>
                  <a:pt x="820" y="318"/>
                </a:lnTo>
                <a:lnTo>
                  <a:pt x="812" y="314"/>
                </a:lnTo>
                <a:lnTo>
                  <a:pt x="805" y="310"/>
                </a:lnTo>
                <a:lnTo>
                  <a:pt x="796" y="307"/>
                </a:lnTo>
                <a:lnTo>
                  <a:pt x="786" y="305"/>
                </a:lnTo>
                <a:lnTo>
                  <a:pt x="778" y="304"/>
                </a:lnTo>
                <a:lnTo>
                  <a:pt x="768" y="304"/>
                </a:lnTo>
                <a:lnTo>
                  <a:pt x="532" y="304"/>
                </a:lnTo>
                <a:lnTo>
                  <a:pt x="535" y="296"/>
                </a:lnTo>
                <a:lnTo>
                  <a:pt x="537" y="288"/>
                </a:lnTo>
                <a:lnTo>
                  <a:pt x="539" y="280"/>
                </a:lnTo>
                <a:lnTo>
                  <a:pt x="540" y="273"/>
                </a:lnTo>
                <a:lnTo>
                  <a:pt x="540" y="79"/>
                </a:lnTo>
                <a:lnTo>
                  <a:pt x="539" y="69"/>
                </a:lnTo>
                <a:lnTo>
                  <a:pt x="538" y="61"/>
                </a:lnTo>
                <a:lnTo>
                  <a:pt x="536" y="52"/>
                </a:lnTo>
                <a:lnTo>
                  <a:pt x="532" y="45"/>
                </a:lnTo>
                <a:lnTo>
                  <a:pt x="529" y="38"/>
                </a:lnTo>
                <a:lnTo>
                  <a:pt x="526" y="32"/>
                </a:lnTo>
                <a:lnTo>
                  <a:pt x="520" y="25"/>
                </a:lnTo>
                <a:lnTo>
                  <a:pt x="515" y="20"/>
                </a:lnTo>
                <a:lnTo>
                  <a:pt x="510" y="15"/>
                </a:lnTo>
                <a:lnTo>
                  <a:pt x="504" y="11"/>
                </a:lnTo>
                <a:lnTo>
                  <a:pt x="498" y="8"/>
                </a:lnTo>
                <a:lnTo>
                  <a:pt x="491" y="5"/>
                </a:lnTo>
                <a:lnTo>
                  <a:pt x="485" y="3"/>
                </a:lnTo>
                <a:lnTo>
                  <a:pt x="477" y="1"/>
                </a:lnTo>
                <a:lnTo>
                  <a:pt x="471" y="0"/>
                </a:lnTo>
                <a:lnTo>
                  <a:pt x="463" y="0"/>
                </a:lnTo>
                <a:lnTo>
                  <a:pt x="457" y="0"/>
                </a:lnTo>
                <a:lnTo>
                  <a:pt x="449" y="1"/>
                </a:lnTo>
                <a:lnTo>
                  <a:pt x="443" y="3"/>
                </a:lnTo>
                <a:lnTo>
                  <a:pt x="435" y="5"/>
                </a:lnTo>
                <a:lnTo>
                  <a:pt x="429" y="8"/>
                </a:lnTo>
                <a:lnTo>
                  <a:pt x="423" y="11"/>
                </a:lnTo>
                <a:lnTo>
                  <a:pt x="417" y="15"/>
                </a:lnTo>
                <a:lnTo>
                  <a:pt x="411" y="20"/>
                </a:lnTo>
                <a:lnTo>
                  <a:pt x="406" y="25"/>
                </a:lnTo>
                <a:lnTo>
                  <a:pt x="402" y="32"/>
                </a:lnTo>
                <a:lnTo>
                  <a:pt x="397" y="38"/>
                </a:lnTo>
                <a:lnTo>
                  <a:pt x="394" y="45"/>
                </a:lnTo>
                <a:lnTo>
                  <a:pt x="392" y="52"/>
                </a:lnTo>
                <a:lnTo>
                  <a:pt x="390" y="61"/>
                </a:lnTo>
                <a:lnTo>
                  <a:pt x="388" y="69"/>
                </a:lnTo>
                <a:lnTo>
                  <a:pt x="388" y="79"/>
                </a:lnTo>
                <a:lnTo>
                  <a:pt x="388" y="165"/>
                </a:lnTo>
                <a:lnTo>
                  <a:pt x="387" y="174"/>
                </a:lnTo>
                <a:lnTo>
                  <a:pt x="385" y="184"/>
                </a:lnTo>
                <a:lnTo>
                  <a:pt x="383" y="193"/>
                </a:lnTo>
                <a:lnTo>
                  <a:pt x="380" y="199"/>
                </a:lnTo>
                <a:lnTo>
                  <a:pt x="375" y="209"/>
                </a:lnTo>
                <a:lnTo>
                  <a:pt x="372" y="213"/>
                </a:lnTo>
                <a:lnTo>
                  <a:pt x="367" y="219"/>
                </a:lnTo>
                <a:lnTo>
                  <a:pt x="356" y="233"/>
                </a:lnTo>
                <a:lnTo>
                  <a:pt x="339" y="254"/>
                </a:lnTo>
                <a:lnTo>
                  <a:pt x="317" y="280"/>
                </a:lnTo>
                <a:lnTo>
                  <a:pt x="294" y="308"/>
                </a:lnTo>
                <a:lnTo>
                  <a:pt x="269" y="339"/>
                </a:lnTo>
                <a:lnTo>
                  <a:pt x="243" y="369"/>
                </a:lnTo>
                <a:lnTo>
                  <a:pt x="219" y="396"/>
                </a:lnTo>
                <a:lnTo>
                  <a:pt x="219" y="371"/>
                </a:lnTo>
                <a:lnTo>
                  <a:pt x="0" y="371"/>
                </a:lnTo>
                <a:lnTo>
                  <a:pt x="0" y="809"/>
                </a:lnTo>
                <a:lnTo>
                  <a:pt x="219" y="809"/>
                </a:lnTo>
                <a:lnTo>
                  <a:pt x="219" y="769"/>
                </a:lnTo>
                <a:lnTo>
                  <a:pt x="227" y="777"/>
                </a:lnTo>
                <a:lnTo>
                  <a:pt x="236" y="784"/>
                </a:lnTo>
                <a:lnTo>
                  <a:pt x="245" y="791"/>
                </a:lnTo>
                <a:lnTo>
                  <a:pt x="256" y="797"/>
                </a:lnTo>
                <a:lnTo>
                  <a:pt x="267" y="802"/>
                </a:lnTo>
                <a:lnTo>
                  <a:pt x="278" y="806"/>
                </a:lnTo>
                <a:lnTo>
                  <a:pt x="290" y="808"/>
                </a:lnTo>
                <a:lnTo>
                  <a:pt x="303" y="809"/>
                </a:lnTo>
                <a:lnTo>
                  <a:pt x="708" y="809"/>
                </a:lnTo>
                <a:lnTo>
                  <a:pt x="717" y="809"/>
                </a:lnTo>
                <a:lnTo>
                  <a:pt x="727" y="808"/>
                </a:lnTo>
                <a:lnTo>
                  <a:pt x="734" y="806"/>
                </a:lnTo>
                <a:lnTo>
                  <a:pt x="743" y="804"/>
                </a:lnTo>
                <a:lnTo>
                  <a:pt x="751" y="802"/>
                </a:lnTo>
                <a:lnTo>
                  <a:pt x="757" y="797"/>
                </a:lnTo>
                <a:lnTo>
                  <a:pt x="764" y="794"/>
                </a:lnTo>
                <a:lnTo>
                  <a:pt x="769" y="789"/>
                </a:lnTo>
                <a:lnTo>
                  <a:pt x="774" y="784"/>
                </a:lnTo>
                <a:lnTo>
                  <a:pt x="780" y="778"/>
                </a:lnTo>
                <a:lnTo>
                  <a:pt x="783" y="773"/>
                </a:lnTo>
                <a:lnTo>
                  <a:pt x="786" y="766"/>
                </a:lnTo>
                <a:lnTo>
                  <a:pt x="789" y="759"/>
                </a:lnTo>
                <a:lnTo>
                  <a:pt x="791" y="751"/>
                </a:lnTo>
                <a:lnTo>
                  <a:pt x="792" y="743"/>
                </a:lnTo>
                <a:lnTo>
                  <a:pt x="793" y="735"/>
                </a:lnTo>
                <a:lnTo>
                  <a:pt x="792" y="725"/>
                </a:lnTo>
                <a:lnTo>
                  <a:pt x="789" y="714"/>
                </a:lnTo>
                <a:lnTo>
                  <a:pt x="787" y="705"/>
                </a:lnTo>
                <a:lnTo>
                  <a:pt x="783" y="696"/>
                </a:lnTo>
                <a:lnTo>
                  <a:pt x="792" y="692"/>
                </a:lnTo>
                <a:lnTo>
                  <a:pt x="800" y="686"/>
                </a:lnTo>
                <a:lnTo>
                  <a:pt x="808" y="680"/>
                </a:lnTo>
                <a:lnTo>
                  <a:pt x="813" y="672"/>
                </a:lnTo>
                <a:lnTo>
                  <a:pt x="819" y="662"/>
                </a:lnTo>
                <a:lnTo>
                  <a:pt x="823" y="653"/>
                </a:lnTo>
                <a:lnTo>
                  <a:pt x="825" y="642"/>
                </a:lnTo>
                <a:lnTo>
                  <a:pt x="826" y="631"/>
                </a:lnTo>
                <a:lnTo>
                  <a:pt x="825" y="619"/>
                </a:lnTo>
                <a:lnTo>
                  <a:pt x="823" y="607"/>
                </a:lnTo>
                <a:lnTo>
                  <a:pt x="820" y="597"/>
                </a:lnTo>
                <a:lnTo>
                  <a:pt x="814" y="587"/>
                </a:lnTo>
                <a:lnTo>
                  <a:pt x="825" y="581"/>
                </a:lnTo>
                <a:lnTo>
                  <a:pt x="834" y="574"/>
                </a:lnTo>
                <a:lnTo>
                  <a:pt x="841" y="566"/>
                </a:lnTo>
                <a:lnTo>
                  <a:pt x="848" y="557"/>
                </a:lnTo>
                <a:lnTo>
                  <a:pt x="853" y="546"/>
                </a:lnTo>
                <a:lnTo>
                  <a:pt x="856" y="534"/>
                </a:lnTo>
                <a:lnTo>
                  <a:pt x="859" y="522"/>
                </a:lnTo>
                <a:lnTo>
                  <a:pt x="860" y="510"/>
                </a:lnTo>
                <a:lnTo>
                  <a:pt x="859" y="496"/>
                </a:lnTo>
                <a:lnTo>
                  <a:pt x="855" y="483"/>
                </a:lnTo>
                <a:lnTo>
                  <a:pt x="853" y="478"/>
                </a:lnTo>
                <a:lnTo>
                  <a:pt x="851" y="472"/>
                </a:lnTo>
                <a:lnTo>
                  <a:pt x="848" y="467"/>
                </a:lnTo>
                <a:lnTo>
                  <a:pt x="845" y="462"/>
                </a:lnTo>
                <a:lnTo>
                  <a:pt x="840" y="457"/>
                </a:lnTo>
                <a:lnTo>
                  <a:pt x="836" y="453"/>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02"/>
          <p:cNvSpPr>
            <a:spLocks noEditPoints="1"/>
          </p:cNvSpPr>
          <p:nvPr/>
        </p:nvSpPr>
        <p:spPr bwMode="auto">
          <a:xfrm>
            <a:off x="1991704" y="5069576"/>
            <a:ext cx="399907" cy="401604"/>
          </a:xfrm>
          <a:custGeom>
            <a:avLst/>
            <a:gdLst>
              <a:gd name="T0" fmla="*/ 848 w 946"/>
              <a:gd name="T1" fmla="*/ 911 h 948"/>
              <a:gd name="T2" fmla="*/ 896 w 946"/>
              <a:gd name="T3" fmla="*/ 821 h 948"/>
              <a:gd name="T4" fmla="*/ 907 w 946"/>
              <a:gd name="T5" fmla="*/ 878 h 948"/>
              <a:gd name="T6" fmla="*/ 333 w 946"/>
              <a:gd name="T7" fmla="*/ 720 h 948"/>
              <a:gd name="T8" fmla="*/ 330 w 946"/>
              <a:gd name="T9" fmla="*/ 786 h 948"/>
              <a:gd name="T10" fmla="*/ 298 w 946"/>
              <a:gd name="T11" fmla="*/ 844 h 948"/>
              <a:gd name="T12" fmla="*/ 229 w 946"/>
              <a:gd name="T13" fmla="*/ 890 h 948"/>
              <a:gd name="T14" fmla="*/ 160 w 946"/>
              <a:gd name="T15" fmla="*/ 895 h 948"/>
              <a:gd name="T16" fmla="*/ 37 w 946"/>
              <a:gd name="T17" fmla="*/ 771 h 948"/>
              <a:gd name="T18" fmla="*/ 38 w 946"/>
              <a:gd name="T19" fmla="*/ 715 h 948"/>
              <a:gd name="T20" fmla="*/ 61 w 946"/>
              <a:gd name="T21" fmla="*/ 663 h 948"/>
              <a:gd name="T22" fmla="*/ 115 w 946"/>
              <a:gd name="T23" fmla="*/ 614 h 948"/>
              <a:gd name="T24" fmla="*/ 200 w 946"/>
              <a:gd name="T25" fmla="*/ 598 h 948"/>
              <a:gd name="T26" fmla="*/ 608 w 946"/>
              <a:gd name="T27" fmla="*/ 244 h 948"/>
              <a:gd name="T28" fmla="*/ 596 w 946"/>
              <a:gd name="T29" fmla="*/ 180 h 948"/>
              <a:gd name="T30" fmla="*/ 614 w 946"/>
              <a:gd name="T31" fmla="*/ 116 h 948"/>
              <a:gd name="T32" fmla="*/ 663 w 946"/>
              <a:gd name="T33" fmla="*/ 61 h 948"/>
              <a:gd name="T34" fmla="*/ 745 w 946"/>
              <a:gd name="T35" fmla="*/ 36 h 948"/>
              <a:gd name="T36" fmla="*/ 725 w 946"/>
              <a:gd name="T37" fmla="*/ 206 h 948"/>
              <a:gd name="T38" fmla="*/ 896 w 946"/>
              <a:gd name="T39" fmla="*/ 189 h 948"/>
              <a:gd name="T40" fmla="*/ 884 w 946"/>
              <a:gd name="T41" fmla="*/ 244 h 948"/>
              <a:gd name="T42" fmla="*/ 852 w 946"/>
              <a:gd name="T43" fmla="*/ 292 h 948"/>
              <a:gd name="T44" fmla="*/ 776 w 946"/>
              <a:gd name="T45" fmla="*/ 332 h 948"/>
              <a:gd name="T46" fmla="*/ 687 w 946"/>
              <a:gd name="T47" fmla="*/ 323 h 948"/>
              <a:gd name="T48" fmla="*/ 185 w 946"/>
              <a:gd name="T49" fmla="*/ 160 h 948"/>
              <a:gd name="T50" fmla="*/ 734 w 946"/>
              <a:gd name="T51" fmla="*/ 560 h 948"/>
              <a:gd name="T52" fmla="*/ 730 w 946"/>
              <a:gd name="T53" fmla="*/ 370 h 948"/>
              <a:gd name="T54" fmla="*/ 833 w 946"/>
              <a:gd name="T55" fmla="*/ 349 h 948"/>
              <a:gd name="T56" fmla="*/ 903 w 946"/>
              <a:gd name="T57" fmla="*/ 283 h 948"/>
              <a:gd name="T58" fmla="*/ 930 w 946"/>
              <a:gd name="T59" fmla="*/ 207 h 948"/>
              <a:gd name="T60" fmla="*/ 922 w 946"/>
              <a:gd name="T61" fmla="*/ 126 h 948"/>
              <a:gd name="T62" fmla="*/ 844 w 946"/>
              <a:gd name="T63" fmla="*/ 26 h 948"/>
              <a:gd name="T64" fmla="*/ 727 w 946"/>
              <a:gd name="T65" fmla="*/ 1 h 948"/>
              <a:gd name="T66" fmla="*/ 629 w 946"/>
              <a:gd name="T67" fmla="*/ 42 h 948"/>
              <a:gd name="T68" fmla="*/ 577 w 946"/>
              <a:gd name="T69" fmla="*/ 108 h 948"/>
              <a:gd name="T70" fmla="*/ 561 w 946"/>
              <a:gd name="T71" fmla="*/ 183 h 948"/>
              <a:gd name="T72" fmla="*/ 421 w 946"/>
              <a:gd name="T73" fmla="*/ 398 h 948"/>
              <a:gd name="T74" fmla="*/ 185 w 946"/>
              <a:gd name="T75" fmla="*/ 211 h 948"/>
              <a:gd name="T76" fmla="*/ 185 w 946"/>
              <a:gd name="T77" fmla="*/ 562 h 948"/>
              <a:gd name="T78" fmla="*/ 82 w 946"/>
              <a:gd name="T79" fmla="*/ 592 h 948"/>
              <a:gd name="T80" fmla="*/ 21 w 946"/>
              <a:gd name="T81" fmla="*/ 660 h 948"/>
              <a:gd name="T82" fmla="*/ 0 w 946"/>
              <a:gd name="T83" fmla="*/ 739 h 948"/>
              <a:gd name="T84" fmla="*/ 15 w 946"/>
              <a:gd name="T85" fmla="*/ 820 h 948"/>
              <a:gd name="T86" fmla="*/ 111 w 946"/>
              <a:gd name="T87" fmla="*/ 916 h 948"/>
              <a:gd name="T88" fmla="*/ 222 w 946"/>
              <a:gd name="T89" fmla="*/ 928 h 948"/>
              <a:gd name="T90" fmla="*/ 316 w 946"/>
              <a:gd name="T91" fmla="*/ 877 h 948"/>
              <a:gd name="T92" fmla="*/ 359 w 946"/>
              <a:gd name="T93" fmla="*/ 811 h 948"/>
              <a:gd name="T94" fmla="*/ 370 w 946"/>
              <a:gd name="T95" fmla="*/ 736 h 948"/>
              <a:gd name="T96" fmla="*/ 634 w 946"/>
              <a:gd name="T97" fmla="*/ 659 h 948"/>
              <a:gd name="T98" fmla="*/ 809 w 946"/>
              <a:gd name="T99" fmla="*/ 932 h 948"/>
              <a:gd name="T100" fmla="*/ 859 w 946"/>
              <a:gd name="T101" fmla="*/ 948 h 948"/>
              <a:gd name="T102" fmla="*/ 907 w 946"/>
              <a:gd name="T103" fmla="*/ 932 h 948"/>
              <a:gd name="T104" fmla="*/ 940 w 946"/>
              <a:gd name="T105" fmla="*/ 892 h 948"/>
              <a:gd name="T106" fmla="*/ 945 w 946"/>
              <a:gd name="T107" fmla="*/ 842 h 948"/>
              <a:gd name="T108" fmla="*/ 920 w 946"/>
              <a:gd name="T109" fmla="*/ 79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6" h="948">
                <a:moveTo>
                  <a:pt x="896" y="896"/>
                </a:moveTo>
                <a:lnTo>
                  <a:pt x="888" y="903"/>
                </a:lnTo>
                <a:lnTo>
                  <a:pt x="878" y="908"/>
                </a:lnTo>
                <a:lnTo>
                  <a:pt x="869" y="911"/>
                </a:lnTo>
                <a:lnTo>
                  <a:pt x="859" y="912"/>
                </a:lnTo>
                <a:lnTo>
                  <a:pt x="848" y="911"/>
                </a:lnTo>
                <a:lnTo>
                  <a:pt x="838" y="908"/>
                </a:lnTo>
                <a:lnTo>
                  <a:pt x="829" y="903"/>
                </a:lnTo>
                <a:lnTo>
                  <a:pt x="821" y="896"/>
                </a:lnTo>
                <a:lnTo>
                  <a:pt x="634" y="709"/>
                </a:lnTo>
                <a:lnTo>
                  <a:pt x="709" y="634"/>
                </a:lnTo>
                <a:lnTo>
                  <a:pt x="896" y="821"/>
                </a:lnTo>
                <a:lnTo>
                  <a:pt x="902" y="830"/>
                </a:lnTo>
                <a:lnTo>
                  <a:pt x="907" y="838"/>
                </a:lnTo>
                <a:lnTo>
                  <a:pt x="911" y="849"/>
                </a:lnTo>
                <a:lnTo>
                  <a:pt x="911" y="859"/>
                </a:lnTo>
                <a:lnTo>
                  <a:pt x="911" y="869"/>
                </a:lnTo>
                <a:lnTo>
                  <a:pt x="907" y="878"/>
                </a:lnTo>
                <a:lnTo>
                  <a:pt x="902" y="888"/>
                </a:lnTo>
                <a:lnTo>
                  <a:pt x="896" y="896"/>
                </a:lnTo>
                <a:close/>
                <a:moveTo>
                  <a:pt x="322" y="687"/>
                </a:moveTo>
                <a:lnTo>
                  <a:pt x="326" y="698"/>
                </a:lnTo>
                <a:lnTo>
                  <a:pt x="330" y="709"/>
                </a:lnTo>
                <a:lnTo>
                  <a:pt x="333" y="720"/>
                </a:lnTo>
                <a:lnTo>
                  <a:pt x="334" y="730"/>
                </a:lnTo>
                <a:lnTo>
                  <a:pt x="335" y="742"/>
                </a:lnTo>
                <a:lnTo>
                  <a:pt x="335" y="753"/>
                </a:lnTo>
                <a:lnTo>
                  <a:pt x="334" y="764"/>
                </a:lnTo>
                <a:lnTo>
                  <a:pt x="332" y="775"/>
                </a:lnTo>
                <a:lnTo>
                  <a:pt x="330" y="786"/>
                </a:lnTo>
                <a:lnTo>
                  <a:pt x="326" y="796"/>
                </a:lnTo>
                <a:lnTo>
                  <a:pt x="322" y="806"/>
                </a:lnTo>
                <a:lnTo>
                  <a:pt x="318" y="816"/>
                </a:lnTo>
                <a:lnTo>
                  <a:pt x="312" y="825"/>
                </a:lnTo>
                <a:lnTo>
                  <a:pt x="306" y="835"/>
                </a:lnTo>
                <a:lnTo>
                  <a:pt x="298" y="844"/>
                </a:lnTo>
                <a:lnTo>
                  <a:pt x="291" y="852"/>
                </a:lnTo>
                <a:lnTo>
                  <a:pt x="280" y="862"/>
                </a:lnTo>
                <a:lnTo>
                  <a:pt x="268" y="871"/>
                </a:lnTo>
                <a:lnTo>
                  <a:pt x="255" y="878"/>
                </a:lnTo>
                <a:lnTo>
                  <a:pt x="242" y="885"/>
                </a:lnTo>
                <a:lnTo>
                  <a:pt x="229" y="890"/>
                </a:lnTo>
                <a:lnTo>
                  <a:pt x="214" y="894"/>
                </a:lnTo>
                <a:lnTo>
                  <a:pt x="200" y="896"/>
                </a:lnTo>
                <a:lnTo>
                  <a:pt x="185" y="897"/>
                </a:lnTo>
                <a:lnTo>
                  <a:pt x="176" y="896"/>
                </a:lnTo>
                <a:lnTo>
                  <a:pt x="168" y="896"/>
                </a:lnTo>
                <a:lnTo>
                  <a:pt x="160" y="895"/>
                </a:lnTo>
                <a:lnTo>
                  <a:pt x="151" y="892"/>
                </a:lnTo>
                <a:lnTo>
                  <a:pt x="203" y="841"/>
                </a:lnTo>
                <a:lnTo>
                  <a:pt x="204" y="725"/>
                </a:lnTo>
                <a:lnTo>
                  <a:pt x="92" y="727"/>
                </a:lnTo>
                <a:lnTo>
                  <a:pt x="39" y="780"/>
                </a:lnTo>
                <a:lnTo>
                  <a:pt x="37" y="771"/>
                </a:lnTo>
                <a:lnTo>
                  <a:pt x="36" y="762"/>
                </a:lnTo>
                <a:lnTo>
                  <a:pt x="35" y="752"/>
                </a:lnTo>
                <a:lnTo>
                  <a:pt x="35" y="742"/>
                </a:lnTo>
                <a:lnTo>
                  <a:pt x="36" y="734"/>
                </a:lnTo>
                <a:lnTo>
                  <a:pt x="37" y="724"/>
                </a:lnTo>
                <a:lnTo>
                  <a:pt x="38" y="715"/>
                </a:lnTo>
                <a:lnTo>
                  <a:pt x="40" y="706"/>
                </a:lnTo>
                <a:lnTo>
                  <a:pt x="43" y="697"/>
                </a:lnTo>
                <a:lnTo>
                  <a:pt x="47" y="688"/>
                </a:lnTo>
                <a:lnTo>
                  <a:pt x="51" y="680"/>
                </a:lnTo>
                <a:lnTo>
                  <a:pt x="55" y="671"/>
                </a:lnTo>
                <a:lnTo>
                  <a:pt x="61" y="663"/>
                </a:lnTo>
                <a:lnTo>
                  <a:pt x="66" y="655"/>
                </a:lnTo>
                <a:lnTo>
                  <a:pt x="73" y="647"/>
                </a:lnTo>
                <a:lnTo>
                  <a:pt x="79" y="641"/>
                </a:lnTo>
                <a:lnTo>
                  <a:pt x="90" y="631"/>
                </a:lnTo>
                <a:lnTo>
                  <a:pt x="102" y="621"/>
                </a:lnTo>
                <a:lnTo>
                  <a:pt x="115" y="614"/>
                </a:lnTo>
                <a:lnTo>
                  <a:pt x="128" y="608"/>
                </a:lnTo>
                <a:lnTo>
                  <a:pt x="141" y="603"/>
                </a:lnTo>
                <a:lnTo>
                  <a:pt x="156" y="600"/>
                </a:lnTo>
                <a:lnTo>
                  <a:pt x="170" y="598"/>
                </a:lnTo>
                <a:lnTo>
                  <a:pt x="185" y="597"/>
                </a:lnTo>
                <a:lnTo>
                  <a:pt x="200" y="598"/>
                </a:lnTo>
                <a:lnTo>
                  <a:pt x="215" y="600"/>
                </a:lnTo>
                <a:lnTo>
                  <a:pt x="230" y="604"/>
                </a:lnTo>
                <a:lnTo>
                  <a:pt x="244" y="609"/>
                </a:lnTo>
                <a:lnTo>
                  <a:pt x="255" y="614"/>
                </a:lnTo>
                <a:lnTo>
                  <a:pt x="614" y="256"/>
                </a:lnTo>
                <a:lnTo>
                  <a:pt x="608" y="244"/>
                </a:lnTo>
                <a:lnTo>
                  <a:pt x="604" y="235"/>
                </a:lnTo>
                <a:lnTo>
                  <a:pt x="601" y="223"/>
                </a:lnTo>
                <a:lnTo>
                  <a:pt x="599" y="212"/>
                </a:lnTo>
                <a:lnTo>
                  <a:pt x="597" y="201"/>
                </a:lnTo>
                <a:lnTo>
                  <a:pt x="596" y="190"/>
                </a:lnTo>
                <a:lnTo>
                  <a:pt x="596" y="180"/>
                </a:lnTo>
                <a:lnTo>
                  <a:pt x="597" y="168"/>
                </a:lnTo>
                <a:lnTo>
                  <a:pt x="599" y="157"/>
                </a:lnTo>
                <a:lnTo>
                  <a:pt x="601" y="146"/>
                </a:lnTo>
                <a:lnTo>
                  <a:pt x="604" y="136"/>
                </a:lnTo>
                <a:lnTo>
                  <a:pt x="608" y="126"/>
                </a:lnTo>
                <a:lnTo>
                  <a:pt x="614" y="116"/>
                </a:lnTo>
                <a:lnTo>
                  <a:pt x="619" y="106"/>
                </a:lnTo>
                <a:lnTo>
                  <a:pt x="626" y="96"/>
                </a:lnTo>
                <a:lnTo>
                  <a:pt x="632" y="88"/>
                </a:lnTo>
                <a:lnTo>
                  <a:pt x="640" y="79"/>
                </a:lnTo>
                <a:lnTo>
                  <a:pt x="651" y="69"/>
                </a:lnTo>
                <a:lnTo>
                  <a:pt x="663" y="61"/>
                </a:lnTo>
                <a:lnTo>
                  <a:pt x="675" y="53"/>
                </a:lnTo>
                <a:lnTo>
                  <a:pt x="688" y="47"/>
                </a:lnTo>
                <a:lnTo>
                  <a:pt x="702" y="42"/>
                </a:lnTo>
                <a:lnTo>
                  <a:pt x="716" y="38"/>
                </a:lnTo>
                <a:lnTo>
                  <a:pt x="731" y="36"/>
                </a:lnTo>
                <a:lnTo>
                  <a:pt x="745" y="36"/>
                </a:lnTo>
                <a:lnTo>
                  <a:pt x="754" y="36"/>
                </a:lnTo>
                <a:lnTo>
                  <a:pt x="763" y="37"/>
                </a:lnTo>
                <a:lnTo>
                  <a:pt x="771" y="38"/>
                </a:lnTo>
                <a:lnTo>
                  <a:pt x="780" y="39"/>
                </a:lnTo>
                <a:lnTo>
                  <a:pt x="726" y="93"/>
                </a:lnTo>
                <a:lnTo>
                  <a:pt x="725" y="206"/>
                </a:lnTo>
                <a:lnTo>
                  <a:pt x="841" y="203"/>
                </a:lnTo>
                <a:lnTo>
                  <a:pt x="892" y="152"/>
                </a:lnTo>
                <a:lnTo>
                  <a:pt x="893" y="161"/>
                </a:lnTo>
                <a:lnTo>
                  <a:pt x="896" y="171"/>
                </a:lnTo>
                <a:lnTo>
                  <a:pt x="896" y="180"/>
                </a:lnTo>
                <a:lnTo>
                  <a:pt x="896" y="189"/>
                </a:lnTo>
                <a:lnTo>
                  <a:pt x="896" y="199"/>
                </a:lnTo>
                <a:lnTo>
                  <a:pt x="895" y="208"/>
                </a:lnTo>
                <a:lnTo>
                  <a:pt x="892" y="217"/>
                </a:lnTo>
                <a:lnTo>
                  <a:pt x="890" y="226"/>
                </a:lnTo>
                <a:lnTo>
                  <a:pt x="888" y="236"/>
                </a:lnTo>
                <a:lnTo>
                  <a:pt x="884" y="244"/>
                </a:lnTo>
                <a:lnTo>
                  <a:pt x="880" y="253"/>
                </a:lnTo>
                <a:lnTo>
                  <a:pt x="876" y="261"/>
                </a:lnTo>
                <a:lnTo>
                  <a:pt x="871" y="269"/>
                </a:lnTo>
                <a:lnTo>
                  <a:pt x="865" y="277"/>
                </a:lnTo>
                <a:lnTo>
                  <a:pt x="859" y="284"/>
                </a:lnTo>
                <a:lnTo>
                  <a:pt x="852" y="292"/>
                </a:lnTo>
                <a:lnTo>
                  <a:pt x="841" y="302"/>
                </a:lnTo>
                <a:lnTo>
                  <a:pt x="830" y="310"/>
                </a:lnTo>
                <a:lnTo>
                  <a:pt x="817" y="318"/>
                </a:lnTo>
                <a:lnTo>
                  <a:pt x="804" y="324"/>
                </a:lnTo>
                <a:lnTo>
                  <a:pt x="790" y="329"/>
                </a:lnTo>
                <a:lnTo>
                  <a:pt x="776" y="332"/>
                </a:lnTo>
                <a:lnTo>
                  <a:pt x="761" y="334"/>
                </a:lnTo>
                <a:lnTo>
                  <a:pt x="747" y="335"/>
                </a:lnTo>
                <a:lnTo>
                  <a:pt x="730" y="334"/>
                </a:lnTo>
                <a:lnTo>
                  <a:pt x="716" y="332"/>
                </a:lnTo>
                <a:lnTo>
                  <a:pt x="701" y="329"/>
                </a:lnTo>
                <a:lnTo>
                  <a:pt x="687" y="323"/>
                </a:lnTo>
                <a:lnTo>
                  <a:pt x="675" y="318"/>
                </a:lnTo>
                <a:lnTo>
                  <a:pt x="318" y="676"/>
                </a:lnTo>
                <a:lnTo>
                  <a:pt x="322" y="687"/>
                </a:lnTo>
                <a:close/>
                <a:moveTo>
                  <a:pt x="73" y="99"/>
                </a:moveTo>
                <a:lnTo>
                  <a:pt x="97" y="74"/>
                </a:lnTo>
                <a:lnTo>
                  <a:pt x="185" y="160"/>
                </a:lnTo>
                <a:lnTo>
                  <a:pt x="160" y="185"/>
                </a:lnTo>
                <a:lnTo>
                  <a:pt x="73" y="99"/>
                </a:lnTo>
                <a:close/>
                <a:moveTo>
                  <a:pt x="920" y="796"/>
                </a:moveTo>
                <a:lnTo>
                  <a:pt x="734" y="609"/>
                </a:lnTo>
                <a:lnTo>
                  <a:pt x="758" y="585"/>
                </a:lnTo>
                <a:lnTo>
                  <a:pt x="734" y="560"/>
                </a:lnTo>
                <a:lnTo>
                  <a:pt x="659" y="634"/>
                </a:lnTo>
                <a:lnTo>
                  <a:pt x="534" y="510"/>
                </a:lnTo>
                <a:lnTo>
                  <a:pt x="684" y="360"/>
                </a:lnTo>
                <a:lnTo>
                  <a:pt x="699" y="364"/>
                </a:lnTo>
                <a:lnTo>
                  <a:pt x="714" y="368"/>
                </a:lnTo>
                <a:lnTo>
                  <a:pt x="730" y="370"/>
                </a:lnTo>
                <a:lnTo>
                  <a:pt x="747" y="371"/>
                </a:lnTo>
                <a:lnTo>
                  <a:pt x="765" y="370"/>
                </a:lnTo>
                <a:lnTo>
                  <a:pt x="782" y="366"/>
                </a:lnTo>
                <a:lnTo>
                  <a:pt x="801" y="362"/>
                </a:lnTo>
                <a:lnTo>
                  <a:pt x="817" y="357"/>
                </a:lnTo>
                <a:lnTo>
                  <a:pt x="833" y="349"/>
                </a:lnTo>
                <a:lnTo>
                  <a:pt x="849" y="339"/>
                </a:lnTo>
                <a:lnTo>
                  <a:pt x="863" y="329"/>
                </a:lnTo>
                <a:lnTo>
                  <a:pt x="877" y="317"/>
                </a:lnTo>
                <a:lnTo>
                  <a:pt x="887" y="306"/>
                </a:lnTo>
                <a:lnTo>
                  <a:pt x="896" y="295"/>
                </a:lnTo>
                <a:lnTo>
                  <a:pt x="903" y="283"/>
                </a:lnTo>
                <a:lnTo>
                  <a:pt x="910" y="271"/>
                </a:lnTo>
                <a:lnTo>
                  <a:pt x="916" y="260"/>
                </a:lnTo>
                <a:lnTo>
                  <a:pt x="922" y="247"/>
                </a:lnTo>
                <a:lnTo>
                  <a:pt x="925" y="234"/>
                </a:lnTo>
                <a:lnTo>
                  <a:pt x="928" y="221"/>
                </a:lnTo>
                <a:lnTo>
                  <a:pt x="930" y="207"/>
                </a:lnTo>
                <a:lnTo>
                  <a:pt x="931" y="194"/>
                </a:lnTo>
                <a:lnTo>
                  <a:pt x="931" y="180"/>
                </a:lnTo>
                <a:lnTo>
                  <a:pt x="930" y="166"/>
                </a:lnTo>
                <a:lnTo>
                  <a:pt x="928" y="153"/>
                </a:lnTo>
                <a:lnTo>
                  <a:pt x="925" y="139"/>
                </a:lnTo>
                <a:lnTo>
                  <a:pt x="922" y="126"/>
                </a:lnTo>
                <a:lnTo>
                  <a:pt x="916" y="113"/>
                </a:lnTo>
                <a:lnTo>
                  <a:pt x="905" y="88"/>
                </a:lnTo>
                <a:lnTo>
                  <a:pt x="825" y="169"/>
                </a:lnTo>
                <a:lnTo>
                  <a:pt x="761" y="170"/>
                </a:lnTo>
                <a:lnTo>
                  <a:pt x="762" y="108"/>
                </a:lnTo>
                <a:lnTo>
                  <a:pt x="844" y="26"/>
                </a:lnTo>
                <a:lnTo>
                  <a:pt x="820" y="15"/>
                </a:lnTo>
                <a:lnTo>
                  <a:pt x="802" y="9"/>
                </a:lnTo>
                <a:lnTo>
                  <a:pt x="783" y="5"/>
                </a:lnTo>
                <a:lnTo>
                  <a:pt x="765" y="1"/>
                </a:lnTo>
                <a:lnTo>
                  <a:pt x="745" y="0"/>
                </a:lnTo>
                <a:lnTo>
                  <a:pt x="727" y="1"/>
                </a:lnTo>
                <a:lnTo>
                  <a:pt x="710" y="4"/>
                </a:lnTo>
                <a:lnTo>
                  <a:pt x="691" y="8"/>
                </a:lnTo>
                <a:lnTo>
                  <a:pt x="675" y="14"/>
                </a:lnTo>
                <a:lnTo>
                  <a:pt x="659" y="22"/>
                </a:lnTo>
                <a:lnTo>
                  <a:pt x="643" y="32"/>
                </a:lnTo>
                <a:lnTo>
                  <a:pt x="629" y="42"/>
                </a:lnTo>
                <a:lnTo>
                  <a:pt x="615" y="54"/>
                </a:lnTo>
                <a:lnTo>
                  <a:pt x="606" y="64"/>
                </a:lnTo>
                <a:lnTo>
                  <a:pt x="597" y="75"/>
                </a:lnTo>
                <a:lnTo>
                  <a:pt x="590" y="86"/>
                </a:lnTo>
                <a:lnTo>
                  <a:pt x="583" y="96"/>
                </a:lnTo>
                <a:lnTo>
                  <a:pt x="577" y="108"/>
                </a:lnTo>
                <a:lnTo>
                  <a:pt x="573" y="120"/>
                </a:lnTo>
                <a:lnTo>
                  <a:pt x="568" y="132"/>
                </a:lnTo>
                <a:lnTo>
                  <a:pt x="565" y="145"/>
                </a:lnTo>
                <a:lnTo>
                  <a:pt x="563" y="158"/>
                </a:lnTo>
                <a:lnTo>
                  <a:pt x="562" y="170"/>
                </a:lnTo>
                <a:lnTo>
                  <a:pt x="561" y="183"/>
                </a:lnTo>
                <a:lnTo>
                  <a:pt x="561" y="196"/>
                </a:lnTo>
                <a:lnTo>
                  <a:pt x="562" y="209"/>
                </a:lnTo>
                <a:lnTo>
                  <a:pt x="565" y="222"/>
                </a:lnTo>
                <a:lnTo>
                  <a:pt x="567" y="235"/>
                </a:lnTo>
                <a:lnTo>
                  <a:pt x="572" y="248"/>
                </a:lnTo>
                <a:lnTo>
                  <a:pt x="421" y="398"/>
                </a:lnTo>
                <a:lnTo>
                  <a:pt x="210" y="185"/>
                </a:lnTo>
                <a:lnTo>
                  <a:pt x="235" y="160"/>
                </a:lnTo>
                <a:lnTo>
                  <a:pt x="97" y="23"/>
                </a:lnTo>
                <a:lnTo>
                  <a:pt x="23" y="99"/>
                </a:lnTo>
                <a:lnTo>
                  <a:pt x="160" y="236"/>
                </a:lnTo>
                <a:lnTo>
                  <a:pt x="185" y="211"/>
                </a:lnTo>
                <a:lnTo>
                  <a:pt x="397" y="423"/>
                </a:lnTo>
                <a:lnTo>
                  <a:pt x="248" y="573"/>
                </a:lnTo>
                <a:lnTo>
                  <a:pt x="232" y="567"/>
                </a:lnTo>
                <a:lnTo>
                  <a:pt x="216" y="564"/>
                </a:lnTo>
                <a:lnTo>
                  <a:pt x="201" y="562"/>
                </a:lnTo>
                <a:lnTo>
                  <a:pt x="185" y="562"/>
                </a:lnTo>
                <a:lnTo>
                  <a:pt x="167" y="562"/>
                </a:lnTo>
                <a:lnTo>
                  <a:pt x="148" y="565"/>
                </a:lnTo>
                <a:lnTo>
                  <a:pt x="131" y="570"/>
                </a:lnTo>
                <a:lnTo>
                  <a:pt x="114" y="575"/>
                </a:lnTo>
                <a:lnTo>
                  <a:pt x="97" y="584"/>
                </a:lnTo>
                <a:lnTo>
                  <a:pt x="82" y="592"/>
                </a:lnTo>
                <a:lnTo>
                  <a:pt x="67" y="603"/>
                </a:lnTo>
                <a:lnTo>
                  <a:pt x="54" y="616"/>
                </a:lnTo>
                <a:lnTo>
                  <a:pt x="44" y="626"/>
                </a:lnTo>
                <a:lnTo>
                  <a:pt x="36" y="636"/>
                </a:lnTo>
                <a:lnTo>
                  <a:pt x="27" y="648"/>
                </a:lnTo>
                <a:lnTo>
                  <a:pt x="21" y="660"/>
                </a:lnTo>
                <a:lnTo>
                  <a:pt x="15" y="673"/>
                </a:lnTo>
                <a:lnTo>
                  <a:pt x="10" y="685"/>
                </a:lnTo>
                <a:lnTo>
                  <a:pt x="6" y="698"/>
                </a:lnTo>
                <a:lnTo>
                  <a:pt x="2" y="712"/>
                </a:lnTo>
                <a:lnTo>
                  <a:pt x="1" y="725"/>
                </a:lnTo>
                <a:lnTo>
                  <a:pt x="0" y="739"/>
                </a:lnTo>
                <a:lnTo>
                  <a:pt x="0" y="752"/>
                </a:lnTo>
                <a:lnTo>
                  <a:pt x="0" y="766"/>
                </a:lnTo>
                <a:lnTo>
                  <a:pt x="2" y="780"/>
                </a:lnTo>
                <a:lnTo>
                  <a:pt x="6" y="793"/>
                </a:lnTo>
                <a:lnTo>
                  <a:pt x="10" y="807"/>
                </a:lnTo>
                <a:lnTo>
                  <a:pt x="15" y="820"/>
                </a:lnTo>
                <a:lnTo>
                  <a:pt x="25" y="844"/>
                </a:lnTo>
                <a:lnTo>
                  <a:pt x="107" y="762"/>
                </a:lnTo>
                <a:lnTo>
                  <a:pt x="169" y="761"/>
                </a:lnTo>
                <a:lnTo>
                  <a:pt x="168" y="825"/>
                </a:lnTo>
                <a:lnTo>
                  <a:pt x="88" y="906"/>
                </a:lnTo>
                <a:lnTo>
                  <a:pt x="111" y="916"/>
                </a:lnTo>
                <a:lnTo>
                  <a:pt x="130" y="923"/>
                </a:lnTo>
                <a:lnTo>
                  <a:pt x="147" y="928"/>
                </a:lnTo>
                <a:lnTo>
                  <a:pt x="167" y="930"/>
                </a:lnTo>
                <a:lnTo>
                  <a:pt x="185" y="931"/>
                </a:lnTo>
                <a:lnTo>
                  <a:pt x="203" y="930"/>
                </a:lnTo>
                <a:lnTo>
                  <a:pt x="222" y="928"/>
                </a:lnTo>
                <a:lnTo>
                  <a:pt x="239" y="924"/>
                </a:lnTo>
                <a:lnTo>
                  <a:pt x="256" y="917"/>
                </a:lnTo>
                <a:lnTo>
                  <a:pt x="272" y="910"/>
                </a:lnTo>
                <a:lnTo>
                  <a:pt x="287" y="901"/>
                </a:lnTo>
                <a:lnTo>
                  <a:pt x="303" y="890"/>
                </a:lnTo>
                <a:lnTo>
                  <a:pt x="316" y="877"/>
                </a:lnTo>
                <a:lnTo>
                  <a:pt x="325" y="868"/>
                </a:lnTo>
                <a:lnTo>
                  <a:pt x="333" y="857"/>
                </a:lnTo>
                <a:lnTo>
                  <a:pt x="340" y="846"/>
                </a:lnTo>
                <a:lnTo>
                  <a:pt x="348" y="835"/>
                </a:lnTo>
                <a:lnTo>
                  <a:pt x="353" y="823"/>
                </a:lnTo>
                <a:lnTo>
                  <a:pt x="359" y="811"/>
                </a:lnTo>
                <a:lnTo>
                  <a:pt x="362" y="800"/>
                </a:lnTo>
                <a:lnTo>
                  <a:pt x="365" y="787"/>
                </a:lnTo>
                <a:lnTo>
                  <a:pt x="368" y="775"/>
                </a:lnTo>
                <a:lnTo>
                  <a:pt x="370" y="762"/>
                </a:lnTo>
                <a:lnTo>
                  <a:pt x="371" y="749"/>
                </a:lnTo>
                <a:lnTo>
                  <a:pt x="370" y="736"/>
                </a:lnTo>
                <a:lnTo>
                  <a:pt x="368" y="723"/>
                </a:lnTo>
                <a:lnTo>
                  <a:pt x="366" y="710"/>
                </a:lnTo>
                <a:lnTo>
                  <a:pt x="363" y="697"/>
                </a:lnTo>
                <a:lnTo>
                  <a:pt x="359" y="685"/>
                </a:lnTo>
                <a:lnTo>
                  <a:pt x="509" y="535"/>
                </a:lnTo>
                <a:lnTo>
                  <a:pt x="634" y="659"/>
                </a:lnTo>
                <a:lnTo>
                  <a:pt x="559" y="734"/>
                </a:lnTo>
                <a:lnTo>
                  <a:pt x="585" y="760"/>
                </a:lnTo>
                <a:lnTo>
                  <a:pt x="609" y="734"/>
                </a:lnTo>
                <a:lnTo>
                  <a:pt x="796" y="922"/>
                </a:lnTo>
                <a:lnTo>
                  <a:pt x="803" y="927"/>
                </a:lnTo>
                <a:lnTo>
                  <a:pt x="809" y="932"/>
                </a:lnTo>
                <a:lnTo>
                  <a:pt x="817" y="937"/>
                </a:lnTo>
                <a:lnTo>
                  <a:pt x="824" y="940"/>
                </a:lnTo>
                <a:lnTo>
                  <a:pt x="833" y="943"/>
                </a:lnTo>
                <a:lnTo>
                  <a:pt x="841" y="945"/>
                </a:lnTo>
                <a:lnTo>
                  <a:pt x="849" y="946"/>
                </a:lnTo>
                <a:lnTo>
                  <a:pt x="859" y="948"/>
                </a:lnTo>
                <a:lnTo>
                  <a:pt x="868" y="946"/>
                </a:lnTo>
                <a:lnTo>
                  <a:pt x="876" y="945"/>
                </a:lnTo>
                <a:lnTo>
                  <a:pt x="884" y="943"/>
                </a:lnTo>
                <a:lnTo>
                  <a:pt x="892" y="940"/>
                </a:lnTo>
                <a:lnTo>
                  <a:pt x="900" y="937"/>
                </a:lnTo>
                <a:lnTo>
                  <a:pt x="907" y="932"/>
                </a:lnTo>
                <a:lnTo>
                  <a:pt x="914" y="927"/>
                </a:lnTo>
                <a:lnTo>
                  <a:pt x="920" y="922"/>
                </a:lnTo>
                <a:lnTo>
                  <a:pt x="927" y="914"/>
                </a:lnTo>
                <a:lnTo>
                  <a:pt x="932" y="908"/>
                </a:lnTo>
                <a:lnTo>
                  <a:pt x="937" y="900"/>
                </a:lnTo>
                <a:lnTo>
                  <a:pt x="940" y="892"/>
                </a:lnTo>
                <a:lnTo>
                  <a:pt x="943" y="884"/>
                </a:lnTo>
                <a:lnTo>
                  <a:pt x="945" y="875"/>
                </a:lnTo>
                <a:lnTo>
                  <a:pt x="946" y="868"/>
                </a:lnTo>
                <a:lnTo>
                  <a:pt x="946" y="859"/>
                </a:lnTo>
                <a:lnTo>
                  <a:pt x="946" y="850"/>
                </a:lnTo>
                <a:lnTo>
                  <a:pt x="945" y="842"/>
                </a:lnTo>
                <a:lnTo>
                  <a:pt x="943" y="834"/>
                </a:lnTo>
                <a:lnTo>
                  <a:pt x="940" y="825"/>
                </a:lnTo>
                <a:lnTo>
                  <a:pt x="937" y="818"/>
                </a:lnTo>
                <a:lnTo>
                  <a:pt x="932" y="810"/>
                </a:lnTo>
                <a:lnTo>
                  <a:pt x="927" y="803"/>
                </a:lnTo>
                <a:lnTo>
                  <a:pt x="920" y="796"/>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Title 11"/>
          <p:cNvSpPr txBox="1">
            <a:spLocks/>
          </p:cNvSpPr>
          <p:nvPr/>
        </p:nvSpPr>
        <p:spPr>
          <a:xfrm>
            <a:off x="4078514" y="557390"/>
            <a:ext cx="4034972"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1" spc="-150" dirty="0">
                <a:solidFill>
                  <a:srgbClr val="01678C"/>
                </a:solidFill>
                <a:latin typeface="Montserrat" panose="00000500000000000000" pitchFamily="2" charset="0"/>
                <a:ea typeface="Roboto" panose="02000000000000000000" pitchFamily="2" charset="0"/>
                <a:cs typeface="Times New Roman" panose="02020603050405020304" pitchFamily="18" charset="0"/>
              </a:rPr>
              <a:t>Content </a:t>
            </a:r>
            <a:r>
              <a:rPr lang="en-US" sz="3600" spc="-150" dirty="0">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rPr>
              <a:t>Mission </a:t>
            </a:r>
          </a:p>
        </p:txBody>
      </p:sp>
      <p:sp>
        <p:nvSpPr>
          <p:cNvPr id="20" name="Title 11"/>
          <p:cNvSpPr txBox="1">
            <a:spLocks/>
          </p:cNvSpPr>
          <p:nvPr/>
        </p:nvSpPr>
        <p:spPr>
          <a:xfrm>
            <a:off x="4378420" y="1319720"/>
            <a:ext cx="3435161" cy="192764"/>
          </a:xfrm>
          <a:prstGeom prst="rect">
            <a:avLst/>
          </a:prstGeom>
        </p:spPr>
        <p:txBody>
          <a:bodyPr vert="horz"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dirty="0">
                <a:solidFill>
                  <a:schemeClr val="tx1">
                    <a:lumMod val="85000"/>
                    <a:lumOff val="15000"/>
                  </a:schemeClr>
                </a:solidFill>
                <a:ea typeface="Roboto" panose="02000000000000000000" pitchFamily="2" charset="0"/>
                <a:cs typeface="Open Sans Light" panose="020B0306030504020204" pitchFamily="34" charset="0"/>
              </a:rPr>
              <a:t>Insert Your Creative Idea </a:t>
            </a:r>
          </a:p>
        </p:txBody>
      </p:sp>
    </p:spTree>
    <p:extLst>
      <p:ext uri="{BB962C8B-B14F-4D97-AF65-F5344CB8AC3E}">
        <p14:creationId xmlns:p14="http://schemas.microsoft.com/office/powerpoint/2010/main" val="3472326433"/>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23" y="6664283"/>
            <a:ext cx="12189983" cy="206419"/>
          </a:xfrm>
          <a:prstGeom prst="rect">
            <a:avLst/>
          </a:prstGeom>
          <a:solidFill>
            <a:srgbClr val="016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
          <p:cNvSpPr/>
          <p:nvPr/>
        </p:nvSpPr>
        <p:spPr>
          <a:xfrm>
            <a:off x="5056966" y="6530678"/>
            <a:ext cx="2078068" cy="222924"/>
          </a:xfrm>
          <a:prstGeom prst="roundRect">
            <a:avLst>
              <a:gd name="adj" fmla="val 50000"/>
            </a:avLst>
          </a:prstGeom>
          <a:solidFill>
            <a:srgbClr val="018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effectLst>
                <a:outerShdw blurRad="63500" sx="102000" sy="102000" algn="ctr" rotWithShape="0">
                  <a:prstClr val="black">
                    <a:alpha val="40000"/>
                  </a:prstClr>
                </a:outerShdw>
              </a:effectLst>
              <a:latin typeface="+mj-lt"/>
            </a:endParaRPr>
          </a:p>
        </p:txBody>
      </p:sp>
      <p:sp>
        <p:nvSpPr>
          <p:cNvPr id="4" name="Date Placeholder 1"/>
          <p:cNvSpPr txBox="1">
            <a:spLocks/>
          </p:cNvSpPr>
          <p:nvPr>
            <p:custDataLst>
              <p:tags r:id="rId1"/>
            </p:custDataLst>
          </p:nvPr>
        </p:nvSpPr>
        <p:spPr>
          <a:xfrm>
            <a:off x="5006809" y="6498189"/>
            <a:ext cx="1530941"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Segoe UI" panose="020B0502040204020203" pitchFamily="34" charset="0"/>
                <a:ea typeface="Open Sans Light" panose="020B0306030504020204" pitchFamily="34" charset="0"/>
                <a:cs typeface="Segoe UI" panose="020B0502040204020203" pitchFamily="34" charset="0"/>
              </a:rPr>
              <a:t>www.yourcompanyname.com</a:t>
            </a:r>
          </a:p>
        </p:txBody>
      </p:sp>
      <p:cxnSp>
        <p:nvCxnSpPr>
          <p:cNvPr id="5" name="Straight Connector 4"/>
          <p:cNvCxnSpPr/>
          <p:nvPr/>
        </p:nvCxnSpPr>
        <p:spPr>
          <a:xfrm>
            <a:off x="6512721" y="6567488"/>
            <a:ext cx="0" cy="154781"/>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6665393" y="6505535"/>
            <a:ext cx="335348" cy="261610"/>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08</a:t>
            </a:r>
          </a:p>
        </p:txBody>
      </p:sp>
      <p:sp>
        <p:nvSpPr>
          <p:cNvPr id="7" name="Title 1"/>
          <p:cNvSpPr txBox="1">
            <a:spLocks/>
          </p:cNvSpPr>
          <p:nvPr/>
        </p:nvSpPr>
        <p:spPr>
          <a:xfrm>
            <a:off x="615207" y="537530"/>
            <a:ext cx="4846216" cy="1628950"/>
          </a:xfrm>
          <a:prstGeom prst="rect">
            <a:avLst/>
          </a:prstGeom>
        </p:spPr>
        <p:txBody>
          <a:bodyPr vert="horz" wrap="square" lIns="91416" tIns="45708" rIns="91416" bIns="45708" rtlCol="0" anchor="ctr">
            <a:noAutofit/>
          </a:bodyPr>
          <a:lstStyle>
            <a:defPPr>
              <a:defRPr lang="en-US"/>
            </a:defPPr>
            <a:lvl1pPr algn="ctr">
              <a:lnSpc>
                <a:spcPct val="90000"/>
              </a:lnSpc>
              <a:spcBef>
                <a:spcPct val="0"/>
              </a:spcBef>
              <a:buNone/>
              <a:defRPr sz="3600" b="1" spc="-150">
                <a:solidFill>
                  <a:schemeClr val="accent1"/>
                </a:solidFill>
                <a:latin typeface="Montserrat" panose="00000500000000000000" pitchFamily="2" charset="0"/>
                <a:ea typeface="Roboto" panose="02000000000000000000" pitchFamily="2" charset="0"/>
                <a:cs typeface="Times New Roman" panose="02020603050405020304" pitchFamily="18" charset="0"/>
              </a:defRPr>
            </a:lvl1pPr>
          </a:lstStyle>
          <a:p>
            <a:pPr algn="l"/>
            <a:r>
              <a:rPr lang="en-US" dirty="0">
                <a:solidFill>
                  <a:srgbClr val="01678C"/>
                </a:solidFill>
              </a:rPr>
              <a:t>Let’s Introduce Our Chief </a:t>
            </a:r>
            <a:r>
              <a:rPr lang="en-US" b="0" dirty="0">
                <a:solidFill>
                  <a:schemeClr val="tx1">
                    <a:lumMod val="85000"/>
                    <a:lumOff val="15000"/>
                  </a:schemeClr>
                </a:solidFill>
              </a:rPr>
              <a:t>Executive Officer</a:t>
            </a:r>
          </a:p>
        </p:txBody>
      </p:sp>
      <p:sp>
        <p:nvSpPr>
          <p:cNvPr id="8" name="Title 11"/>
          <p:cNvSpPr txBox="1">
            <a:spLocks/>
          </p:cNvSpPr>
          <p:nvPr/>
        </p:nvSpPr>
        <p:spPr>
          <a:xfrm>
            <a:off x="615207" y="2226563"/>
            <a:ext cx="1564113" cy="192764"/>
          </a:xfrm>
          <a:prstGeom prst="rect">
            <a:avLst/>
          </a:prstGeom>
        </p:spPr>
        <p:txBody>
          <a:bodyPr vert="horz"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dirty="0">
                <a:solidFill>
                  <a:schemeClr val="tx1">
                    <a:lumMod val="85000"/>
                    <a:lumOff val="15000"/>
                  </a:schemeClr>
                </a:solidFill>
                <a:ea typeface="Roboto" panose="02000000000000000000" pitchFamily="2" charset="0"/>
                <a:cs typeface="Open Sans Light" panose="020B0306030504020204" pitchFamily="34" charset="0"/>
              </a:rPr>
              <a:t>Insert Your Creative Idea </a:t>
            </a:r>
          </a:p>
        </p:txBody>
      </p:sp>
      <p:sp>
        <p:nvSpPr>
          <p:cNvPr id="9" name="Rectangle 8"/>
          <p:cNvSpPr/>
          <p:nvPr/>
        </p:nvSpPr>
        <p:spPr>
          <a:xfrm>
            <a:off x="8433880" y="806194"/>
            <a:ext cx="1278641" cy="584775"/>
          </a:xfrm>
          <a:prstGeom prst="rect">
            <a:avLst/>
          </a:prstGeom>
        </p:spPr>
        <p:txBody>
          <a:bodyPr wrap="square">
            <a:spAutoFit/>
          </a:bodyPr>
          <a:lstStyle/>
          <a:p>
            <a:r>
              <a:rPr lang="en-US" sz="3200" b="1" dirty="0">
                <a:solidFill>
                  <a:schemeClr val="tx1">
                    <a:lumMod val="85000"/>
                    <a:lumOff val="15000"/>
                  </a:schemeClr>
                </a:solidFill>
                <a:latin typeface="Montserrat" panose="00000500000000000000" pitchFamily="50" charset="0"/>
                <a:ea typeface="Roboto" panose="02000000000000000000" pitchFamily="2" charset="0"/>
                <a:cs typeface="Lato" panose="020F0502020204030203" pitchFamily="34" charset="0"/>
              </a:rPr>
              <a:t>CEO</a:t>
            </a:r>
          </a:p>
        </p:txBody>
      </p:sp>
      <p:sp>
        <p:nvSpPr>
          <p:cNvPr id="10" name="Rectangle 9"/>
          <p:cNvSpPr/>
          <p:nvPr/>
        </p:nvSpPr>
        <p:spPr>
          <a:xfrm>
            <a:off x="8408102" y="1766403"/>
            <a:ext cx="3224594" cy="1277273"/>
          </a:xfrm>
          <a:prstGeom prst="rect">
            <a:avLst/>
          </a:prstGeom>
        </p:spPr>
        <p:txBody>
          <a:bodyPr wrap="square">
            <a:spAutoFit/>
          </a:bodyPr>
          <a:lstStyle/>
          <a:p>
            <a:pPr>
              <a:buClr>
                <a:srgbClr val="E24848"/>
              </a:buClr>
              <a:defRPr/>
            </a:pPr>
            <a:r>
              <a:rPr lang="en-US" sz="1100" noProof="1">
                <a:solidFill>
                  <a:schemeClr val="tx1">
                    <a:lumMod val="85000"/>
                    <a:lumOff val="15000"/>
                  </a:schemeClr>
                </a:solidFill>
                <a:latin typeface="Montserrat" panose="00000500000000000000" pitchFamily="50" charset="0"/>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Nam auctor metus vitae quam gravida, ac vehicula elit mollis. </a:t>
            </a:r>
          </a:p>
        </p:txBody>
      </p:sp>
      <p:sp>
        <p:nvSpPr>
          <p:cNvPr id="11" name="Rectangle 10"/>
          <p:cNvSpPr/>
          <p:nvPr/>
        </p:nvSpPr>
        <p:spPr>
          <a:xfrm>
            <a:off x="8398321" y="1327514"/>
            <a:ext cx="1731432" cy="413283"/>
          </a:xfrm>
          <a:prstGeom prst="rect">
            <a:avLst/>
          </a:prstGeom>
        </p:spPr>
        <p:txBody>
          <a:bodyPr vert="horz" lIns="91440" tIns="45720" rIns="91440" bIns="45720" rtlCol="0" anchor="ctr">
            <a:noAutofit/>
          </a:bodyPr>
          <a:lstStyle/>
          <a:p>
            <a:pPr defTabSz="913924">
              <a:spcBef>
                <a:spcPct val="0"/>
              </a:spcBef>
            </a:pPr>
            <a:r>
              <a:rPr lang="da-DK" sz="1400" b="1" noProof="1">
                <a:solidFill>
                  <a:schemeClr val="tx1">
                    <a:lumMod val="85000"/>
                    <a:lumOff val="15000"/>
                  </a:schemeClr>
                </a:solidFill>
                <a:latin typeface="Lato" panose="020F0502020204030203" pitchFamily="34" charset="0"/>
                <a:ea typeface="Open Sans" panose="020B0606030504020204" pitchFamily="34" charset="0"/>
                <a:cs typeface="Lato" panose="020F0502020204030203" pitchFamily="34" charset="0"/>
              </a:rPr>
              <a:t>Short Biography</a:t>
            </a:r>
          </a:p>
        </p:txBody>
      </p:sp>
      <p:cxnSp>
        <p:nvCxnSpPr>
          <p:cNvPr id="12" name="Straight Connector 11"/>
          <p:cNvCxnSpPr/>
          <p:nvPr/>
        </p:nvCxnSpPr>
        <p:spPr>
          <a:xfrm>
            <a:off x="8521247" y="3441871"/>
            <a:ext cx="3108960" cy="0"/>
          </a:xfrm>
          <a:prstGeom prst="line">
            <a:avLst/>
          </a:prstGeom>
          <a:ln>
            <a:solidFill>
              <a:srgbClr val="01678C"/>
            </a:solidFill>
          </a:ln>
        </p:spPr>
        <p:style>
          <a:lnRef idx="1">
            <a:schemeClr val="accent1"/>
          </a:lnRef>
          <a:fillRef idx="0">
            <a:schemeClr val="accent1"/>
          </a:fillRef>
          <a:effectRef idx="0">
            <a:schemeClr val="accent1"/>
          </a:effectRef>
          <a:fontRef idx="minor">
            <a:schemeClr val="tx1"/>
          </a:fontRef>
        </p:style>
      </p:cxnSp>
      <p:sp>
        <p:nvSpPr>
          <p:cNvPr id="13" name="Oval 12"/>
          <p:cNvSpPr/>
          <p:nvPr/>
        </p:nvSpPr>
        <p:spPr>
          <a:xfrm>
            <a:off x="8521700" y="3797935"/>
            <a:ext cx="1165043" cy="1165043"/>
          </a:xfrm>
          <a:prstGeom prst="ellipse">
            <a:avLst/>
          </a:prstGeom>
          <a:no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lumMod val="85000"/>
                    <a:lumOff val="15000"/>
                  </a:schemeClr>
                </a:solidFill>
                <a:latin typeface="Lato" panose="020F0502020204030203" pitchFamily="34" charset="0"/>
                <a:ea typeface="Roboto" panose="02000000000000000000" pitchFamily="2" charset="0"/>
                <a:cs typeface="Lato" panose="020F0502020204030203" pitchFamily="34" charset="0"/>
              </a:rPr>
              <a:t>85%</a:t>
            </a:r>
          </a:p>
          <a:p>
            <a:pPr algn="ctr"/>
            <a:r>
              <a:rPr lang="en-US" sz="800" b="1" dirty="0" err="1">
                <a:solidFill>
                  <a:schemeClr val="tx1">
                    <a:lumMod val="85000"/>
                    <a:lumOff val="15000"/>
                  </a:schemeClr>
                </a:solidFill>
                <a:latin typeface="Lato" panose="020F0502020204030203" pitchFamily="34" charset="0"/>
                <a:ea typeface="Roboto" panose="02000000000000000000" pitchFamily="2" charset="0"/>
                <a:cs typeface="Lato" panose="020F0502020204030203" pitchFamily="34" charset="0"/>
              </a:rPr>
              <a:t>Practise</a:t>
            </a:r>
            <a:endParaRPr lang="en-US" sz="800" b="1" dirty="0">
              <a:solidFill>
                <a:schemeClr val="tx1">
                  <a:lumMod val="85000"/>
                  <a:lumOff val="15000"/>
                </a:schemeClr>
              </a:solidFill>
              <a:latin typeface="Lato" panose="020F0502020204030203" pitchFamily="34" charset="0"/>
              <a:ea typeface="Roboto" panose="02000000000000000000" pitchFamily="2" charset="0"/>
              <a:cs typeface="Lato" panose="020F0502020204030203" pitchFamily="34" charset="0"/>
            </a:endParaRPr>
          </a:p>
        </p:txBody>
      </p:sp>
      <p:sp>
        <p:nvSpPr>
          <p:cNvPr id="14" name="Arc 13"/>
          <p:cNvSpPr/>
          <p:nvPr/>
        </p:nvSpPr>
        <p:spPr>
          <a:xfrm>
            <a:off x="8521700" y="3797935"/>
            <a:ext cx="1165043" cy="1165043"/>
          </a:xfrm>
          <a:prstGeom prst="arc">
            <a:avLst>
              <a:gd name="adj1" fmla="val 16200000"/>
              <a:gd name="adj2" fmla="val 10611064"/>
            </a:avLst>
          </a:prstGeom>
          <a:noFill/>
          <a:ln w="38100">
            <a:solidFill>
              <a:srgbClr val="0167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a:solidFill>
                <a:schemeClr val="tx1">
                  <a:lumMod val="85000"/>
                  <a:lumOff val="15000"/>
                </a:schemeClr>
              </a:solidFill>
              <a:latin typeface="Lato" panose="020F0502020204030203" pitchFamily="34" charset="0"/>
              <a:cs typeface="Lato" panose="020F0502020204030203" pitchFamily="34" charset="0"/>
            </a:endParaRPr>
          </a:p>
        </p:txBody>
      </p:sp>
      <p:sp>
        <p:nvSpPr>
          <p:cNvPr id="15" name="Oval 14"/>
          <p:cNvSpPr/>
          <p:nvPr/>
        </p:nvSpPr>
        <p:spPr>
          <a:xfrm>
            <a:off x="10188058" y="3797935"/>
            <a:ext cx="1165043" cy="1165043"/>
          </a:xfrm>
          <a:prstGeom prst="ellipse">
            <a:avLst/>
          </a:prstGeom>
          <a:no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lumMod val="85000"/>
                    <a:lumOff val="15000"/>
                  </a:schemeClr>
                </a:solidFill>
                <a:latin typeface="Lato" panose="020F0502020204030203" pitchFamily="34" charset="0"/>
                <a:ea typeface="Roboto" panose="02000000000000000000" pitchFamily="2" charset="0"/>
                <a:cs typeface="Lato" panose="020F0502020204030203" pitchFamily="34" charset="0"/>
              </a:rPr>
              <a:t>15%</a:t>
            </a:r>
          </a:p>
          <a:p>
            <a:pPr algn="ctr"/>
            <a:r>
              <a:rPr lang="en-US" sz="800" b="1" dirty="0">
                <a:solidFill>
                  <a:schemeClr val="tx1">
                    <a:lumMod val="85000"/>
                    <a:lumOff val="15000"/>
                  </a:schemeClr>
                </a:solidFill>
                <a:latin typeface="Lato" panose="020F0502020204030203" pitchFamily="34" charset="0"/>
                <a:ea typeface="Roboto" panose="02000000000000000000" pitchFamily="2" charset="0"/>
                <a:cs typeface="Lato" panose="020F0502020204030203" pitchFamily="34" charset="0"/>
              </a:rPr>
              <a:t>Study</a:t>
            </a:r>
          </a:p>
        </p:txBody>
      </p:sp>
      <p:sp>
        <p:nvSpPr>
          <p:cNvPr id="16" name="Arc 15"/>
          <p:cNvSpPr/>
          <p:nvPr/>
        </p:nvSpPr>
        <p:spPr>
          <a:xfrm>
            <a:off x="10188058" y="3797935"/>
            <a:ext cx="1165043" cy="1165043"/>
          </a:xfrm>
          <a:prstGeom prst="arc">
            <a:avLst>
              <a:gd name="adj1" fmla="val 16200000"/>
              <a:gd name="adj2" fmla="val 20328153"/>
            </a:avLst>
          </a:prstGeom>
          <a:noFill/>
          <a:ln w="38100">
            <a:solidFill>
              <a:srgbClr val="0167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a:solidFill>
                <a:schemeClr val="tx1">
                  <a:lumMod val="85000"/>
                  <a:lumOff val="15000"/>
                </a:schemeClr>
              </a:solidFill>
              <a:latin typeface="Lato" panose="020F0502020204030203" pitchFamily="34" charset="0"/>
              <a:cs typeface="Lato" panose="020F0502020204030203" pitchFamily="34" charset="0"/>
            </a:endParaRPr>
          </a:p>
        </p:txBody>
      </p:sp>
      <p:sp>
        <p:nvSpPr>
          <p:cNvPr id="17" name="Rectangle 16"/>
          <p:cNvSpPr/>
          <p:nvPr/>
        </p:nvSpPr>
        <p:spPr>
          <a:xfrm>
            <a:off x="8433879" y="5336549"/>
            <a:ext cx="1488043" cy="861774"/>
          </a:xfrm>
          <a:prstGeom prst="rect">
            <a:avLst/>
          </a:prstGeom>
        </p:spPr>
        <p:txBody>
          <a:bodyPr wrap="square">
            <a:spAutoFit/>
          </a:bodyPr>
          <a:lstStyle/>
          <a:p>
            <a:pPr>
              <a:buClr>
                <a:srgbClr val="E24848"/>
              </a:buClr>
              <a:defRPr/>
            </a:pPr>
            <a:r>
              <a:rPr lang="en-US" sz="1000" noProof="1">
                <a:solidFill>
                  <a:schemeClr val="tx1">
                    <a:lumMod val="75000"/>
                    <a:lumOff val="25000"/>
                  </a:schemeClr>
                </a:solidFill>
                <a:latin typeface="Montserrat" panose="00000500000000000000" pitchFamily="50" charset="0"/>
                <a:ea typeface="Roboto Light" panose="02000000000000000000" pitchFamily="2" charset="0"/>
                <a:cs typeface="Arial" charset="0"/>
              </a:rPr>
              <a:t>Lorem ipsum dolor sit amet, consectetur adipiscing elit Nulla iperdiet volutpat</a:t>
            </a:r>
          </a:p>
        </p:txBody>
      </p:sp>
      <p:sp>
        <p:nvSpPr>
          <p:cNvPr id="18" name="Rectangle 17"/>
          <p:cNvSpPr/>
          <p:nvPr/>
        </p:nvSpPr>
        <p:spPr>
          <a:xfrm>
            <a:off x="10260900" y="5336549"/>
            <a:ext cx="1460747" cy="861774"/>
          </a:xfrm>
          <a:prstGeom prst="rect">
            <a:avLst/>
          </a:prstGeom>
        </p:spPr>
        <p:txBody>
          <a:bodyPr wrap="square">
            <a:spAutoFit/>
          </a:bodyPr>
          <a:lstStyle/>
          <a:p>
            <a:pPr>
              <a:buClr>
                <a:srgbClr val="E24848"/>
              </a:buClr>
              <a:defRPr/>
            </a:pPr>
            <a:r>
              <a:rPr lang="en-US" sz="1000" noProof="1">
                <a:solidFill>
                  <a:schemeClr val="tx1">
                    <a:lumMod val="75000"/>
                    <a:lumOff val="25000"/>
                  </a:schemeClr>
                </a:solidFill>
                <a:latin typeface="Montserrat" panose="00000500000000000000" pitchFamily="50" charset="0"/>
                <a:ea typeface="Roboto Light" panose="02000000000000000000" pitchFamily="2" charset="0"/>
                <a:cs typeface="Arial" charset="0"/>
              </a:rPr>
              <a:t>Lorem ipsum dolor sit amet, consectetur adipiscing elit Nulla iperdiet volutpat</a:t>
            </a:r>
          </a:p>
        </p:txBody>
      </p:sp>
      <p:pic>
        <p:nvPicPr>
          <p:cNvPr id="21" name="Picture Placeholder 20"/>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t="15009" b="15009"/>
          <a:stretch>
            <a:fillRect/>
          </a:stretch>
        </p:blipFill>
        <p:spPr/>
      </p:pic>
    </p:spTree>
    <p:extLst>
      <p:ext uri="{BB962C8B-B14F-4D97-AF65-F5344CB8AC3E}">
        <p14:creationId xmlns:p14="http://schemas.microsoft.com/office/powerpoint/2010/main" val="1699222682"/>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2</TotalTime>
  <Words>1696</Words>
  <Application>Microsoft Office PowerPoint</Application>
  <PresentationFormat>Widescreen</PresentationFormat>
  <Paragraphs>222</Paragraphs>
  <Slides>20</Slides>
  <Notes>0</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20</vt:i4>
      </vt:variant>
    </vt:vector>
  </HeadingPairs>
  <TitlesOfParts>
    <vt:vector size="30" baseType="lpstr">
      <vt:lpstr>Arial</vt:lpstr>
      <vt:lpstr>Calibri</vt:lpstr>
      <vt:lpstr>Calibri Light</vt:lpstr>
      <vt:lpstr>Corbel</vt:lpstr>
      <vt:lpstr>Lato</vt:lpstr>
      <vt:lpstr>Montserrat</vt:lpstr>
      <vt:lpstr>Open Sans</vt:lpstr>
      <vt:lpstr>Raleway</vt:lpstr>
      <vt:lpstr>Segoe UI</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MRT www.Win2Farsi.c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orche</dc:creator>
  <cp:lastModifiedBy>Michal Zavacky</cp:lastModifiedBy>
  <cp:revision>43</cp:revision>
  <dcterms:created xsi:type="dcterms:W3CDTF">2019-05-29T05:49:46Z</dcterms:created>
  <dcterms:modified xsi:type="dcterms:W3CDTF">2019-06-13T14:22:27Z</dcterms:modified>
</cp:coreProperties>
</file>